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6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8" r:id="rId5"/>
    <p:sldMasterId id="2147483701" r:id="rId6"/>
    <p:sldMasterId id="2147483706" r:id="rId7"/>
    <p:sldMasterId id="2147483718" r:id="rId8"/>
  </p:sldMasterIdLst>
  <p:notesMasterIdLst>
    <p:notesMasterId r:id="rId38"/>
  </p:notesMasterIdLst>
  <p:sldIdLst>
    <p:sldId id="2134803689" r:id="rId9"/>
    <p:sldId id="291" r:id="rId10"/>
    <p:sldId id="2134804439" r:id="rId11"/>
    <p:sldId id="2134804429" r:id="rId12"/>
    <p:sldId id="2134804430" r:id="rId13"/>
    <p:sldId id="2134804243" r:id="rId14"/>
    <p:sldId id="2134804244" r:id="rId15"/>
    <p:sldId id="2134804441" r:id="rId16"/>
    <p:sldId id="2134804124" r:id="rId17"/>
    <p:sldId id="2134804241" r:id="rId18"/>
    <p:sldId id="288" r:id="rId19"/>
    <p:sldId id="2134803693" r:id="rId20"/>
    <p:sldId id="2134803697" r:id="rId21"/>
    <p:sldId id="2134804416" r:id="rId22"/>
    <p:sldId id="2134804415" r:id="rId23"/>
    <p:sldId id="2134804414" r:id="rId24"/>
    <p:sldId id="2134803694" r:id="rId25"/>
    <p:sldId id="2134804418" r:id="rId26"/>
    <p:sldId id="2134804436" r:id="rId27"/>
    <p:sldId id="2134804435" r:id="rId28"/>
    <p:sldId id="2134803695" r:id="rId29"/>
    <p:sldId id="2134804277" r:id="rId30"/>
    <p:sldId id="2134804294" r:id="rId31"/>
    <p:sldId id="2134804433" r:id="rId32"/>
    <p:sldId id="2134803696" r:id="rId33"/>
    <p:sldId id="2134804279" r:id="rId34"/>
    <p:sldId id="2134804434" r:id="rId35"/>
    <p:sldId id="2134804440" r:id="rId36"/>
    <p:sldId id="2134804438" r:id="rId37"/>
  </p:sldIdLst>
  <p:sldSz cx="12192000" cy="6858000"/>
  <p:notesSz cx="7010400" cy="9296400"/>
  <p:custDataLst>
    <p:tags r:id="rId39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uly Andrea Castaneda Ramirez (CENIT)" initials="YACR(" lastIdx="2" clrIdx="0">
    <p:extLst>
      <p:ext uri="{19B8F6BF-5375-455C-9EA6-DF929625EA0E}">
        <p15:presenceInfo xmlns:p15="http://schemas.microsoft.com/office/powerpoint/2012/main" userId="S::yuly.castaneda@cenit-transporte.com::9d6b9224-b289-47c8-b6d4-3bf1381012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BF4"/>
    <a:srgbClr val="7030A0"/>
    <a:srgbClr val="D5DA41"/>
    <a:srgbClr val="07212E"/>
    <a:srgbClr val="E53D12"/>
    <a:srgbClr val="FF9933"/>
    <a:srgbClr val="F2F2F2"/>
    <a:srgbClr val="FEE382"/>
    <a:srgbClr val="CC6600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AF6A18-2DFA-474F-B3D4-EA1F79C90E38}" v="2" dt="2020-12-11T16:16:54.8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2C8C85-51F0-491E-9774-3900AFEF0FD7}" styleName="Estilo claro 2 - Acento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87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gs" Target="tags/tag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commentAuthors" Target="commentAuthors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notesMaster" Target="notesMasters/notesMaster1.xml"/><Relationship Id="rId46" Type="http://schemas.microsoft.com/office/2015/10/relationships/revisionInfo" Target="revisionInfo.xml"/><Relationship Id="rId20" Type="http://schemas.openxmlformats.org/officeDocument/2006/relationships/slide" Target="slides/slide12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uly Andrea Castaneda Ramirez (CENIT)" userId="9d6b9224-b289-47c8-b6d4-3bf138101243" providerId="ADAL" clId="{20809D37-15FE-439C-AAF0-6BBEA123306F}"/>
    <pc:docChg chg="undo custSel addSld modSld">
      <pc:chgData name="Yuly Andrea Castaneda Ramirez (CENIT)" userId="9d6b9224-b289-47c8-b6d4-3bf138101243" providerId="ADAL" clId="{20809D37-15FE-439C-AAF0-6BBEA123306F}" dt="2020-07-27T22:17:29.924" v="681" actId="207"/>
      <pc:docMkLst>
        <pc:docMk/>
      </pc:docMkLst>
      <pc:sldChg chg="modSp add mod">
        <pc:chgData name="Yuly Andrea Castaneda Ramirez (CENIT)" userId="9d6b9224-b289-47c8-b6d4-3bf138101243" providerId="ADAL" clId="{20809D37-15FE-439C-AAF0-6BBEA123306F}" dt="2020-07-27T21:05:55.951" v="22" actId="20577"/>
        <pc:sldMkLst>
          <pc:docMk/>
          <pc:sldMk cId="3642796184" sldId="2134804345"/>
        </pc:sldMkLst>
        <pc:spChg chg="mod">
          <ac:chgData name="Yuly Andrea Castaneda Ramirez (CENIT)" userId="9d6b9224-b289-47c8-b6d4-3bf138101243" providerId="ADAL" clId="{20809D37-15FE-439C-AAF0-6BBEA123306F}" dt="2020-07-27T21:05:55.951" v="22" actId="20577"/>
          <ac:spMkLst>
            <pc:docMk/>
            <pc:sldMk cId="3642796184" sldId="2134804345"/>
            <ac:spMk id="2" creationId="{6431BBCF-96E5-45A7-B7E5-D44090D06329}"/>
          </ac:spMkLst>
        </pc:spChg>
      </pc:sldChg>
      <pc:sldChg chg="addSp modSp add mod">
        <pc:chgData name="Yuly Andrea Castaneda Ramirez (CENIT)" userId="9d6b9224-b289-47c8-b6d4-3bf138101243" providerId="ADAL" clId="{20809D37-15FE-439C-AAF0-6BBEA123306F}" dt="2020-07-27T22:17:29.924" v="681" actId="207"/>
        <pc:sldMkLst>
          <pc:docMk/>
          <pc:sldMk cId="330914068" sldId="2134804346"/>
        </pc:sldMkLst>
        <pc:spChg chg="add mod">
          <ac:chgData name="Yuly Andrea Castaneda Ramirez (CENIT)" userId="9d6b9224-b289-47c8-b6d4-3bf138101243" providerId="ADAL" clId="{20809D37-15FE-439C-AAF0-6BBEA123306F}" dt="2020-07-27T22:17:29.924" v="681" actId="207"/>
          <ac:spMkLst>
            <pc:docMk/>
            <pc:sldMk cId="330914068" sldId="2134804346"/>
            <ac:spMk id="7" creationId="{B72C64EE-F244-4A66-B52F-23F2A9FED029}"/>
          </ac:spMkLst>
        </pc:spChg>
        <pc:spChg chg="mod">
          <ac:chgData name="Yuly Andrea Castaneda Ramirez (CENIT)" userId="9d6b9224-b289-47c8-b6d4-3bf138101243" providerId="ADAL" clId="{20809D37-15FE-439C-AAF0-6BBEA123306F}" dt="2020-07-27T21:06:07.808" v="40" actId="20577"/>
          <ac:spMkLst>
            <pc:docMk/>
            <pc:sldMk cId="330914068" sldId="2134804346"/>
            <ac:spMk id="20" creationId="{92C8D133-E6D8-4045-B204-E026C5621093}"/>
          </ac:spMkLst>
        </pc:spChg>
      </pc:sldChg>
      <pc:sldChg chg="addSp delSp modSp add mod">
        <pc:chgData name="Yuly Andrea Castaneda Ramirez (CENIT)" userId="9d6b9224-b289-47c8-b6d4-3bf138101243" providerId="ADAL" clId="{20809D37-15FE-439C-AAF0-6BBEA123306F}" dt="2020-07-27T22:16:58.838" v="666" actId="20577"/>
        <pc:sldMkLst>
          <pc:docMk/>
          <pc:sldMk cId="3225245280" sldId="2134804347"/>
        </pc:sldMkLst>
        <pc:spChg chg="mod">
          <ac:chgData name="Yuly Andrea Castaneda Ramirez (CENIT)" userId="9d6b9224-b289-47c8-b6d4-3bf138101243" providerId="ADAL" clId="{20809D37-15FE-439C-AAF0-6BBEA123306F}" dt="2020-07-27T21:20:58.229" v="177" actId="1076"/>
          <ac:spMkLst>
            <pc:docMk/>
            <pc:sldMk cId="3225245280" sldId="2134804347"/>
            <ac:spMk id="3" creationId="{815B10B7-60B3-4C63-8431-70CC556387C9}"/>
          </ac:spMkLst>
        </pc:spChg>
        <pc:spChg chg="add mod">
          <ac:chgData name="Yuly Andrea Castaneda Ramirez (CENIT)" userId="9d6b9224-b289-47c8-b6d4-3bf138101243" providerId="ADAL" clId="{20809D37-15FE-439C-AAF0-6BBEA123306F}" dt="2020-07-27T22:07:18.038" v="549" actId="1035"/>
          <ac:spMkLst>
            <pc:docMk/>
            <pc:sldMk cId="3225245280" sldId="2134804347"/>
            <ac:spMk id="6" creationId="{D96F8713-29A5-4310-8564-F011CFCB1066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15.916" v="564" actId="1035"/>
          <ac:spMkLst>
            <pc:docMk/>
            <pc:sldMk cId="3225245280" sldId="2134804347"/>
            <ac:spMk id="7" creationId="{6E720954-0AD5-4F0E-9897-4BDFCFA126CC}"/>
          </ac:spMkLst>
        </pc:spChg>
        <pc:spChg chg="add mod">
          <ac:chgData name="Yuly Andrea Castaneda Ramirez (CENIT)" userId="9d6b9224-b289-47c8-b6d4-3bf138101243" providerId="ADAL" clId="{20809D37-15FE-439C-AAF0-6BBEA123306F}" dt="2020-07-27T21:21:28.900" v="184" actId="1076"/>
          <ac:spMkLst>
            <pc:docMk/>
            <pc:sldMk cId="3225245280" sldId="2134804347"/>
            <ac:spMk id="8" creationId="{2E27193E-8A49-44E9-91B8-50C765DA6DDA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10.563" v="556" actId="14100"/>
          <ac:spMkLst>
            <pc:docMk/>
            <pc:sldMk cId="3225245280" sldId="2134804347"/>
            <ac:spMk id="9" creationId="{044EA7DA-DC7D-4022-9DEC-F3B676A62032}"/>
          </ac:spMkLst>
        </pc:spChg>
        <pc:spChg chg="add mod">
          <ac:chgData name="Yuly Andrea Castaneda Ramirez (CENIT)" userId="9d6b9224-b289-47c8-b6d4-3bf138101243" providerId="ADAL" clId="{20809D37-15FE-439C-AAF0-6BBEA123306F}" dt="2020-07-27T21:23:25.238" v="226" actId="20577"/>
          <ac:spMkLst>
            <pc:docMk/>
            <pc:sldMk cId="3225245280" sldId="2134804347"/>
            <ac:spMk id="10" creationId="{1C27DADA-AD5A-4DFF-A22B-78E230D3896D}"/>
          </ac:spMkLst>
        </pc:spChg>
        <pc:spChg chg="mod">
          <ac:chgData name="Yuly Andrea Castaneda Ramirez (CENIT)" userId="9d6b9224-b289-47c8-b6d4-3bf138101243" providerId="ADAL" clId="{20809D37-15FE-439C-AAF0-6BBEA123306F}" dt="2020-07-27T22:07:00.050" v="546" actId="14100"/>
          <ac:spMkLst>
            <pc:docMk/>
            <pc:sldMk cId="3225245280" sldId="2134804347"/>
            <ac:spMk id="11" creationId="{772CA61D-742C-45F0-BAFA-0F3B90176E98}"/>
          </ac:spMkLst>
        </pc:spChg>
        <pc:spChg chg="mod">
          <ac:chgData name="Yuly Andrea Castaneda Ramirez (CENIT)" userId="9d6b9224-b289-47c8-b6d4-3bf138101243" providerId="ADAL" clId="{20809D37-15FE-439C-AAF0-6BBEA123306F}" dt="2020-07-27T21:19:26.877" v="120" actId="1076"/>
          <ac:spMkLst>
            <pc:docMk/>
            <pc:sldMk cId="3225245280" sldId="2134804347"/>
            <ac:spMk id="12" creationId="{7F3CEC4C-7588-4B74-823D-9CF22E2DAD79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23:11.985" v="202" actId="478"/>
          <ac:spMkLst>
            <pc:docMk/>
            <pc:sldMk cId="3225245280" sldId="2134804347"/>
            <ac:spMk id="13" creationId="{CCA8ECBD-F30E-4BB2-835B-369514BA6F63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25.797" v="565" actId="208"/>
          <ac:spMkLst>
            <pc:docMk/>
            <pc:sldMk cId="3225245280" sldId="2134804347"/>
            <ac:spMk id="14" creationId="{6FCAE7F4-D309-4A31-A5D2-C6A035E0EF82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36.075" v="567" actId="1036"/>
          <ac:spMkLst>
            <pc:docMk/>
            <pc:sldMk cId="3225245280" sldId="2134804347"/>
            <ac:spMk id="15" creationId="{EC155108-24C9-41BB-AFB7-1D8B4E0A3839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15.916" v="564" actId="1035"/>
          <ac:spMkLst>
            <pc:docMk/>
            <pc:sldMk cId="3225245280" sldId="2134804347"/>
            <ac:spMk id="16" creationId="{E4BC2CA1-2901-471E-A924-486FA0786DAE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36.075" v="567" actId="1036"/>
          <ac:spMkLst>
            <pc:docMk/>
            <pc:sldMk cId="3225245280" sldId="2134804347"/>
            <ac:spMk id="17" creationId="{5EAC5110-AE72-47ED-96D9-528A91DC5957}"/>
          </ac:spMkLst>
        </pc:spChg>
        <pc:spChg chg="add mod">
          <ac:chgData name="Yuly Andrea Castaneda Ramirez (CENIT)" userId="9d6b9224-b289-47c8-b6d4-3bf138101243" providerId="ADAL" clId="{20809D37-15FE-439C-AAF0-6BBEA123306F}" dt="2020-07-27T22:07:55.495" v="553" actId="108"/>
          <ac:spMkLst>
            <pc:docMk/>
            <pc:sldMk cId="3225245280" sldId="2134804347"/>
            <ac:spMk id="18" creationId="{B9A102DE-B6E2-4A96-917C-4764462F2DDA}"/>
          </ac:spMkLst>
        </pc:spChg>
        <pc:spChg chg="add mod">
          <ac:chgData name="Yuly Andrea Castaneda Ramirez (CENIT)" userId="9d6b9224-b289-47c8-b6d4-3bf138101243" providerId="ADAL" clId="{20809D37-15FE-439C-AAF0-6BBEA123306F}" dt="2020-07-27T21:26:07.996" v="304" actId="20577"/>
          <ac:spMkLst>
            <pc:docMk/>
            <pc:sldMk cId="3225245280" sldId="2134804347"/>
            <ac:spMk id="19" creationId="{70675E72-95A3-4317-B24A-EF51AC8AE239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26:56.048" v="306" actId="478"/>
          <ac:spMkLst>
            <pc:docMk/>
            <pc:sldMk cId="3225245280" sldId="2134804347"/>
            <ac:spMk id="20" creationId="{51C10DA5-7927-4A2C-98CA-1CB3E00EAC85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26:56.048" v="306" actId="478"/>
          <ac:spMkLst>
            <pc:docMk/>
            <pc:sldMk cId="3225245280" sldId="2134804347"/>
            <ac:spMk id="21" creationId="{9229B4F9-57A1-40C1-B530-CDC224632D80}"/>
          </ac:spMkLst>
        </pc:spChg>
        <pc:spChg chg="mod">
          <ac:chgData name="Yuly Andrea Castaneda Ramirez (CENIT)" userId="9d6b9224-b289-47c8-b6d4-3bf138101243" providerId="ADAL" clId="{20809D37-15FE-439C-AAF0-6BBEA123306F}" dt="2020-07-27T22:07:18.038" v="549" actId="1035"/>
          <ac:spMkLst>
            <pc:docMk/>
            <pc:sldMk cId="3225245280" sldId="2134804347"/>
            <ac:spMk id="22" creationId="{53E538FE-3283-40FB-A5F0-3E57246B6EF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26:56.048" v="306" actId="478"/>
          <ac:spMkLst>
            <pc:docMk/>
            <pc:sldMk cId="3225245280" sldId="2134804347"/>
            <ac:spMk id="23" creationId="{D52DAABA-3FE1-421B-A4B1-60221FBF99D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26:56.048" v="306" actId="478"/>
          <ac:spMkLst>
            <pc:docMk/>
            <pc:sldMk cId="3225245280" sldId="2134804347"/>
            <ac:spMk id="24" creationId="{E070A0F8-0F75-411E-BEC5-A30C3CBEFCCE}"/>
          </ac:spMkLst>
        </pc:spChg>
        <pc:spChg chg="add mod">
          <ac:chgData name="Yuly Andrea Castaneda Ramirez (CENIT)" userId="9d6b9224-b289-47c8-b6d4-3bf138101243" providerId="ADAL" clId="{20809D37-15FE-439C-AAF0-6BBEA123306F}" dt="2020-07-27T21:27:27.384" v="312" actId="1076"/>
          <ac:spMkLst>
            <pc:docMk/>
            <pc:sldMk cId="3225245280" sldId="2134804347"/>
            <ac:spMk id="25" creationId="{52F94A51-0420-4FE6-A012-EEC8917EB93D}"/>
          </ac:spMkLst>
        </pc:spChg>
        <pc:spChg chg="mod">
          <ac:chgData name="Yuly Andrea Castaneda Ramirez (CENIT)" userId="9d6b9224-b289-47c8-b6d4-3bf138101243" providerId="ADAL" clId="{20809D37-15FE-439C-AAF0-6BBEA123306F}" dt="2020-07-27T21:12:00.318" v="108" actId="1035"/>
          <ac:spMkLst>
            <pc:docMk/>
            <pc:sldMk cId="3225245280" sldId="2134804347"/>
            <ac:spMk id="27" creationId="{910DCB24-1C9B-45BE-9592-B8EC86E558A4}"/>
          </ac:spMkLst>
        </pc:spChg>
        <pc:spChg chg="mod">
          <ac:chgData name="Yuly Andrea Castaneda Ramirez (CENIT)" userId="9d6b9224-b289-47c8-b6d4-3bf138101243" providerId="ADAL" clId="{20809D37-15FE-439C-AAF0-6BBEA123306F}" dt="2020-07-27T21:11:41.544" v="88" actId="20577"/>
          <ac:spMkLst>
            <pc:docMk/>
            <pc:sldMk cId="3225245280" sldId="2134804347"/>
            <ac:spMk id="28" creationId="{4A0F0E28-A961-4260-8BB9-16809CE2E13A}"/>
          </ac:spMkLst>
        </pc:spChg>
        <pc:spChg chg="mod">
          <ac:chgData name="Yuly Andrea Castaneda Ramirez (CENIT)" userId="9d6b9224-b289-47c8-b6d4-3bf138101243" providerId="ADAL" clId="{20809D37-15FE-439C-AAF0-6BBEA123306F}" dt="2020-07-27T22:07:18.038" v="549" actId="1035"/>
          <ac:spMkLst>
            <pc:docMk/>
            <pc:sldMk cId="3225245280" sldId="2134804347"/>
            <ac:spMk id="29" creationId="{46F67329-EAA2-4B09-AD5B-91FE70391A81}"/>
          </ac:spMkLst>
        </pc:spChg>
        <pc:spChg chg="mod">
          <ac:chgData name="Yuly Andrea Castaneda Ramirez (CENIT)" userId="9d6b9224-b289-47c8-b6d4-3bf138101243" providerId="ADAL" clId="{20809D37-15FE-439C-AAF0-6BBEA123306F}" dt="2020-07-27T22:07:00.050" v="546" actId="14100"/>
          <ac:spMkLst>
            <pc:docMk/>
            <pc:sldMk cId="3225245280" sldId="2134804347"/>
            <ac:spMk id="30" creationId="{5BF08848-45AE-451C-A99D-7322CF796742}"/>
          </ac:spMkLst>
        </pc:spChg>
        <pc:spChg chg="mod">
          <ac:chgData name="Yuly Andrea Castaneda Ramirez (CENIT)" userId="9d6b9224-b289-47c8-b6d4-3bf138101243" providerId="ADAL" clId="{20809D37-15FE-439C-AAF0-6BBEA123306F}" dt="2020-07-27T21:24:54.091" v="294" actId="20577"/>
          <ac:spMkLst>
            <pc:docMk/>
            <pc:sldMk cId="3225245280" sldId="2134804347"/>
            <ac:spMk id="32" creationId="{112CF6BB-B57E-4E30-BDB8-A663AA382E62}"/>
          </ac:spMkLst>
        </pc:spChg>
        <pc:spChg chg="mod">
          <ac:chgData name="Yuly Andrea Castaneda Ramirez (CENIT)" userId="9d6b9224-b289-47c8-b6d4-3bf138101243" providerId="ADAL" clId="{20809D37-15FE-439C-AAF0-6BBEA123306F}" dt="2020-07-27T21:24:58.515" v="297" actId="1035"/>
          <ac:spMkLst>
            <pc:docMk/>
            <pc:sldMk cId="3225245280" sldId="2134804347"/>
            <ac:spMk id="33" creationId="{99A98136-5ADE-4ACF-97B1-9869591C8748}"/>
          </ac:spMkLst>
        </pc:spChg>
        <pc:spChg chg="mod">
          <ac:chgData name="Yuly Andrea Castaneda Ramirez (CENIT)" userId="9d6b9224-b289-47c8-b6d4-3bf138101243" providerId="ADAL" clId="{20809D37-15FE-439C-AAF0-6BBEA123306F}" dt="2020-07-27T21:21:07.297" v="178" actId="1076"/>
          <ac:spMkLst>
            <pc:docMk/>
            <pc:sldMk cId="3225245280" sldId="2134804347"/>
            <ac:spMk id="34" creationId="{2858742F-5FD0-4B7E-9334-0D1DB2CF525E}"/>
          </ac:spMkLst>
        </pc:spChg>
        <pc:spChg chg="mod">
          <ac:chgData name="Yuly Andrea Castaneda Ramirez (CENIT)" userId="9d6b9224-b289-47c8-b6d4-3bf138101243" providerId="ADAL" clId="{20809D37-15FE-439C-AAF0-6BBEA123306F}" dt="2020-07-27T22:07:18.038" v="549" actId="1035"/>
          <ac:spMkLst>
            <pc:docMk/>
            <pc:sldMk cId="3225245280" sldId="2134804347"/>
            <ac:spMk id="35" creationId="{5F2982C9-1317-4114-BC67-9EA6763899B8}"/>
          </ac:spMkLst>
        </pc:spChg>
        <pc:spChg chg="mod">
          <ac:chgData name="Yuly Andrea Castaneda Ramirez (CENIT)" userId="9d6b9224-b289-47c8-b6d4-3bf138101243" providerId="ADAL" clId="{20809D37-15FE-439C-AAF0-6BBEA123306F}" dt="2020-07-27T22:07:00.050" v="546" actId="14100"/>
          <ac:spMkLst>
            <pc:docMk/>
            <pc:sldMk cId="3225245280" sldId="2134804347"/>
            <ac:spMk id="36" creationId="{80930BAD-CC8E-47DD-9473-5B8864A2680A}"/>
          </ac:spMkLst>
        </pc:spChg>
        <pc:spChg chg="mod">
          <ac:chgData name="Yuly Andrea Castaneda Ramirez (CENIT)" userId="9d6b9224-b289-47c8-b6d4-3bf138101243" providerId="ADAL" clId="{20809D37-15FE-439C-AAF0-6BBEA123306F}" dt="2020-07-27T21:08:43.824" v="74" actId="20577"/>
          <ac:spMkLst>
            <pc:docMk/>
            <pc:sldMk cId="3225245280" sldId="2134804347"/>
            <ac:spMk id="38" creationId="{A70D06D3-12BC-4CDA-B9D7-EEF1588242C9}"/>
          </ac:spMkLst>
        </pc:spChg>
        <pc:spChg chg="mod">
          <ac:chgData name="Yuly Andrea Castaneda Ramirez (CENIT)" userId="9d6b9224-b289-47c8-b6d4-3bf138101243" providerId="ADAL" clId="{20809D37-15FE-439C-AAF0-6BBEA123306F}" dt="2020-07-27T21:08:26.075" v="63"/>
          <ac:spMkLst>
            <pc:docMk/>
            <pc:sldMk cId="3225245280" sldId="2134804347"/>
            <ac:spMk id="39" creationId="{5FAD9D39-0163-48A2-AB90-B7B2E4C2CCC8}"/>
          </ac:spMkLst>
        </pc:spChg>
        <pc:spChg chg="mod">
          <ac:chgData name="Yuly Andrea Castaneda Ramirez (CENIT)" userId="9d6b9224-b289-47c8-b6d4-3bf138101243" providerId="ADAL" clId="{20809D37-15FE-439C-AAF0-6BBEA123306F}" dt="2020-07-27T21:22:00.216" v="190" actId="1076"/>
          <ac:spMkLst>
            <pc:docMk/>
            <pc:sldMk cId="3225245280" sldId="2134804347"/>
            <ac:spMk id="40" creationId="{F9005A44-E530-4972-BBE0-B3ED015A6ED4}"/>
          </ac:spMkLst>
        </pc:spChg>
        <pc:spChg chg="mod">
          <ac:chgData name="Yuly Andrea Castaneda Ramirez (CENIT)" userId="9d6b9224-b289-47c8-b6d4-3bf138101243" providerId="ADAL" clId="{20809D37-15FE-439C-AAF0-6BBEA123306F}" dt="2020-07-27T22:07:00.050" v="546" actId="14100"/>
          <ac:spMkLst>
            <pc:docMk/>
            <pc:sldMk cId="3225245280" sldId="2134804347"/>
            <ac:spMk id="41" creationId="{A6323A01-8860-4B1B-BDAF-6B75ABC06BEC}"/>
          </ac:spMkLst>
        </pc:spChg>
        <pc:spChg chg="mod">
          <ac:chgData name="Yuly Andrea Castaneda Ramirez (CENIT)" userId="9d6b9224-b289-47c8-b6d4-3bf138101243" providerId="ADAL" clId="{20809D37-15FE-439C-AAF0-6BBEA123306F}" dt="2020-07-27T22:08:10.563" v="556" actId="14100"/>
          <ac:spMkLst>
            <pc:docMk/>
            <pc:sldMk cId="3225245280" sldId="2134804347"/>
            <ac:spMk id="42" creationId="{4101169F-B3FD-425D-90F0-D9CCBE1BF3D2}"/>
          </ac:spMkLst>
        </pc:spChg>
        <pc:spChg chg="mod">
          <ac:chgData name="Yuly Andrea Castaneda Ramirez (CENIT)" userId="9d6b9224-b289-47c8-b6d4-3bf138101243" providerId="ADAL" clId="{20809D37-15FE-439C-AAF0-6BBEA123306F}" dt="2020-07-27T21:22:40.001" v="195" actId="1076"/>
          <ac:spMkLst>
            <pc:docMk/>
            <pc:sldMk cId="3225245280" sldId="2134804347"/>
            <ac:spMk id="43" creationId="{34452114-CA9E-44D1-9755-DF275F1BF2A9}"/>
          </ac:spMkLst>
        </pc:spChg>
        <pc:spChg chg="mod">
          <ac:chgData name="Yuly Andrea Castaneda Ramirez (CENIT)" userId="9d6b9224-b289-47c8-b6d4-3bf138101243" providerId="ADAL" clId="{20809D37-15FE-439C-AAF0-6BBEA123306F}" dt="2020-07-27T22:07:18.038" v="549" actId="1035"/>
          <ac:spMkLst>
            <pc:docMk/>
            <pc:sldMk cId="3225245280" sldId="2134804347"/>
            <ac:spMk id="45" creationId="{476FBBD3-1877-4B8E-A2BA-965C36FBD73D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46" creationId="{BA5C247C-3C05-46FC-95C2-E68EAA1029EF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47" creationId="{D222A558-E5A3-43A6-B640-1B3D767D7C70}"/>
          </ac:spMkLst>
        </pc:spChg>
        <pc:spChg chg="del">
          <ac:chgData name="Yuly Andrea Castaneda Ramirez (CENIT)" userId="9d6b9224-b289-47c8-b6d4-3bf138101243" providerId="ADAL" clId="{20809D37-15FE-439C-AAF0-6BBEA123306F}" dt="2020-07-27T21:15:40.265" v="113" actId="478"/>
          <ac:spMkLst>
            <pc:docMk/>
            <pc:sldMk cId="3225245280" sldId="2134804347"/>
            <ac:spMk id="48" creationId="{F926AC88-2103-4B74-A485-8F98AF37FABE}"/>
          </ac:spMkLst>
        </pc:spChg>
        <pc:spChg chg="del">
          <ac:chgData name="Yuly Andrea Castaneda Ramirez (CENIT)" userId="9d6b9224-b289-47c8-b6d4-3bf138101243" providerId="ADAL" clId="{20809D37-15FE-439C-AAF0-6BBEA123306F}" dt="2020-07-27T21:18:34.087" v="117" actId="478"/>
          <ac:spMkLst>
            <pc:docMk/>
            <pc:sldMk cId="3225245280" sldId="2134804347"/>
            <ac:spMk id="50" creationId="{EFEDA77C-7665-4725-A074-A36D4F4400A8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05.849" v="616" actId="22"/>
          <ac:spMkLst>
            <pc:docMk/>
            <pc:sldMk cId="3225245280" sldId="2134804347"/>
            <ac:spMk id="60" creationId="{BB9C2DD0-AF41-435D-A8D7-9D12ECCE18C7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05.849" v="616" actId="22"/>
          <ac:spMkLst>
            <pc:docMk/>
            <pc:sldMk cId="3225245280" sldId="2134804347"/>
            <ac:spMk id="62" creationId="{00832259-9257-4A66-9FDD-4761014DB369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05.849" v="616" actId="22"/>
          <ac:spMkLst>
            <pc:docMk/>
            <pc:sldMk cId="3225245280" sldId="2134804347"/>
            <ac:spMk id="64" creationId="{78222D73-248B-40F5-A931-311B5CCCF3EB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73" creationId="{A39A94C1-2A31-4E7F-A1F0-A06742898B2F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74" creationId="{046280B4-6DEB-43E6-BBD7-F100973EE1A5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76" creationId="{A97657D5-58EC-428F-98BF-4566AD2B1202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77" creationId="{501DC85E-C7DE-41E7-8A3E-DE452DF1F828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79" creationId="{B289E7D7-2557-4DA8-840A-08F60BE9C52F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80" creationId="{151710F5-7446-4437-B14E-0AD9529C305D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82" creationId="{B7B779E0-1F07-4B17-96F9-01B9CB9A7149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83" creationId="{211CAD9D-81D4-412D-AE14-373C39D1B465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84" creationId="{293DBAF3-3942-4C58-8A63-D4484E215E20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85" creationId="{FEDA4F18-A6CF-4DD2-AE22-EDF557EBA766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86" creationId="{7696A978-4362-4DE3-8C58-0F58608C4AA6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87" creationId="{067D5225-33A2-4014-AFEE-E7EC1903F1F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88" creationId="{2E35CF2E-2C55-4F29-889B-23C808E1E4A4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89" creationId="{B389EEE8-9B75-4859-82D8-82AF4AEE49AB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0" creationId="{ECA92788-DC97-4450-975C-DDBA35E504CE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1" creationId="{109662AA-538D-4376-9F1F-0A435F4CF7A4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2" creationId="{7F67E0E4-C1F8-435D-9D5E-C7369FE1311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3" creationId="{A3F2ACB6-C3D6-4980-BC50-D68B85FE3AB4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4" creationId="{481FA115-F2EA-4E7F-9158-CE84EF2A9027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5" creationId="{7416BC46-14B3-4AF6-B261-202C0E4A9DA4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6" creationId="{C86981A1-964D-441E-A861-28919300D610}"/>
          </ac:spMkLst>
        </pc:spChg>
        <pc:spChg chg="mod">
          <ac:chgData name="Yuly Andrea Castaneda Ramirez (CENIT)" userId="9d6b9224-b289-47c8-b6d4-3bf138101243" providerId="ADAL" clId="{20809D37-15FE-439C-AAF0-6BBEA123306F}" dt="2020-07-27T22:07:00.050" v="546" actId="14100"/>
          <ac:spMkLst>
            <pc:docMk/>
            <pc:sldMk cId="3225245280" sldId="2134804347"/>
            <ac:spMk id="97" creationId="{99300021-C267-43BD-A0F5-B3ECE622345E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8" creationId="{C5E83F86-03BD-44C1-A414-39409EFD5322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2" creationId="{B96F32B9-C8DD-46F9-956E-8E03D52C0F41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3" creationId="{CFADED31-A026-4175-BA8F-E9EEDB618661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4" creationId="{45E4BA50-5C5C-49E7-B47A-4E288555721B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5" creationId="{024AAB50-1106-4D17-A526-2466A739E547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6" creationId="{C860F367-548C-4F86-9F0E-099751FB5386}"/>
          </ac:spMkLst>
        </pc:spChg>
        <pc:spChg chg="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8" creationId="{C20F2854-714F-4D26-9667-45337E3EB94E}"/>
          </ac:spMkLst>
        </pc:spChg>
        <pc:spChg chg="mod">
          <ac:chgData name="Yuly Andrea Castaneda Ramirez (CENIT)" userId="9d6b9224-b289-47c8-b6d4-3bf138101243" providerId="ADAL" clId="{20809D37-15FE-439C-AAF0-6BBEA123306F}" dt="2020-07-27T22:16:58.838" v="666" actId="20577"/>
          <ac:spMkLst>
            <pc:docMk/>
            <pc:sldMk cId="3225245280" sldId="2134804347"/>
            <ac:spMk id="109" creationId="{5EEADFA6-AC99-4B05-8F76-DB574E8A98DA}"/>
          </ac:spMkLst>
        </pc:spChg>
        <pc:spChg chg="mod">
          <ac:chgData name="Yuly Andrea Castaneda Ramirez (CENIT)" userId="9d6b9224-b289-47c8-b6d4-3bf138101243" providerId="ADAL" clId="{20809D37-15FE-439C-AAF0-6BBEA123306F}" dt="2020-07-27T22:15:04.004" v="644" actId="20577"/>
          <ac:spMkLst>
            <pc:docMk/>
            <pc:sldMk cId="3225245280" sldId="2134804347"/>
            <ac:spMk id="111" creationId="{606ABF23-6300-4549-A5B4-07EBD82E876C}"/>
          </ac:spMkLst>
        </pc:spChg>
        <pc:spChg chg="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12" creationId="{DC56F305-D03F-48AC-AB08-56E07FD63316}"/>
          </ac:spMkLst>
        </pc:spChg>
        <pc:spChg chg="mod">
          <ac:chgData name="Yuly Andrea Castaneda Ramirez (CENIT)" userId="9d6b9224-b289-47c8-b6d4-3bf138101243" providerId="ADAL" clId="{20809D37-15FE-439C-AAF0-6BBEA123306F}" dt="2020-07-27T22:16:21.386" v="659" actId="14100"/>
          <ac:spMkLst>
            <pc:docMk/>
            <pc:sldMk cId="3225245280" sldId="2134804347"/>
            <ac:spMk id="114" creationId="{77A3B1E2-49E5-4A06-8BDF-B273EE460463}"/>
          </ac:spMkLst>
        </pc:spChg>
        <pc:spChg chg="mod">
          <ac:chgData name="Yuly Andrea Castaneda Ramirez (CENIT)" userId="9d6b9224-b289-47c8-b6d4-3bf138101243" providerId="ADAL" clId="{20809D37-15FE-439C-AAF0-6BBEA123306F}" dt="2020-07-27T22:16:18.445" v="658" actId="1076"/>
          <ac:spMkLst>
            <pc:docMk/>
            <pc:sldMk cId="3225245280" sldId="2134804347"/>
            <ac:spMk id="115" creationId="{15EB3AD0-0C08-4654-B8C7-D33D3CDBF3C1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16" creationId="{0D5C8E0C-75B1-4F60-978B-87BC75B4F73E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117" creationId="{8960734A-1053-42D2-BD72-6674DCCE6A97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118" creationId="{C77431EE-A761-4323-B75F-692D4CAEC462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119" creationId="{A66DDFF6-8990-4632-9B16-3852035C81BA}"/>
          </ac:spMkLst>
        </pc:spChg>
        <pc:spChg chg="add mod">
          <ac:chgData name="Yuly Andrea Castaneda Ramirez (CENIT)" userId="9d6b9224-b289-47c8-b6d4-3bf138101243" providerId="ADAL" clId="{20809D37-15FE-439C-AAF0-6BBEA123306F}" dt="2020-07-27T22:14:31.094" v="637" actId="20577"/>
          <ac:spMkLst>
            <pc:docMk/>
            <pc:sldMk cId="3225245280" sldId="2134804347"/>
            <ac:spMk id="120" creationId="{D377565B-0CDB-41A7-9B7E-6314304F4D8B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21" creationId="{92658A65-3BF4-46B8-B66C-95A7D7D16E85}"/>
          </ac:spMkLst>
        </pc:spChg>
        <pc:spChg chg="add mod">
          <ac:chgData name="Yuly Andrea Castaneda Ramirez (CENIT)" userId="9d6b9224-b289-47c8-b6d4-3bf138101243" providerId="ADAL" clId="{20809D37-15FE-439C-AAF0-6BBEA123306F}" dt="2020-07-27T22:16:54.516" v="664" actId="20577"/>
          <ac:spMkLst>
            <pc:docMk/>
            <pc:sldMk cId="3225245280" sldId="2134804347"/>
            <ac:spMk id="122" creationId="{8E1A3EA7-EB49-48D7-A032-F1442013F701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23" creationId="{24FAE5DC-7E4D-4DB7-ADC4-C3A74A096DFB}"/>
          </ac:spMkLst>
        </pc:spChg>
        <pc:spChg chg="add mod">
          <ac:chgData name="Yuly Andrea Castaneda Ramirez (CENIT)" userId="9d6b9224-b289-47c8-b6d4-3bf138101243" providerId="ADAL" clId="{20809D37-15FE-439C-AAF0-6BBEA123306F}" dt="2020-07-27T22:16:10.086" v="657" actId="20577"/>
          <ac:spMkLst>
            <pc:docMk/>
            <pc:sldMk cId="3225245280" sldId="2134804347"/>
            <ac:spMk id="124" creationId="{365BB008-880B-4CA6-8668-ADF51B0D3426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25" creationId="{0210704A-0B63-43B8-B214-88F30F6F5A9A}"/>
          </ac:spMkLst>
        </pc:spChg>
        <pc:spChg chg="add mod">
          <ac:chgData name="Yuly Andrea Castaneda Ramirez (CENIT)" userId="9d6b9224-b289-47c8-b6d4-3bf138101243" providerId="ADAL" clId="{20809D37-15FE-439C-AAF0-6BBEA123306F}" dt="2020-07-27T22:14:42.244" v="640" actId="20577"/>
          <ac:spMkLst>
            <pc:docMk/>
            <pc:sldMk cId="3225245280" sldId="2134804347"/>
            <ac:spMk id="126" creationId="{1B625495-01EC-47BE-936D-FCB6474F12A3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27" creationId="{50B7BAA7-A31D-437D-98EC-A2EEFCFA0EE0}"/>
          </ac:spMkLst>
        </pc:spChg>
        <pc:spChg chg="add mod">
          <ac:chgData name="Yuly Andrea Castaneda Ramirez (CENIT)" userId="9d6b9224-b289-47c8-b6d4-3bf138101243" providerId="ADAL" clId="{20809D37-15FE-439C-AAF0-6BBEA123306F}" dt="2020-07-27T22:15:36.875" v="651" actId="20577"/>
          <ac:spMkLst>
            <pc:docMk/>
            <pc:sldMk cId="3225245280" sldId="2134804347"/>
            <ac:spMk id="128" creationId="{64673F48-F641-4C58-8C99-0D3B34C67D63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29" creationId="{99DDFE88-F4B6-4F2E-9670-B2764B91B976}"/>
          </ac:spMkLst>
        </pc:spChg>
        <pc:spChg chg="add mod">
          <ac:chgData name="Yuly Andrea Castaneda Ramirez (CENIT)" userId="9d6b9224-b289-47c8-b6d4-3bf138101243" providerId="ADAL" clId="{20809D37-15FE-439C-AAF0-6BBEA123306F}" dt="2020-07-27T22:16:34.183" v="662" actId="20577"/>
          <ac:spMkLst>
            <pc:docMk/>
            <pc:sldMk cId="3225245280" sldId="2134804347"/>
            <ac:spMk id="130" creationId="{AA94FD5D-CEA8-40A7-8EAE-0C5655D9B18E}"/>
          </ac:spMkLst>
        </pc:spChg>
        <pc:spChg chg="mod">
          <ac:chgData name="Yuly Andrea Castaneda Ramirez (CENIT)" userId="9d6b9224-b289-47c8-b6d4-3bf138101243" providerId="ADAL" clId="{20809D37-15FE-439C-AAF0-6BBEA123306F}" dt="2020-07-27T21:06:19.022" v="58" actId="20577"/>
          <ac:spMkLst>
            <pc:docMk/>
            <pc:sldMk cId="3225245280" sldId="2134804347"/>
            <ac:spMk id="135" creationId="{C1823568-A421-4254-9106-BAEB76F16B72}"/>
          </ac:spMkLst>
        </pc:spChg>
        <pc:grpChg chg="add del">
          <ac:chgData name="Yuly Andrea Castaneda Ramirez (CENIT)" userId="9d6b9224-b289-47c8-b6d4-3bf138101243" providerId="ADAL" clId="{20809D37-15FE-439C-AAF0-6BBEA123306F}" dt="2020-07-27T22:12:28.463" v="629" actId="478"/>
          <ac:grpSpMkLst>
            <pc:docMk/>
            <pc:sldMk cId="3225245280" sldId="2134804347"/>
            <ac:grpSpMk id="26" creationId="{5B1CDA9C-37CE-441A-94E7-5A5F38503613}"/>
          </ac:grpSpMkLst>
        </pc:grpChg>
        <pc:grpChg chg="add del">
          <ac:chgData name="Yuly Andrea Castaneda Ramirez (CENIT)" userId="9d6b9224-b289-47c8-b6d4-3bf138101243" providerId="ADAL" clId="{20809D37-15FE-439C-AAF0-6BBEA123306F}" dt="2020-07-27T22:12:28.463" v="629" actId="478"/>
          <ac:grpSpMkLst>
            <pc:docMk/>
            <pc:sldMk cId="3225245280" sldId="2134804347"/>
            <ac:grpSpMk id="31" creationId="{A0B07E6C-42EA-42D4-BF18-74CF8467911A}"/>
          </ac:grpSpMkLst>
        </pc:grpChg>
        <pc:grpChg chg="add del mod">
          <ac:chgData name="Yuly Andrea Castaneda Ramirez (CENIT)" userId="9d6b9224-b289-47c8-b6d4-3bf138101243" providerId="ADAL" clId="{20809D37-15FE-439C-AAF0-6BBEA123306F}" dt="2020-07-27T22:12:28.463" v="629" actId="478"/>
          <ac:grpSpMkLst>
            <pc:docMk/>
            <pc:sldMk cId="3225245280" sldId="2134804347"/>
            <ac:grpSpMk id="37" creationId="{33A4F641-6F0E-462A-898E-0641B151AA65}"/>
          </ac:grpSpMkLst>
        </pc:grpChg>
        <pc:grpChg chg="add del mod">
          <ac:chgData name="Yuly Andrea Castaneda Ramirez (CENIT)" userId="9d6b9224-b289-47c8-b6d4-3bf138101243" providerId="ADAL" clId="{20809D37-15FE-439C-AAF0-6BBEA123306F}" dt="2020-07-27T22:12:06.471" v="617"/>
          <ac:grpSpMkLst>
            <pc:docMk/>
            <pc:sldMk cId="3225245280" sldId="2134804347"/>
            <ac:grpSpMk id="75" creationId="{6C917912-780F-41CE-9485-76539DCDF27A}"/>
          </ac:grpSpMkLst>
        </pc:grpChg>
        <pc:grpChg chg="add del mod">
          <ac:chgData name="Yuly Andrea Castaneda Ramirez (CENIT)" userId="9d6b9224-b289-47c8-b6d4-3bf138101243" providerId="ADAL" clId="{20809D37-15FE-439C-AAF0-6BBEA123306F}" dt="2020-07-27T22:12:06.471" v="617"/>
          <ac:grpSpMkLst>
            <pc:docMk/>
            <pc:sldMk cId="3225245280" sldId="2134804347"/>
            <ac:grpSpMk id="78" creationId="{E3BDD08D-BBAE-41C0-975F-A3206965C467}"/>
          </ac:grpSpMkLst>
        </pc:grpChg>
        <pc:grpChg chg="add del mod">
          <ac:chgData name="Yuly Andrea Castaneda Ramirez (CENIT)" userId="9d6b9224-b289-47c8-b6d4-3bf138101243" providerId="ADAL" clId="{20809D37-15FE-439C-AAF0-6BBEA123306F}" dt="2020-07-27T22:12:06.471" v="617"/>
          <ac:grpSpMkLst>
            <pc:docMk/>
            <pc:sldMk cId="3225245280" sldId="2134804347"/>
            <ac:grpSpMk id="81" creationId="{3FD4211B-1381-4363-BAAD-FC166D7465EC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2:36.137" v="630"/>
          <ac:grpSpMkLst>
            <pc:docMk/>
            <pc:sldMk cId="3225245280" sldId="2134804347"/>
            <ac:grpSpMk id="107" creationId="{FBAD03AC-C73E-4701-B989-793F8E1E9D2D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2:36.137" v="630"/>
          <ac:grpSpMkLst>
            <pc:docMk/>
            <pc:sldMk cId="3225245280" sldId="2134804347"/>
            <ac:grpSpMk id="110" creationId="{C4B98B9D-649B-4278-A04C-A7248F5B4966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2:36.137" v="630"/>
          <ac:grpSpMkLst>
            <pc:docMk/>
            <pc:sldMk cId="3225245280" sldId="2134804347"/>
            <ac:grpSpMk id="113" creationId="{0954B190-3C56-4795-8C1B-0587851BF8FA}"/>
          </ac:grpSpMkLst>
        </pc:grpChg>
      </pc:sldChg>
      <pc:sldChg chg="addSp delSp modSp add mod">
        <pc:chgData name="Yuly Andrea Castaneda Ramirez (CENIT)" userId="9d6b9224-b289-47c8-b6d4-3bf138101243" providerId="ADAL" clId="{20809D37-15FE-439C-AAF0-6BBEA123306F}" dt="2020-07-27T22:17:09.261" v="668"/>
        <pc:sldMkLst>
          <pc:docMk/>
          <pc:sldMk cId="335391689" sldId="2134804348"/>
        </pc:sldMkLst>
        <pc:spChg chg="mod">
          <ac:chgData name="Yuly Andrea Castaneda Ramirez (CENIT)" userId="9d6b9224-b289-47c8-b6d4-3bf138101243" providerId="ADAL" clId="{20809D37-15FE-439C-AAF0-6BBEA123306F}" dt="2020-07-27T21:45:19.840" v="418" actId="20577"/>
          <ac:spMkLst>
            <pc:docMk/>
            <pc:sldMk cId="335391689" sldId="2134804348"/>
            <ac:spMk id="3" creationId="{815B10B7-60B3-4C63-8431-70CC556387C9}"/>
          </ac:spMkLst>
        </pc:spChg>
        <pc:spChg chg="del">
          <ac:chgData name="Yuly Andrea Castaneda Ramirez (CENIT)" userId="9d6b9224-b289-47c8-b6d4-3bf138101243" providerId="ADAL" clId="{20809D37-15FE-439C-AAF0-6BBEA123306F}" dt="2020-07-27T21:44:40.908" v="394" actId="478"/>
          <ac:spMkLst>
            <pc:docMk/>
            <pc:sldMk cId="335391689" sldId="2134804348"/>
            <ac:spMk id="6" creationId="{D96F8713-29A5-4310-8564-F011CFCB1066}"/>
          </ac:spMkLst>
        </pc:spChg>
        <pc:spChg chg="del">
          <ac:chgData name="Yuly Andrea Castaneda Ramirez (CENIT)" userId="9d6b9224-b289-47c8-b6d4-3bf138101243" providerId="ADAL" clId="{20809D37-15FE-439C-AAF0-6BBEA123306F}" dt="2020-07-27T21:55:16.952" v="444" actId="478"/>
          <ac:spMkLst>
            <pc:docMk/>
            <pc:sldMk cId="335391689" sldId="2134804348"/>
            <ac:spMk id="7" creationId="{6E720954-0AD5-4F0E-9897-4BDFCFA126CC}"/>
          </ac:spMkLst>
        </pc:spChg>
        <pc:spChg chg="mod">
          <ac:chgData name="Yuly Andrea Castaneda Ramirez (CENIT)" userId="9d6b9224-b289-47c8-b6d4-3bf138101243" providerId="ADAL" clId="{20809D37-15FE-439C-AAF0-6BBEA123306F}" dt="2020-07-27T21:45:49.992" v="422" actId="20577"/>
          <ac:spMkLst>
            <pc:docMk/>
            <pc:sldMk cId="335391689" sldId="2134804348"/>
            <ac:spMk id="8" creationId="{2E27193E-8A49-44E9-91B8-50C765DA6DDA}"/>
          </ac:spMkLst>
        </pc:spChg>
        <pc:spChg chg="mod">
          <ac:chgData name="Yuly Andrea Castaneda Ramirez (CENIT)" userId="9d6b9224-b289-47c8-b6d4-3bf138101243" providerId="ADAL" clId="{20809D37-15FE-439C-AAF0-6BBEA123306F}" dt="2020-07-27T21:57:16.282" v="458" actId="1035"/>
          <ac:spMkLst>
            <pc:docMk/>
            <pc:sldMk cId="335391689" sldId="2134804348"/>
            <ac:spMk id="9" creationId="{044EA7DA-DC7D-4022-9DEC-F3B676A62032}"/>
          </ac:spMkLst>
        </pc:spChg>
        <pc:spChg chg="mod">
          <ac:chgData name="Yuly Andrea Castaneda Ramirez (CENIT)" userId="9d6b9224-b289-47c8-b6d4-3bf138101243" providerId="ADAL" clId="{20809D37-15FE-439C-AAF0-6BBEA123306F}" dt="2020-07-27T21:57:23.124" v="460" actId="20577"/>
          <ac:spMkLst>
            <pc:docMk/>
            <pc:sldMk cId="335391689" sldId="2134804348"/>
            <ac:spMk id="10" creationId="{1C27DADA-AD5A-4DFF-A22B-78E230D3896D}"/>
          </ac:spMkLst>
        </pc:spChg>
        <pc:spChg chg="mod">
          <ac:chgData name="Yuly Andrea Castaneda Ramirez (CENIT)" userId="9d6b9224-b289-47c8-b6d4-3bf138101243" providerId="ADAL" clId="{20809D37-15FE-439C-AAF0-6BBEA123306F}" dt="2020-07-27T21:38:10.491" v="314"/>
          <ac:spMkLst>
            <pc:docMk/>
            <pc:sldMk cId="335391689" sldId="2134804348"/>
            <ac:spMk id="11" creationId="{772CA61D-742C-45F0-BAFA-0F3B90176E98}"/>
          </ac:spMkLst>
        </pc:spChg>
        <pc:spChg chg="mod">
          <ac:chgData name="Yuly Andrea Castaneda Ramirez (CENIT)" userId="9d6b9224-b289-47c8-b6d4-3bf138101243" providerId="ADAL" clId="{20809D37-15FE-439C-AAF0-6BBEA123306F}" dt="2020-07-27T21:44:53.309" v="398" actId="20577"/>
          <ac:spMkLst>
            <pc:docMk/>
            <pc:sldMk cId="335391689" sldId="2134804348"/>
            <ac:spMk id="12" creationId="{7F3CEC4C-7588-4B74-823D-9CF22E2DAD79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13" creationId="{C9BAEC3F-A2FE-4536-B708-38E230C58F3B}"/>
          </ac:spMkLst>
        </pc:spChg>
        <pc:spChg chg="mod">
          <ac:chgData name="Yuly Andrea Castaneda Ramirez (CENIT)" userId="9d6b9224-b289-47c8-b6d4-3bf138101243" providerId="ADAL" clId="{20809D37-15FE-439C-AAF0-6BBEA123306F}" dt="2020-07-27T21:58:37.652" v="493" actId="1035"/>
          <ac:spMkLst>
            <pc:docMk/>
            <pc:sldMk cId="335391689" sldId="2134804348"/>
            <ac:spMk id="14" creationId="{6FCAE7F4-D309-4A31-A5D2-C6A035E0EF82}"/>
          </ac:spMkLst>
        </pc:spChg>
        <pc:spChg chg="mod">
          <ac:chgData name="Yuly Andrea Castaneda Ramirez (CENIT)" userId="9d6b9224-b289-47c8-b6d4-3bf138101243" providerId="ADAL" clId="{20809D37-15FE-439C-AAF0-6BBEA123306F}" dt="2020-07-27T21:58:37.652" v="493" actId="1035"/>
          <ac:spMkLst>
            <pc:docMk/>
            <pc:sldMk cId="335391689" sldId="2134804348"/>
            <ac:spMk id="15" creationId="{EC155108-24C9-41BB-AFB7-1D8B4E0A3839}"/>
          </ac:spMkLst>
        </pc:spChg>
        <pc:spChg chg="mod">
          <ac:chgData name="Yuly Andrea Castaneda Ramirez (CENIT)" userId="9d6b9224-b289-47c8-b6d4-3bf138101243" providerId="ADAL" clId="{20809D37-15FE-439C-AAF0-6BBEA123306F}" dt="2020-07-27T21:58:50.208" v="496" actId="12788"/>
          <ac:spMkLst>
            <pc:docMk/>
            <pc:sldMk cId="335391689" sldId="2134804348"/>
            <ac:spMk id="16" creationId="{E4BC2CA1-2901-471E-A924-486FA0786DAE}"/>
          </ac:spMkLst>
        </pc:spChg>
        <pc:spChg chg="del mod">
          <ac:chgData name="Yuly Andrea Castaneda Ramirez (CENIT)" userId="9d6b9224-b289-47c8-b6d4-3bf138101243" providerId="ADAL" clId="{20809D37-15FE-439C-AAF0-6BBEA123306F}" dt="2020-07-27T21:58:09.085" v="478" actId="478"/>
          <ac:spMkLst>
            <pc:docMk/>
            <pc:sldMk cId="335391689" sldId="2134804348"/>
            <ac:spMk id="17" creationId="{5EAC5110-AE72-47ED-96D9-528A91DC5957}"/>
          </ac:spMkLst>
        </pc:spChg>
        <pc:spChg chg="mod">
          <ac:chgData name="Yuly Andrea Castaneda Ramirez (CENIT)" userId="9d6b9224-b289-47c8-b6d4-3bf138101243" providerId="ADAL" clId="{20809D37-15FE-439C-AAF0-6BBEA123306F}" dt="2020-07-27T22:00:43.855" v="524" actId="313"/>
          <ac:spMkLst>
            <pc:docMk/>
            <pc:sldMk cId="335391689" sldId="2134804348"/>
            <ac:spMk id="18" creationId="{B9A102DE-B6E2-4A96-917C-4764462F2DD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57:29.899" v="463" actId="20577"/>
          <ac:spMkLst>
            <pc:docMk/>
            <pc:sldMk cId="335391689" sldId="2134804348"/>
            <ac:spMk id="19" creationId="{70675E72-95A3-4317-B24A-EF51AC8AE239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20" creationId="{91886273-5A61-45EC-996D-906F8DD4AEC3}"/>
          </ac:spMkLst>
        </pc:spChg>
        <pc:spChg chg="add mod">
          <ac:chgData name="Yuly Andrea Castaneda Ramirez (CENIT)" userId="9d6b9224-b289-47c8-b6d4-3bf138101243" providerId="ADAL" clId="{20809D37-15FE-439C-AAF0-6BBEA123306F}" dt="2020-07-27T21:40:33.942" v="351" actId="1076"/>
          <ac:spMkLst>
            <pc:docMk/>
            <pc:sldMk cId="335391689" sldId="2134804348"/>
            <ac:spMk id="21" creationId="{E2738FDF-0742-473E-B459-0FA49EB64687}"/>
          </ac:spMkLst>
        </pc:spChg>
        <pc:spChg chg="del">
          <ac:chgData name="Yuly Andrea Castaneda Ramirez (CENIT)" userId="9d6b9224-b289-47c8-b6d4-3bf138101243" providerId="ADAL" clId="{20809D37-15FE-439C-AAF0-6BBEA123306F}" dt="2020-07-27T21:40:30.654" v="350" actId="478"/>
          <ac:spMkLst>
            <pc:docMk/>
            <pc:sldMk cId="335391689" sldId="2134804348"/>
            <ac:spMk id="22" creationId="{53E538FE-3283-40FB-A5F0-3E57246B6EF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23" creationId="{F9E88D09-9AD8-4AF9-A780-C82EAAC2DDB0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24" creationId="{CB568A14-610E-4EE4-8063-F08B2B6A8B80}"/>
          </ac:spMkLst>
        </pc:spChg>
        <pc:spChg chg="del mod">
          <ac:chgData name="Yuly Andrea Castaneda Ramirez (CENIT)" userId="9d6b9224-b289-47c8-b6d4-3bf138101243" providerId="ADAL" clId="{20809D37-15FE-439C-AAF0-6BBEA123306F}" dt="2020-07-27T21:59:49.801" v="499" actId="478"/>
          <ac:spMkLst>
            <pc:docMk/>
            <pc:sldMk cId="335391689" sldId="2134804348"/>
            <ac:spMk id="25" creationId="{52F94A51-0420-4FE6-A012-EEC8917EB93D}"/>
          </ac:spMkLst>
        </pc:spChg>
        <pc:spChg chg="mod">
          <ac:chgData name="Yuly Andrea Castaneda Ramirez (CENIT)" userId="9d6b9224-b289-47c8-b6d4-3bf138101243" providerId="ADAL" clId="{20809D37-15FE-439C-AAF0-6BBEA123306F}" dt="2020-07-27T21:40:53.676" v="353"/>
          <ac:spMkLst>
            <pc:docMk/>
            <pc:sldMk cId="335391689" sldId="2134804348"/>
            <ac:spMk id="30" creationId="{5BF08848-45AE-451C-A99D-7322CF796742}"/>
          </ac:spMkLst>
        </pc:spChg>
        <pc:spChg chg="mod">
          <ac:chgData name="Yuly Andrea Castaneda Ramirez (CENIT)" userId="9d6b9224-b289-47c8-b6d4-3bf138101243" providerId="ADAL" clId="{20809D37-15FE-439C-AAF0-6BBEA123306F}" dt="2020-07-27T21:45:47.434" v="421" actId="20577"/>
          <ac:spMkLst>
            <pc:docMk/>
            <pc:sldMk cId="335391689" sldId="2134804348"/>
            <ac:spMk id="34" creationId="{2858742F-5FD0-4B7E-9334-0D1DB2CF525E}"/>
          </ac:spMkLst>
        </pc:spChg>
        <pc:spChg chg="del">
          <ac:chgData name="Yuly Andrea Castaneda Ramirez (CENIT)" userId="9d6b9224-b289-47c8-b6d4-3bf138101243" providerId="ADAL" clId="{20809D37-15FE-439C-AAF0-6BBEA123306F}" dt="2020-07-27T21:42:16.802" v="366" actId="478"/>
          <ac:spMkLst>
            <pc:docMk/>
            <pc:sldMk cId="335391689" sldId="2134804348"/>
            <ac:spMk id="35" creationId="{5F2982C9-1317-4114-BC67-9EA6763899B8}"/>
          </ac:spMkLst>
        </pc:spChg>
        <pc:spChg chg="mod">
          <ac:chgData name="Yuly Andrea Castaneda Ramirez (CENIT)" userId="9d6b9224-b289-47c8-b6d4-3bf138101243" providerId="ADAL" clId="{20809D37-15FE-439C-AAF0-6BBEA123306F}" dt="2020-07-27T21:44:47.215" v="396" actId="313"/>
          <ac:spMkLst>
            <pc:docMk/>
            <pc:sldMk cId="335391689" sldId="2134804348"/>
            <ac:spMk id="36" creationId="{80930BAD-CC8E-47DD-9473-5B8864A2680A}"/>
          </ac:spMkLst>
        </pc:spChg>
        <pc:spChg chg="mod">
          <ac:chgData name="Yuly Andrea Castaneda Ramirez (CENIT)" userId="9d6b9224-b289-47c8-b6d4-3bf138101243" providerId="ADAL" clId="{20809D37-15FE-439C-AAF0-6BBEA123306F}" dt="2020-07-27T21:45:52.715" v="423" actId="20577"/>
          <ac:spMkLst>
            <pc:docMk/>
            <pc:sldMk cId="335391689" sldId="2134804348"/>
            <ac:spMk id="40" creationId="{F9005A44-E530-4972-BBE0-B3ED015A6ED4}"/>
          </ac:spMkLst>
        </pc:spChg>
        <pc:spChg chg="mod">
          <ac:chgData name="Yuly Andrea Castaneda Ramirez (CENIT)" userId="9d6b9224-b289-47c8-b6d4-3bf138101243" providerId="ADAL" clId="{20809D37-15FE-439C-AAF0-6BBEA123306F}" dt="2020-07-27T21:42:36.428" v="368"/>
          <ac:spMkLst>
            <pc:docMk/>
            <pc:sldMk cId="335391689" sldId="2134804348"/>
            <ac:spMk id="41" creationId="{A6323A01-8860-4B1B-BDAF-6B75ABC06BEC}"/>
          </ac:spMkLst>
        </pc:spChg>
        <pc:spChg chg="mod">
          <ac:chgData name="Yuly Andrea Castaneda Ramirez (CENIT)" userId="9d6b9224-b289-47c8-b6d4-3bf138101243" providerId="ADAL" clId="{20809D37-15FE-439C-AAF0-6BBEA123306F}" dt="2020-07-27T21:57:16.282" v="458" actId="1035"/>
          <ac:spMkLst>
            <pc:docMk/>
            <pc:sldMk cId="335391689" sldId="2134804348"/>
            <ac:spMk id="42" creationId="{4101169F-B3FD-425D-90F0-D9CCBE1BF3D2}"/>
          </ac:spMkLst>
        </pc:spChg>
        <pc:spChg chg="mod">
          <ac:chgData name="Yuly Andrea Castaneda Ramirez (CENIT)" userId="9d6b9224-b289-47c8-b6d4-3bf138101243" providerId="ADAL" clId="{20809D37-15FE-439C-AAF0-6BBEA123306F}" dt="2020-07-27T21:57:21.191" v="459" actId="20577"/>
          <ac:spMkLst>
            <pc:docMk/>
            <pc:sldMk cId="335391689" sldId="2134804348"/>
            <ac:spMk id="43" creationId="{34452114-CA9E-44D1-9755-DF275F1BF2A9}"/>
          </ac:spMkLst>
        </pc:spChg>
        <pc:spChg chg="add mod">
          <ac:chgData name="Yuly Andrea Castaneda Ramirez (CENIT)" userId="9d6b9224-b289-47c8-b6d4-3bf138101243" providerId="ADAL" clId="{20809D37-15FE-439C-AAF0-6BBEA123306F}" dt="2020-07-27T21:42:21.124" v="367" actId="1076"/>
          <ac:spMkLst>
            <pc:docMk/>
            <pc:sldMk cId="335391689" sldId="2134804348"/>
            <ac:spMk id="44" creationId="{4EFA847F-1C48-4D9F-B34E-65102CE660F2}"/>
          </ac:spMkLst>
        </pc:spChg>
        <pc:spChg chg="del">
          <ac:chgData name="Yuly Andrea Castaneda Ramirez (CENIT)" userId="9d6b9224-b289-47c8-b6d4-3bf138101243" providerId="ADAL" clId="{20809D37-15FE-439C-AAF0-6BBEA123306F}" dt="2020-07-27T21:44:05.559" v="389" actId="478"/>
          <ac:spMkLst>
            <pc:docMk/>
            <pc:sldMk cId="335391689" sldId="2134804348"/>
            <ac:spMk id="45" creationId="{476FBBD3-1877-4B8E-A2BA-965C36FBD73D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46" creationId="{BA5C247C-3C05-46FC-95C2-E68EAA1029EF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47" creationId="{D222A558-E5A3-43A6-B640-1B3D767D7C70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48" creationId="{4D2C108D-C1C0-444A-B111-2A05C5D8EFE1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50" creationId="{36DAE494-CC51-491B-81C2-F265042DF73B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52" creationId="{1C93BDEE-61DE-4B2A-A8DE-0FB9915B51EC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54" creationId="{BD99389E-FF9A-4FAB-88F0-B4CC8A2D8A53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56" creationId="{6516CAF8-E1DD-4C37-A91D-3C0E5FECCE0E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58" creationId="{925E0CE4-E220-4014-B423-8EFD69D9C287}"/>
          </ac:spMkLst>
        </pc:spChg>
        <pc:spChg chg="add mod">
          <ac:chgData name="Yuly Andrea Castaneda Ramirez (CENIT)" userId="9d6b9224-b289-47c8-b6d4-3bf138101243" providerId="ADAL" clId="{20809D37-15FE-439C-AAF0-6BBEA123306F}" dt="2020-07-27T21:44:09.571" v="390" actId="1076"/>
          <ac:spMkLst>
            <pc:docMk/>
            <pc:sldMk cId="335391689" sldId="2134804348"/>
            <ac:spMk id="60" creationId="{590D738E-748E-456C-AEEB-CF74A81C8AA1}"/>
          </ac:spMkLst>
        </pc:spChg>
        <pc:spChg chg="add mod">
          <ac:chgData name="Yuly Andrea Castaneda Ramirez (CENIT)" userId="9d6b9224-b289-47c8-b6d4-3bf138101243" providerId="ADAL" clId="{20809D37-15FE-439C-AAF0-6BBEA123306F}" dt="2020-07-27T21:44:44.727" v="395" actId="1076"/>
          <ac:spMkLst>
            <pc:docMk/>
            <pc:sldMk cId="335391689" sldId="2134804348"/>
            <ac:spMk id="62" creationId="{16213BFD-A1AA-459A-B882-81AFD08AECCC}"/>
          </ac:spMkLst>
        </pc:spChg>
        <pc:spChg chg="add mod">
          <ac:chgData name="Yuly Andrea Castaneda Ramirez (CENIT)" userId="9d6b9224-b289-47c8-b6d4-3bf138101243" providerId="ADAL" clId="{20809D37-15FE-439C-AAF0-6BBEA123306F}" dt="2020-07-27T21:45:43.950" v="420" actId="1076"/>
          <ac:spMkLst>
            <pc:docMk/>
            <pc:sldMk cId="335391689" sldId="2134804348"/>
            <ac:spMk id="64" creationId="{DD46A893-847F-4C21-B3C9-CE11CD78666B}"/>
          </ac:spMkLst>
        </pc:spChg>
        <pc:spChg chg="add mod">
          <ac:chgData name="Yuly Andrea Castaneda Ramirez (CENIT)" userId="9d6b9224-b289-47c8-b6d4-3bf138101243" providerId="ADAL" clId="{20809D37-15FE-439C-AAF0-6BBEA123306F}" dt="2020-07-27T21:46:12.161" v="431" actId="20577"/>
          <ac:spMkLst>
            <pc:docMk/>
            <pc:sldMk cId="335391689" sldId="2134804348"/>
            <ac:spMk id="66" creationId="{85A29B39-6312-442A-AFE1-79138F45D053}"/>
          </ac:spMkLst>
        </pc:spChg>
        <pc:spChg chg="add mod">
          <ac:chgData name="Yuly Andrea Castaneda Ramirez (CENIT)" userId="9d6b9224-b289-47c8-b6d4-3bf138101243" providerId="ADAL" clId="{20809D37-15FE-439C-AAF0-6BBEA123306F}" dt="2020-07-27T21:46:14.286" v="433" actId="20577"/>
          <ac:spMkLst>
            <pc:docMk/>
            <pc:sldMk cId="335391689" sldId="2134804348"/>
            <ac:spMk id="68" creationId="{4EF4C980-19F2-4264-BE5C-AA28E61C7265}"/>
          </ac:spMkLst>
        </pc:spChg>
        <pc:spChg chg="add mod">
          <ac:chgData name="Yuly Andrea Castaneda Ramirez (CENIT)" userId="9d6b9224-b289-47c8-b6d4-3bf138101243" providerId="ADAL" clId="{20809D37-15FE-439C-AAF0-6BBEA123306F}" dt="2020-07-27T21:46:16.595" v="435" actId="20577"/>
          <ac:spMkLst>
            <pc:docMk/>
            <pc:sldMk cId="335391689" sldId="2134804348"/>
            <ac:spMk id="70" creationId="{228128D6-7178-4610-A82E-598F630C4F9A}"/>
          </ac:spMkLst>
        </pc:spChg>
        <pc:spChg chg="add mod">
          <ac:chgData name="Yuly Andrea Castaneda Ramirez (CENIT)" userId="9d6b9224-b289-47c8-b6d4-3bf138101243" providerId="ADAL" clId="{20809D37-15FE-439C-AAF0-6BBEA123306F}" dt="2020-07-27T21:57:16.282" v="458" actId="1035"/>
          <ac:spMkLst>
            <pc:docMk/>
            <pc:sldMk cId="335391689" sldId="2134804348"/>
            <ac:spMk id="72" creationId="{E6ACBC4D-0F52-4BE1-A867-525E7D039259}"/>
          </ac:spMkLst>
        </pc:spChg>
        <pc:spChg chg="add mod">
          <ac:chgData name="Yuly Andrea Castaneda Ramirez (CENIT)" userId="9d6b9224-b289-47c8-b6d4-3bf138101243" providerId="ADAL" clId="{20809D37-15FE-439C-AAF0-6BBEA123306F}" dt="2020-07-27T21:58:37.652" v="493" actId="1035"/>
          <ac:spMkLst>
            <pc:docMk/>
            <pc:sldMk cId="335391689" sldId="2134804348"/>
            <ac:spMk id="74" creationId="{D5140A26-6B24-4EF8-BA11-E02E558E1609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58:14.164" v="480" actId="478"/>
          <ac:spMkLst>
            <pc:docMk/>
            <pc:sldMk cId="335391689" sldId="2134804348"/>
            <ac:spMk id="76" creationId="{8BBC56CD-80D2-47B2-98EB-0BAEAC63CD08}"/>
          </ac:spMkLst>
        </pc:spChg>
        <pc:spChg chg="add mod">
          <ac:chgData name="Yuly Andrea Castaneda Ramirez (CENIT)" userId="9d6b9224-b289-47c8-b6d4-3bf138101243" providerId="ADAL" clId="{20809D37-15FE-439C-AAF0-6BBEA123306F}" dt="2020-07-27T21:57:48.447" v="471" actId="20577"/>
          <ac:spMkLst>
            <pc:docMk/>
            <pc:sldMk cId="335391689" sldId="2134804348"/>
            <ac:spMk id="78" creationId="{F460B3E9-213A-496A-8578-9190BAD544F3}"/>
          </ac:spMkLst>
        </pc:spChg>
        <pc:spChg chg="add mod">
          <ac:chgData name="Yuly Andrea Castaneda Ramirez (CENIT)" userId="9d6b9224-b289-47c8-b6d4-3bf138101243" providerId="ADAL" clId="{20809D37-15FE-439C-AAF0-6BBEA123306F}" dt="2020-07-27T21:57:50.475" v="473" actId="20577"/>
          <ac:spMkLst>
            <pc:docMk/>
            <pc:sldMk cId="335391689" sldId="2134804348"/>
            <ac:spMk id="80" creationId="{18FBBB80-789C-4617-A528-93CC43F5E853}"/>
          </ac:spMkLst>
        </pc:spChg>
        <pc:spChg chg="add mod">
          <ac:chgData name="Yuly Andrea Castaneda Ramirez (CENIT)" userId="9d6b9224-b289-47c8-b6d4-3bf138101243" providerId="ADAL" clId="{20809D37-15FE-439C-AAF0-6BBEA123306F}" dt="2020-07-27T21:57:53.315" v="475" actId="20577"/>
          <ac:spMkLst>
            <pc:docMk/>
            <pc:sldMk cId="335391689" sldId="2134804348"/>
            <ac:spMk id="82" creationId="{3732F2E4-0A29-43A4-B01E-2185E8950783}"/>
          </ac:spMkLst>
        </pc:spChg>
        <pc:spChg chg="del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84" creationId="{293DBAF3-3942-4C58-8A63-D4484E215E20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86" creationId="{7696A978-4362-4DE3-8C58-0F58608C4AA6}"/>
          </ac:spMkLst>
        </pc:spChg>
        <pc:spChg chg="add mod">
          <ac:chgData name="Yuly Andrea Castaneda Ramirez (CENIT)" userId="9d6b9224-b289-47c8-b6d4-3bf138101243" providerId="ADAL" clId="{20809D37-15FE-439C-AAF0-6BBEA123306F}" dt="2020-07-27T21:58:50.208" v="496" actId="12788"/>
          <ac:spMkLst>
            <pc:docMk/>
            <pc:sldMk cId="335391689" sldId="2134804348"/>
            <ac:spMk id="88" creationId="{7973398C-2C52-4B8D-8FCE-88F4A0575383}"/>
          </ac:spMkLst>
        </pc:spChg>
        <pc:spChg chg="add del">
          <ac:chgData name="Yuly Andrea Castaneda Ramirez (CENIT)" userId="9d6b9224-b289-47c8-b6d4-3bf138101243" providerId="ADAL" clId="{20809D37-15FE-439C-AAF0-6BBEA123306F}" dt="2020-07-27T21:58:29.767" v="486" actId="22"/>
          <ac:spMkLst>
            <pc:docMk/>
            <pc:sldMk cId="335391689" sldId="2134804348"/>
            <ac:spMk id="90" creationId="{A1FA32F8-B825-4CD2-A397-8903135F258A}"/>
          </ac:spMkLst>
        </pc:spChg>
        <pc:spChg chg="add mod">
          <ac:chgData name="Yuly Andrea Castaneda Ramirez (CENIT)" userId="9d6b9224-b289-47c8-b6d4-3bf138101243" providerId="ADAL" clId="{20809D37-15FE-439C-AAF0-6BBEA123306F}" dt="2020-07-27T21:58:50.208" v="496" actId="12788"/>
          <ac:spMkLst>
            <pc:docMk/>
            <pc:sldMk cId="335391689" sldId="2134804348"/>
            <ac:spMk id="92" creationId="{FFD441DF-7C6A-48D7-996D-F60C3B04B450}"/>
          </ac:spMkLst>
        </pc:spChg>
        <pc:spChg chg="add mod">
          <ac:chgData name="Yuly Andrea Castaneda Ramirez (CENIT)" userId="9d6b9224-b289-47c8-b6d4-3bf138101243" providerId="ADAL" clId="{20809D37-15FE-439C-AAF0-6BBEA123306F}" dt="2020-07-27T22:00:11.991" v="513" actId="313"/>
          <ac:spMkLst>
            <pc:docMk/>
            <pc:sldMk cId="335391689" sldId="2134804348"/>
            <ac:spMk id="94" creationId="{4DE4A526-D337-4C45-B9BF-7953B17E4C8C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00:06.386" v="511" actId="478"/>
          <ac:spMkLst>
            <pc:docMk/>
            <pc:sldMk cId="335391689" sldId="2134804348"/>
            <ac:spMk id="96" creationId="{533342D2-F232-4E4E-BAE3-50BCD26CA964}"/>
          </ac:spMkLst>
        </pc:spChg>
        <pc:spChg chg="mod">
          <ac:chgData name="Yuly Andrea Castaneda Ramirez (CENIT)" userId="9d6b9224-b289-47c8-b6d4-3bf138101243" providerId="ADAL" clId="{20809D37-15FE-439C-AAF0-6BBEA123306F}" dt="2020-07-27T21:40:37.962" v="352" actId="313"/>
          <ac:spMkLst>
            <pc:docMk/>
            <pc:sldMk cId="335391689" sldId="2134804348"/>
            <ac:spMk id="97" creationId="{99300021-C267-43BD-A0F5-B3ECE622345E}"/>
          </ac:spMkLst>
        </pc:spChg>
        <pc:spChg chg="add mod">
          <ac:chgData name="Yuly Andrea Castaneda Ramirez (CENIT)" userId="9d6b9224-b289-47c8-b6d4-3bf138101243" providerId="ADAL" clId="{20809D37-15FE-439C-AAF0-6BBEA123306F}" dt="2020-07-27T22:00:40.642" v="523" actId="1076"/>
          <ac:spMkLst>
            <pc:docMk/>
            <pc:sldMk cId="335391689" sldId="2134804348"/>
            <ac:spMk id="100" creationId="{905942AB-5884-4A1A-AB62-3C01B5CEF502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09" creationId="{09FEBB2F-6837-4B52-A0F3-7788777898D1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0" creationId="{CBAA75F3-5F2F-44AE-907D-A693F8DC792D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1" creationId="{46F74A5E-421E-4779-8B22-AE00066EF7D3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2" creationId="{47D8DCC7-2D64-4763-9312-231EC4563473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3" creationId="{3AC4B82B-6F2A-4433-9B55-C3C12FCE76A8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5" creationId="{41C14022-60A5-49CB-8A9B-685D85D008BA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6" creationId="{30DF3DB9-B1A1-4777-A386-EA6A1198BBBA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117" creationId="{8960734A-1053-42D2-BD72-6674DCCE6A97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118" creationId="{C77431EE-A761-4323-B75F-692D4CAEC462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119" creationId="{A66DDFF6-8990-4632-9B16-3852035C81BA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1" creationId="{D28FFAE7-1059-489D-B903-35B24DB4787E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2" creationId="{D0DBC96B-6527-4105-87F5-4CCB4771BFA5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4" creationId="{312BF1BE-8A73-408C-9777-A9B2587F47B4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5" creationId="{C9764E28-1191-4401-8812-3F5946FA54C0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6" creationId="{1E1ADB7B-308E-43CC-8C79-4B0820F83BEF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7" creationId="{A0445359-C924-4A86-BF97-C50D4AFCD765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8" creationId="{7E10D906-A395-4C9B-821C-56A50C7C22BE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9" creationId="{131408C0-4A85-456F-9CC5-1B260B9B2221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0" creationId="{B669FD25-A263-45C2-A206-BFA95EDD685A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1" creationId="{A91FCDE9-0180-4C19-92EE-8D0464118CEA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2" creationId="{36D7DD07-92C7-465C-B6AE-35E84E223124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3" creationId="{3252F55B-D114-43B1-AFEE-D4D93962C217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4" creationId="{77082EF3-134C-4148-8172-E0C1F41E334D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6" creationId="{402E669C-5742-40AC-AB8A-5028355A713B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7" creationId="{95B4808B-BD2E-4EB3-B64A-ED60053DF02E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8" creationId="{A6C9C65D-A624-40D1-96F3-BDB27AB5D820}"/>
          </ac:spMkLst>
        </pc:spChg>
        <pc:grpChg chg="del mod">
          <ac:chgData name="Yuly Andrea Castaneda Ramirez (CENIT)" userId="9d6b9224-b289-47c8-b6d4-3bf138101243" providerId="ADAL" clId="{20809D37-15FE-439C-AAF0-6BBEA123306F}" dt="2020-07-27T22:17:04.430" v="667" actId="478"/>
          <ac:grpSpMkLst>
            <pc:docMk/>
            <pc:sldMk cId="335391689" sldId="2134804348"/>
            <ac:grpSpMk id="26" creationId="{5B1CDA9C-37CE-441A-94E7-5A5F38503613}"/>
          </ac:grpSpMkLst>
        </pc:grpChg>
        <pc:grpChg chg="del mod">
          <ac:chgData name="Yuly Andrea Castaneda Ramirez (CENIT)" userId="9d6b9224-b289-47c8-b6d4-3bf138101243" providerId="ADAL" clId="{20809D37-15FE-439C-AAF0-6BBEA123306F}" dt="2020-07-27T22:17:04.430" v="667" actId="478"/>
          <ac:grpSpMkLst>
            <pc:docMk/>
            <pc:sldMk cId="335391689" sldId="2134804348"/>
            <ac:grpSpMk id="31" creationId="{A0B07E6C-42EA-42D4-BF18-74CF8467911A}"/>
          </ac:grpSpMkLst>
        </pc:grpChg>
        <pc:grpChg chg="del mod">
          <ac:chgData name="Yuly Andrea Castaneda Ramirez (CENIT)" userId="9d6b9224-b289-47c8-b6d4-3bf138101243" providerId="ADAL" clId="{20809D37-15FE-439C-AAF0-6BBEA123306F}" dt="2020-07-27T22:17:04.430" v="667" actId="478"/>
          <ac:grpSpMkLst>
            <pc:docMk/>
            <pc:sldMk cId="335391689" sldId="2134804348"/>
            <ac:grpSpMk id="37" creationId="{33A4F641-6F0E-462A-898E-0641B151AA65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7:09.261" v="668"/>
          <ac:grpSpMkLst>
            <pc:docMk/>
            <pc:sldMk cId="335391689" sldId="2134804348"/>
            <ac:grpSpMk id="114" creationId="{ECE1E8E1-96FE-4D0A-939A-F926322BF5C6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7:09.261" v="668"/>
          <ac:grpSpMkLst>
            <pc:docMk/>
            <pc:sldMk cId="335391689" sldId="2134804348"/>
            <ac:grpSpMk id="120" creationId="{676EF5F2-89BE-47A7-B180-45540366C7B0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7:09.261" v="668"/>
          <ac:grpSpMkLst>
            <pc:docMk/>
            <pc:sldMk cId="335391689" sldId="2134804348"/>
            <ac:grpSpMk id="123" creationId="{E8797763-84E8-4673-B3CC-1BF8B4B0316E}"/>
          </ac:grpSpMkLst>
        </pc:grpChg>
      </pc:sldChg>
    </pc:docChg>
  </pc:docChgLst>
  <pc:docChgLst>
    <pc:chgData name="Usuario invitado" userId="S::urn:spo:anon#ef30890cd3063e1632fa7c5913d7b57600e39ccb056aedca277405e94abf2825::" providerId="AD" clId="Web-{1BD1881F-7BFB-DFEB-A531-727C1CD697F2}"/>
    <pc:docChg chg="modSld">
      <pc:chgData name="Usuario invitado" userId="S::urn:spo:anon#ef30890cd3063e1632fa7c5913d7b57600e39ccb056aedca277405e94abf2825::" providerId="AD" clId="Web-{1BD1881F-7BFB-DFEB-A531-727C1CD697F2}" dt="2020-07-07T13:40:31.184" v="1" actId="1076"/>
      <pc:docMkLst>
        <pc:docMk/>
      </pc:docMkLst>
      <pc:sldChg chg="modSp">
        <pc:chgData name="Usuario invitado" userId="S::urn:spo:anon#ef30890cd3063e1632fa7c5913d7b57600e39ccb056aedca277405e94abf2825::" providerId="AD" clId="Web-{1BD1881F-7BFB-DFEB-A531-727C1CD697F2}" dt="2020-07-07T13:40:31.184" v="1" actId="1076"/>
        <pc:sldMkLst>
          <pc:docMk/>
          <pc:sldMk cId="888575759" sldId="2134804310"/>
        </pc:sldMkLst>
        <pc:grpChg chg="mod">
          <ac:chgData name="Usuario invitado" userId="S::urn:spo:anon#ef30890cd3063e1632fa7c5913d7b57600e39ccb056aedca277405e94abf2825::" providerId="AD" clId="Web-{1BD1881F-7BFB-DFEB-A531-727C1CD697F2}" dt="2020-07-07T13:40:31.184" v="1" actId="1076"/>
          <ac:grpSpMkLst>
            <pc:docMk/>
            <pc:sldMk cId="888575759" sldId="2134804310"/>
            <ac:grpSpMk id="5" creationId="{B8B3F25F-5EEF-49B5-AF43-A778A4A44B6A}"/>
          </ac:grpSpMkLst>
        </pc:grpChg>
        <pc:grpChg chg="mod">
          <ac:chgData name="Usuario invitado" userId="S::urn:spo:anon#ef30890cd3063e1632fa7c5913d7b57600e39ccb056aedca277405e94abf2825::" providerId="AD" clId="Web-{1BD1881F-7BFB-DFEB-A531-727C1CD697F2}" dt="2020-07-07T13:40:28.950" v="0" actId="1076"/>
          <ac:grpSpMkLst>
            <pc:docMk/>
            <pc:sldMk cId="888575759" sldId="2134804310"/>
            <ac:grpSpMk id="15" creationId="{41EBE1F9-8288-4A08-BEED-96A4EBB42235}"/>
          </ac:grpSpMkLst>
        </pc:grpChg>
      </pc:sldChg>
    </pc:docChg>
  </pc:docChgLst>
  <pc:docChgLst>
    <pc:chgData name="Yuly Andrea Castaneda Ramirez (CENIT)" userId="S::yuly.castaneda@cenit-transporte.com::9d6b9224-b289-47c8-b6d4-3bf138101243" providerId="AD" clId="Web-{09AAA5FA-EAD4-E4C8-ECAC-59E57DE1C687}"/>
    <pc:docChg chg="modSld">
      <pc:chgData name="Yuly Andrea Castaneda Ramirez (CENIT)" userId="S::yuly.castaneda@cenit-transporte.com::9d6b9224-b289-47c8-b6d4-3bf138101243" providerId="AD" clId="Web-{09AAA5FA-EAD4-E4C8-ECAC-59E57DE1C687}" dt="2020-07-31T14:35:41.495" v="9" actId="1076"/>
      <pc:docMkLst>
        <pc:docMk/>
      </pc:docMkLst>
      <pc:sldChg chg="modSp">
        <pc:chgData name="Yuly Andrea Castaneda Ramirez (CENIT)" userId="S::yuly.castaneda@cenit-transporte.com::9d6b9224-b289-47c8-b6d4-3bf138101243" providerId="AD" clId="Web-{09AAA5FA-EAD4-E4C8-ECAC-59E57DE1C687}" dt="2020-07-31T14:35:28.979" v="7" actId="1076"/>
        <pc:sldMkLst>
          <pc:docMk/>
          <pc:sldMk cId="1108072925" sldId="2134804343"/>
        </pc:sldMkLst>
        <pc:spChg chg="mod">
          <ac:chgData name="Yuly Andrea Castaneda Ramirez (CENIT)" userId="S::yuly.castaneda@cenit-transporte.com::9d6b9224-b289-47c8-b6d4-3bf138101243" providerId="AD" clId="Web-{09AAA5FA-EAD4-E4C8-ECAC-59E57DE1C687}" dt="2020-07-31T14:35:02.852" v="1" actId="1076"/>
          <ac:spMkLst>
            <pc:docMk/>
            <pc:sldMk cId="1108072925" sldId="2134804343"/>
            <ac:spMk id="114" creationId="{34834366-0759-4E89-9A3A-288B6DA6C8C5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07.852" v="2" actId="1076"/>
          <ac:spMkLst>
            <pc:docMk/>
            <pc:sldMk cId="1108072925" sldId="2134804343"/>
            <ac:spMk id="117" creationId="{7F6BC1DB-4E40-4A47-850A-79B462E1AE26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13.056" v="3" actId="1076"/>
          <ac:spMkLst>
            <pc:docMk/>
            <pc:sldMk cId="1108072925" sldId="2134804343"/>
            <ac:spMk id="120" creationId="{E73BF53D-5C4E-4100-BC6B-1DFC8B8FC737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18.759" v="5" actId="1076"/>
          <ac:spMkLst>
            <pc:docMk/>
            <pc:sldMk cId="1108072925" sldId="2134804343"/>
            <ac:spMk id="123" creationId="{AF32E794-4F50-4939-826B-17544165148C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23.838" v="6" actId="1076"/>
          <ac:spMkLst>
            <pc:docMk/>
            <pc:sldMk cId="1108072925" sldId="2134804343"/>
            <ac:spMk id="126" creationId="{8F1ADAC7-4725-4A8E-8E01-07F422E0CE8D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28.979" v="7" actId="1076"/>
          <ac:spMkLst>
            <pc:docMk/>
            <pc:sldMk cId="1108072925" sldId="2134804343"/>
            <ac:spMk id="129" creationId="{547FDFA9-DFAE-49C9-8DB6-12CF8AF865B2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4:57.180" v="0" actId="1076"/>
          <ac:spMkLst>
            <pc:docMk/>
            <pc:sldMk cId="1108072925" sldId="2134804343"/>
            <ac:spMk id="134" creationId="{9DA84409-E78D-4C09-BD7D-3213865A7325}"/>
          </ac:spMkLst>
        </pc:spChg>
      </pc:sldChg>
      <pc:sldChg chg="modSp">
        <pc:chgData name="Yuly Andrea Castaneda Ramirez (CENIT)" userId="S::yuly.castaneda@cenit-transporte.com::9d6b9224-b289-47c8-b6d4-3bf138101243" providerId="AD" clId="Web-{09AAA5FA-EAD4-E4C8-ECAC-59E57DE1C687}" dt="2020-07-31T14:35:41.495" v="9" actId="1076"/>
        <pc:sldMkLst>
          <pc:docMk/>
          <pc:sldMk cId="1734415321" sldId="2134804344"/>
        </pc:sldMkLst>
        <pc:spChg chg="mod">
          <ac:chgData name="Yuly Andrea Castaneda Ramirez (CENIT)" userId="S::yuly.castaneda@cenit-transporte.com::9d6b9224-b289-47c8-b6d4-3bf138101243" providerId="AD" clId="Web-{09AAA5FA-EAD4-E4C8-ECAC-59E57DE1C687}" dt="2020-07-31T14:35:41.495" v="9" actId="1076"/>
          <ac:spMkLst>
            <pc:docMk/>
            <pc:sldMk cId="1734415321" sldId="2134804344"/>
            <ac:spMk id="80" creationId="{E193066D-B18A-4EF1-AF0B-EF5BC81EBB54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36.510" v="8" actId="1076"/>
          <ac:spMkLst>
            <pc:docMk/>
            <pc:sldMk cId="1734415321" sldId="2134804344"/>
            <ac:spMk id="94" creationId="{0010AD8B-A5B4-4F43-81B9-230ED3132988}"/>
          </ac:spMkLst>
        </pc:spChg>
      </pc:sldChg>
    </pc:docChg>
  </pc:docChgLst>
  <pc:docChgLst>
    <pc:chgData name="Yuly Andrea Castaneda Ramirez (CENIT)" userId="S::yuly.castaneda@cenit-transporte.com::9d6b9224-b289-47c8-b6d4-3bf138101243" providerId="AD" clId="Web-{6094EB1B-90A5-01F1-5FEC-BB9BAFCA5D04}"/>
    <pc:docChg chg="modSld">
      <pc:chgData name="Yuly Andrea Castaneda Ramirez (CENIT)" userId="S::yuly.castaneda@cenit-transporte.com::9d6b9224-b289-47c8-b6d4-3bf138101243" providerId="AD" clId="Web-{6094EB1B-90A5-01F1-5FEC-BB9BAFCA5D04}" dt="2020-07-27T22:57:40.730" v="190"/>
      <pc:docMkLst>
        <pc:docMk/>
      </pc:docMkLst>
      <pc:sldChg chg="addSp delSp modSp">
        <pc:chgData name="Yuly Andrea Castaneda Ramirez (CENIT)" userId="S::yuly.castaneda@cenit-transporte.com::9d6b9224-b289-47c8-b6d4-3bf138101243" providerId="AD" clId="Web-{6094EB1B-90A5-01F1-5FEC-BB9BAFCA5D04}" dt="2020-07-27T22:56:59.667" v="148"/>
        <pc:sldMkLst>
          <pc:docMk/>
          <pc:sldMk cId="330914068" sldId="2134804346"/>
        </pc:sldMkLst>
        <pc:spChg chg="mod">
          <ac:chgData name="Yuly Andrea Castaneda Ramirez (CENIT)" userId="S::yuly.castaneda@cenit-transporte.com::9d6b9224-b289-47c8-b6d4-3bf138101243" providerId="AD" clId="Web-{6094EB1B-90A5-01F1-5FEC-BB9BAFCA5D04}" dt="2020-07-27T22:56:00.587" v="116" actId="20577"/>
          <ac:spMkLst>
            <pc:docMk/>
            <pc:sldMk cId="330914068" sldId="2134804346"/>
            <ac:spMk id="3" creationId="{31514E04-D9F2-4C9D-BB7C-0BB641AFCD5E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3:56.522" v="66"/>
          <ac:spMkLst>
            <pc:docMk/>
            <pc:sldMk cId="330914068" sldId="2134804346"/>
            <ac:spMk id="7" creationId="{B72C64EE-F244-4A66-B52F-23F2A9FED029}"/>
          </ac:spMkLst>
        </pc:spChg>
        <pc:spChg chg="add mod">
          <ac:chgData name="Yuly Andrea Castaneda Ramirez (CENIT)" userId="S::yuly.castaneda@cenit-transporte.com::9d6b9224-b289-47c8-b6d4-3bf138101243" providerId="AD" clId="Web-{6094EB1B-90A5-01F1-5FEC-BB9BAFCA5D04}" dt="2020-07-27T22:56:59.667" v="148"/>
          <ac:spMkLst>
            <pc:docMk/>
            <pc:sldMk cId="330914068" sldId="2134804346"/>
            <ac:spMk id="8" creationId="{4DEC050B-5478-40A6-96EA-C713E7B4F927}"/>
          </ac:spMkLst>
        </pc:spChg>
        <pc:spChg chg="mod">
          <ac:chgData name="Yuly Andrea Castaneda Ramirez (CENIT)" userId="S::yuly.castaneda@cenit-transporte.com::9d6b9224-b289-47c8-b6d4-3bf138101243" providerId="AD" clId="Web-{6094EB1B-90A5-01F1-5FEC-BB9BAFCA5D04}" dt="2020-07-27T22:56:36.057" v="119" actId="1076"/>
          <ac:spMkLst>
            <pc:docMk/>
            <pc:sldMk cId="330914068" sldId="2134804346"/>
            <ac:spMk id="63" creationId="{FDF3B75C-EF94-43C4-8C4C-4ECAB5FEA69C}"/>
          </ac:spMkLst>
        </pc:spChg>
        <pc:graphicFrameChg chg="mod modGraphic">
          <ac:chgData name="Yuly Andrea Castaneda Ramirez (CENIT)" userId="S::yuly.castaneda@cenit-transporte.com::9d6b9224-b289-47c8-b6d4-3bf138101243" providerId="AD" clId="Web-{6094EB1B-90A5-01F1-5FEC-BB9BAFCA5D04}" dt="2020-07-27T22:55:28.024" v="109"/>
          <ac:graphicFrameMkLst>
            <pc:docMk/>
            <pc:sldMk cId="330914068" sldId="2134804346"/>
            <ac:graphicFrameMk id="6" creationId="{55A3C4F2-9AF1-4081-BD13-26D94B00509A}"/>
          </ac:graphicFrameMkLst>
        </pc:graphicFrameChg>
        <pc:graphicFrameChg chg="mod modGraphic">
          <ac:chgData name="Yuly Andrea Castaneda Ramirez (CENIT)" userId="S::yuly.castaneda@cenit-transporte.com::9d6b9224-b289-47c8-b6d4-3bf138101243" providerId="AD" clId="Web-{6094EB1B-90A5-01F1-5FEC-BB9BAFCA5D04}" dt="2020-07-27T22:54:55.602" v="70"/>
          <ac:graphicFrameMkLst>
            <pc:docMk/>
            <pc:sldMk cId="330914068" sldId="2134804346"/>
            <ac:graphicFrameMk id="9" creationId="{6080D7D3-5082-435E-BDF1-D2115CE124C8}"/>
          </ac:graphicFrameMkLst>
        </pc:graphicFrameChg>
      </pc:sldChg>
      <pc:sldChg chg="modSp">
        <pc:chgData name="Yuly Andrea Castaneda Ramirez (CENIT)" userId="S::yuly.castaneda@cenit-transporte.com::9d6b9224-b289-47c8-b6d4-3bf138101243" providerId="AD" clId="Web-{6094EB1B-90A5-01F1-5FEC-BB9BAFCA5D04}" dt="2020-07-27T22:53:46.741" v="63" actId="20577"/>
        <pc:sldMkLst>
          <pc:docMk/>
          <pc:sldMk cId="3225245280" sldId="2134804347"/>
        </pc:sldMkLst>
        <pc:spChg chg="mod">
          <ac:chgData name="Yuly Andrea Castaneda Ramirez (CENIT)" userId="S::yuly.castaneda@cenit-transporte.com::9d6b9224-b289-47c8-b6d4-3bf138101243" providerId="AD" clId="Web-{6094EB1B-90A5-01F1-5FEC-BB9BAFCA5D04}" dt="2020-07-27T22:52:36.427" v="49" actId="20577"/>
          <ac:spMkLst>
            <pc:docMk/>
            <pc:sldMk cId="3225245280" sldId="2134804347"/>
            <ac:spMk id="103" creationId="{CFADED31-A026-4175-BA8F-E9EEDB618661}"/>
          </ac:spMkLst>
        </pc:spChg>
        <pc:spChg chg="mod">
          <ac:chgData name="Yuly Andrea Castaneda Ramirez (CENIT)" userId="S::yuly.castaneda@cenit-transporte.com::9d6b9224-b289-47c8-b6d4-3bf138101243" providerId="AD" clId="Web-{6094EB1B-90A5-01F1-5FEC-BB9BAFCA5D04}" dt="2020-07-27T22:53:04.287" v="53" actId="20577"/>
          <ac:spMkLst>
            <pc:docMk/>
            <pc:sldMk cId="3225245280" sldId="2134804347"/>
            <ac:spMk id="109" creationId="{5EEADFA6-AC99-4B05-8F76-DB574E8A98DA}"/>
          </ac:spMkLst>
        </pc:spChg>
        <pc:spChg chg="mod">
          <ac:chgData name="Yuly Andrea Castaneda Ramirez (CENIT)" userId="S::yuly.castaneda@cenit-transporte.com::9d6b9224-b289-47c8-b6d4-3bf138101243" providerId="AD" clId="Web-{6094EB1B-90A5-01F1-5FEC-BB9BAFCA5D04}" dt="2020-07-27T22:53:30.959" v="58" actId="20577"/>
          <ac:spMkLst>
            <pc:docMk/>
            <pc:sldMk cId="3225245280" sldId="2134804347"/>
            <ac:spMk id="111" creationId="{606ABF23-6300-4549-A5B4-07EBD82E876C}"/>
          </ac:spMkLst>
        </pc:spChg>
        <pc:spChg chg="mod">
          <ac:chgData name="Yuly Andrea Castaneda Ramirez (CENIT)" userId="S::yuly.castaneda@cenit-transporte.com::9d6b9224-b289-47c8-b6d4-3bf138101243" providerId="AD" clId="Web-{6094EB1B-90A5-01F1-5FEC-BB9BAFCA5D04}" dt="2020-07-27T22:53:46.741" v="63" actId="20577"/>
          <ac:spMkLst>
            <pc:docMk/>
            <pc:sldMk cId="3225245280" sldId="2134804347"/>
            <ac:spMk id="122" creationId="{8E1A3EA7-EB49-48D7-A032-F1442013F701}"/>
          </ac:spMkLst>
        </pc:spChg>
      </pc:sldChg>
      <pc:sldChg chg="addSp delSp modSp">
        <pc:chgData name="Yuly Andrea Castaneda Ramirez (CENIT)" userId="S::yuly.castaneda@cenit-transporte.com::9d6b9224-b289-47c8-b6d4-3bf138101243" providerId="AD" clId="Web-{6094EB1B-90A5-01F1-5FEC-BB9BAFCA5D04}" dt="2020-07-27T22:57:40.730" v="190"/>
        <pc:sldMkLst>
          <pc:docMk/>
          <pc:sldMk cId="335391689" sldId="2134804348"/>
        </pc:sldMkLst>
        <pc:spChg chg="add">
          <ac:chgData name="Yuly Andrea Castaneda Ramirez (CENIT)" userId="S::yuly.castaneda@cenit-transporte.com::9d6b9224-b289-47c8-b6d4-3bf138101243" providerId="AD" clId="Web-{6094EB1B-90A5-01F1-5FEC-BB9BAFCA5D04}" dt="2020-07-27T22:57:40.027" v="171"/>
          <ac:spMkLst>
            <pc:docMk/>
            <pc:sldMk cId="335391689" sldId="2134804348"/>
            <ac:spMk id="6" creationId="{41FB5058-5D6D-4057-8091-3FEDAE9C7B2F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059" v="172"/>
          <ac:spMkLst>
            <pc:docMk/>
            <pc:sldMk cId="335391689" sldId="2134804348"/>
            <ac:spMk id="7" creationId="{8B7F7536-70E5-4D84-B987-71AE1FD79A6B}"/>
          </ac:spMkLst>
        </pc:spChg>
        <pc:spChg chg="mod">
          <ac:chgData name="Yuly Andrea Castaneda Ramirez (CENIT)" userId="S::yuly.castaneda@cenit-transporte.com::9d6b9224-b289-47c8-b6d4-3bf138101243" providerId="AD" clId="Web-{6094EB1B-90A5-01F1-5FEC-BB9BAFCA5D04}" dt="2020-07-27T22:57:20.808" v="150"/>
          <ac:spMkLst>
            <pc:docMk/>
            <pc:sldMk cId="335391689" sldId="2134804348"/>
            <ac:spMk id="11" creationId="{772CA61D-742C-45F0-BAFA-0F3B90176E98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090" v="173"/>
          <ac:spMkLst>
            <pc:docMk/>
            <pc:sldMk cId="335391689" sldId="2134804348"/>
            <ac:spMk id="13" creationId="{1D596647-3DA8-4B78-83AD-CC623C803E18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136" v="174"/>
          <ac:spMkLst>
            <pc:docMk/>
            <pc:sldMk cId="335391689" sldId="2134804348"/>
            <ac:spMk id="17" creationId="{495102E0-0B06-46DA-8B01-74CB2AE7392D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168" v="175"/>
          <ac:spMkLst>
            <pc:docMk/>
            <pc:sldMk cId="335391689" sldId="2134804348"/>
            <ac:spMk id="20" creationId="{571727EA-EA8A-4BD3-A5B4-4CB13C53C1D4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308" v="179"/>
          <ac:spMkLst>
            <pc:docMk/>
            <pc:sldMk cId="335391689" sldId="2134804348"/>
            <ac:spMk id="25" creationId="{2E356564-3550-4800-944D-BEBA2884DF10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340" v="180"/>
          <ac:spMkLst>
            <pc:docMk/>
            <pc:sldMk cId="335391689" sldId="2134804348"/>
            <ac:spMk id="26" creationId="{617D6CD1-124E-4C15-A7E7-80D2412020E8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386" v="181"/>
          <ac:spMkLst>
            <pc:docMk/>
            <pc:sldMk cId="335391689" sldId="2134804348"/>
            <ac:spMk id="27" creationId="{7776E912-DE06-47B0-8605-89EA6C171B15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418" v="182"/>
          <ac:spMkLst>
            <pc:docMk/>
            <pc:sldMk cId="335391689" sldId="2134804348"/>
            <ac:spMk id="28" creationId="{21D868A6-FE71-478B-8FD0-57CA5B91F75D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449" v="183"/>
          <ac:spMkLst>
            <pc:docMk/>
            <pc:sldMk cId="335391689" sldId="2134804348"/>
            <ac:spMk id="31" creationId="{8FC9BB00-75DF-48A3-9F2F-B00C04089B14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496" v="184"/>
          <ac:spMkLst>
            <pc:docMk/>
            <pc:sldMk cId="335391689" sldId="2134804348"/>
            <ac:spMk id="32" creationId="{DA499184-DBD6-4E08-B1D0-F2F62150E2E4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527" v="185"/>
          <ac:spMkLst>
            <pc:docMk/>
            <pc:sldMk cId="335391689" sldId="2134804348"/>
            <ac:spMk id="33" creationId="{BB0B2CF6-C366-401B-9566-C9A605ED7428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574" v="186"/>
          <ac:spMkLst>
            <pc:docMk/>
            <pc:sldMk cId="335391689" sldId="2134804348"/>
            <ac:spMk id="35" creationId="{0E85A5F7-D781-4563-A3B3-313B070319DC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605" v="187"/>
          <ac:spMkLst>
            <pc:docMk/>
            <pc:sldMk cId="335391689" sldId="2134804348"/>
            <ac:spMk id="37" creationId="{0D48E18A-A10E-4682-B14A-1326B0F00736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652" v="188"/>
          <ac:spMkLst>
            <pc:docMk/>
            <pc:sldMk cId="335391689" sldId="2134804348"/>
            <ac:spMk id="38" creationId="{62C85554-BA76-486C-A762-2619103FEC1D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683" v="189"/>
          <ac:spMkLst>
            <pc:docMk/>
            <pc:sldMk cId="335391689" sldId="2134804348"/>
            <ac:spMk id="39" creationId="{1FFCCFD3-0CE2-4FB0-B843-11168206DF22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730" v="190"/>
          <ac:spMkLst>
            <pc:docMk/>
            <pc:sldMk cId="335391689" sldId="2134804348"/>
            <ac:spMk id="45" creationId="{CA313353-BBC4-4C5B-B84F-DD1F14B41200}"/>
          </ac:spMkLst>
        </pc:spChg>
        <pc:spChg chg="add mod">
          <ac:chgData name="Yuly Andrea Castaneda Ramirez (CENIT)" userId="S::yuly.castaneda@cenit-transporte.com::9d6b9224-b289-47c8-b6d4-3bf138101243" providerId="AD" clId="Web-{6094EB1B-90A5-01F1-5FEC-BB9BAFCA5D04}" dt="2020-07-27T22:51:45.207" v="33" actId="20577"/>
          <ac:spMkLst>
            <pc:docMk/>
            <pc:sldMk cId="335391689" sldId="2134804348"/>
            <ac:spMk id="69" creationId="{38D18292-C467-4CD3-890E-670905EDE7F1}"/>
          </ac:spMkLst>
        </pc:spChg>
        <pc:spChg chg="add del mod">
          <ac:chgData name="Yuly Andrea Castaneda Ramirez (CENIT)" userId="S::yuly.castaneda@cenit-transporte.com::9d6b9224-b289-47c8-b6d4-3bf138101243" providerId="AD" clId="Web-{6094EB1B-90A5-01F1-5FEC-BB9BAFCA5D04}" dt="2020-07-27T22:49:37.485" v="8"/>
          <ac:spMkLst>
            <pc:docMk/>
            <pc:sldMk cId="335391689" sldId="2134804348"/>
            <ac:spMk id="71" creationId="{718EDCE0-4477-429B-8887-F59710129943}"/>
          </ac:spMkLst>
        </pc:spChg>
        <pc:spChg chg="add mod">
          <ac:chgData name="Yuly Andrea Castaneda Ramirez (CENIT)" userId="S::yuly.castaneda@cenit-transporte.com::9d6b9224-b289-47c8-b6d4-3bf138101243" providerId="AD" clId="Web-{6094EB1B-90A5-01F1-5FEC-BB9BAFCA5D04}" dt="2020-07-27T22:49:42.720" v="9" actId="1076"/>
          <ac:spMkLst>
            <pc:docMk/>
            <pc:sldMk cId="335391689" sldId="2134804348"/>
            <ac:spMk id="73" creationId="{FD23D240-7BB7-4D74-9842-9A4BFE5CAB08}"/>
          </ac:spMkLst>
        </pc:spChg>
        <pc:spChg chg="add mod">
          <ac:chgData name="Yuly Andrea Castaneda Ramirez (CENIT)" userId="S::yuly.castaneda@cenit-transporte.com::9d6b9224-b289-47c8-b6d4-3bf138101243" providerId="AD" clId="Web-{6094EB1B-90A5-01F1-5FEC-BB9BAFCA5D04}" dt="2020-07-27T22:50:12.892" v="17" actId="1076"/>
          <ac:spMkLst>
            <pc:docMk/>
            <pc:sldMk cId="335391689" sldId="2134804348"/>
            <ac:spMk id="75" creationId="{EC5A3F27-F09F-406D-862F-A6BF15171850}"/>
          </ac:spMkLst>
        </pc:spChg>
        <pc:spChg chg="add del">
          <ac:chgData name="Yuly Andrea Castaneda Ramirez (CENIT)" userId="S::yuly.castaneda@cenit-transporte.com::9d6b9224-b289-47c8-b6d4-3bf138101243" providerId="AD" clId="Web-{6094EB1B-90A5-01F1-5FEC-BB9BAFCA5D04}" dt="2020-07-27T22:50:27.158" v="22"/>
          <ac:spMkLst>
            <pc:docMk/>
            <pc:sldMk cId="335391689" sldId="2134804348"/>
            <ac:spMk id="76" creationId="{4B778B52-7F01-4CCA-8F8A-70AB165D8DFC}"/>
          </ac:spMkLst>
        </pc:spChg>
        <pc:spChg chg="add del mod">
          <ac:chgData name="Yuly Andrea Castaneda Ramirez (CENIT)" userId="S::yuly.castaneda@cenit-transporte.com::9d6b9224-b289-47c8-b6d4-3bf138101243" providerId="AD" clId="Web-{6094EB1B-90A5-01F1-5FEC-BB9BAFCA5D04}" dt="2020-07-27T22:51:58.457" v="34"/>
          <ac:spMkLst>
            <pc:docMk/>
            <pc:sldMk cId="335391689" sldId="2134804348"/>
            <ac:spMk id="77" creationId="{69D0A9B9-E67C-43DB-A992-8229ACBEC140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402" v="170"/>
          <ac:spMkLst>
            <pc:docMk/>
            <pc:sldMk cId="335391689" sldId="2134804348"/>
            <ac:spMk id="109" creationId="{09FEBB2F-6837-4B52-A0F3-7788777898D1}"/>
          </ac:spMkLst>
        </pc:spChg>
        <pc:spChg chg="del mod">
          <ac:chgData name="Yuly Andrea Castaneda Ramirez (CENIT)" userId="S::yuly.castaneda@cenit-transporte.com::9d6b9224-b289-47c8-b6d4-3bf138101243" providerId="AD" clId="Web-{6094EB1B-90A5-01F1-5FEC-BB9BAFCA5D04}" dt="2020-07-27T22:57:38.386" v="169"/>
          <ac:spMkLst>
            <pc:docMk/>
            <pc:sldMk cId="335391689" sldId="2134804348"/>
            <ac:spMk id="110" creationId="{CBAA75F3-5F2F-44AE-907D-A693F8DC792D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8"/>
          <ac:spMkLst>
            <pc:docMk/>
            <pc:sldMk cId="335391689" sldId="2134804348"/>
            <ac:spMk id="111" creationId="{46F74A5E-421E-4779-8B22-AE00066EF7D3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7"/>
          <ac:spMkLst>
            <pc:docMk/>
            <pc:sldMk cId="335391689" sldId="2134804348"/>
            <ac:spMk id="112" creationId="{47D8DCC7-2D64-4763-9312-231EC4563473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6"/>
          <ac:spMkLst>
            <pc:docMk/>
            <pc:sldMk cId="335391689" sldId="2134804348"/>
            <ac:spMk id="113" creationId="{3AC4B82B-6F2A-4433-9B55-C3C12FCE76A8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2"/>
          <ac:spMkLst>
            <pc:docMk/>
            <pc:sldMk cId="335391689" sldId="2134804348"/>
            <ac:spMk id="126" creationId="{1E1ADB7B-308E-43CC-8C79-4B0820F83BEF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1"/>
          <ac:spMkLst>
            <pc:docMk/>
            <pc:sldMk cId="335391689" sldId="2134804348"/>
            <ac:spMk id="127" creationId="{A0445359-C924-4A86-BF97-C50D4AFCD765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0"/>
          <ac:spMkLst>
            <pc:docMk/>
            <pc:sldMk cId="335391689" sldId="2134804348"/>
            <ac:spMk id="128" creationId="{7E10D906-A395-4C9B-821C-56A50C7C22BE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9"/>
          <ac:spMkLst>
            <pc:docMk/>
            <pc:sldMk cId="335391689" sldId="2134804348"/>
            <ac:spMk id="129" creationId="{131408C0-4A85-456F-9CC5-1B260B9B2221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8"/>
          <ac:spMkLst>
            <pc:docMk/>
            <pc:sldMk cId="335391689" sldId="2134804348"/>
            <ac:spMk id="130" creationId="{B669FD25-A263-45C2-A206-BFA95EDD685A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7"/>
          <ac:spMkLst>
            <pc:docMk/>
            <pc:sldMk cId="335391689" sldId="2134804348"/>
            <ac:spMk id="131" creationId="{A91FCDE9-0180-4C19-92EE-8D0464118CEA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6"/>
          <ac:spMkLst>
            <pc:docMk/>
            <pc:sldMk cId="335391689" sldId="2134804348"/>
            <ac:spMk id="132" creationId="{36D7DD07-92C7-465C-B6AE-35E84E223124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5"/>
          <ac:spMkLst>
            <pc:docMk/>
            <pc:sldMk cId="335391689" sldId="2134804348"/>
            <ac:spMk id="133" creationId="{3252F55B-D114-43B1-AFEE-D4D93962C217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4"/>
          <ac:spMkLst>
            <pc:docMk/>
            <pc:sldMk cId="335391689" sldId="2134804348"/>
            <ac:spMk id="134" creationId="{77082EF3-134C-4148-8172-E0C1F41E334D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3"/>
          <ac:spMkLst>
            <pc:docMk/>
            <pc:sldMk cId="335391689" sldId="2134804348"/>
            <ac:spMk id="136" creationId="{402E669C-5742-40AC-AB8A-5028355A713B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71" v="152"/>
          <ac:spMkLst>
            <pc:docMk/>
            <pc:sldMk cId="335391689" sldId="2134804348"/>
            <ac:spMk id="137" creationId="{95B4808B-BD2E-4EB3-B64A-ED60053DF02E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71" v="151"/>
          <ac:spMkLst>
            <pc:docMk/>
            <pc:sldMk cId="335391689" sldId="2134804348"/>
            <ac:spMk id="138" creationId="{A6C9C65D-A624-40D1-96F3-BDB27AB5D820}"/>
          </ac:spMkLst>
        </pc:spChg>
        <pc:grpChg chg="add">
          <ac:chgData name="Yuly Andrea Castaneda Ramirez (CENIT)" userId="S::yuly.castaneda@cenit-transporte.com::9d6b9224-b289-47c8-b6d4-3bf138101243" providerId="AD" clId="Web-{6094EB1B-90A5-01F1-5FEC-BB9BAFCA5D04}" dt="2020-07-27T22:57:40.199" v="176"/>
          <ac:grpSpMkLst>
            <pc:docMk/>
            <pc:sldMk cId="335391689" sldId="2134804348"/>
            <ac:grpSpMk id="22" creationId="{72FAFFCB-F63F-4304-AE13-F0D0DD223DDC}"/>
          </ac:grpSpMkLst>
        </pc:grpChg>
        <pc:grpChg chg="add">
          <ac:chgData name="Yuly Andrea Castaneda Ramirez (CENIT)" userId="S::yuly.castaneda@cenit-transporte.com::9d6b9224-b289-47c8-b6d4-3bf138101243" providerId="AD" clId="Web-{6094EB1B-90A5-01F1-5FEC-BB9BAFCA5D04}" dt="2020-07-27T22:57:40.246" v="177"/>
          <ac:grpSpMkLst>
            <pc:docMk/>
            <pc:sldMk cId="335391689" sldId="2134804348"/>
            <ac:grpSpMk id="23" creationId="{FB9D6B12-95DF-4BC6-8C69-5BE27394DB2C}"/>
          </ac:grpSpMkLst>
        </pc:grpChg>
        <pc:grpChg chg="add">
          <ac:chgData name="Yuly Andrea Castaneda Ramirez (CENIT)" userId="S::yuly.castaneda@cenit-transporte.com::9d6b9224-b289-47c8-b6d4-3bf138101243" providerId="AD" clId="Web-{6094EB1B-90A5-01F1-5FEC-BB9BAFCA5D04}" dt="2020-07-27T22:57:40.277" v="178"/>
          <ac:grpSpMkLst>
            <pc:docMk/>
            <pc:sldMk cId="335391689" sldId="2134804348"/>
            <ac:grpSpMk id="24" creationId="{F1FBEC39-EF79-4055-816C-BEB159C468C9}"/>
          </ac:grpSpMkLst>
        </pc:grpChg>
        <pc:grpChg chg="del">
          <ac:chgData name="Yuly Andrea Castaneda Ramirez (CENIT)" userId="S::yuly.castaneda@cenit-transporte.com::9d6b9224-b289-47c8-b6d4-3bf138101243" providerId="AD" clId="Web-{6094EB1B-90A5-01F1-5FEC-BB9BAFCA5D04}" dt="2020-07-27T22:57:38.386" v="165"/>
          <ac:grpSpMkLst>
            <pc:docMk/>
            <pc:sldMk cId="335391689" sldId="2134804348"/>
            <ac:grpSpMk id="114" creationId="{ECE1E8E1-96FE-4D0A-939A-F926322BF5C6}"/>
          </ac:grpSpMkLst>
        </pc:grpChg>
        <pc:grpChg chg="del">
          <ac:chgData name="Yuly Andrea Castaneda Ramirez (CENIT)" userId="S::yuly.castaneda@cenit-transporte.com::9d6b9224-b289-47c8-b6d4-3bf138101243" providerId="AD" clId="Web-{6094EB1B-90A5-01F1-5FEC-BB9BAFCA5D04}" dt="2020-07-27T22:57:38.386" v="164"/>
          <ac:grpSpMkLst>
            <pc:docMk/>
            <pc:sldMk cId="335391689" sldId="2134804348"/>
            <ac:grpSpMk id="120" creationId="{676EF5F2-89BE-47A7-B180-45540366C7B0}"/>
          </ac:grpSpMkLst>
        </pc:grpChg>
        <pc:grpChg chg="del">
          <ac:chgData name="Yuly Andrea Castaneda Ramirez (CENIT)" userId="S::yuly.castaneda@cenit-transporte.com::9d6b9224-b289-47c8-b6d4-3bf138101243" providerId="AD" clId="Web-{6094EB1B-90A5-01F1-5FEC-BB9BAFCA5D04}" dt="2020-07-27T22:57:38.386" v="163"/>
          <ac:grpSpMkLst>
            <pc:docMk/>
            <pc:sldMk cId="335391689" sldId="2134804348"/>
            <ac:grpSpMk id="123" creationId="{E8797763-84E8-4673-B3CC-1BF8B4B0316E}"/>
          </ac:grpSpMkLst>
        </pc:grpChg>
      </pc:sldChg>
    </pc:docChg>
  </pc:docChgLst>
  <pc:docChgLst>
    <pc:chgData name="Andrea Mogollon Nossa (CENIT)" userId="S::andrea.mogollon@cenit-transporte.com::f6a3e592-cc27-4858-b185-ff86be206069" providerId="AD" clId="Web-{B4ECD4BA-4E63-9DE1-2EB1-C99A1C16983A}"/>
    <pc:docChg chg="modSld">
      <pc:chgData name="Andrea Mogollon Nossa (CENIT)" userId="S::andrea.mogollon@cenit-transporte.com::f6a3e592-cc27-4858-b185-ff86be206069" providerId="AD" clId="Web-{B4ECD4BA-4E63-9DE1-2EB1-C99A1C16983A}" dt="2020-06-16T15:31:32.221" v="81" actId="20577"/>
      <pc:docMkLst>
        <pc:docMk/>
      </pc:docMkLst>
      <pc:sldChg chg="delSp">
        <pc:chgData name="Andrea Mogollon Nossa (CENIT)" userId="S::andrea.mogollon@cenit-transporte.com::f6a3e592-cc27-4858-b185-ff86be206069" providerId="AD" clId="Web-{B4ECD4BA-4E63-9DE1-2EB1-C99A1C16983A}" dt="2020-06-16T15:29:18.907" v="0"/>
        <pc:sldMkLst>
          <pc:docMk/>
          <pc:sldMk cId="692789810" sldId="2134804140"/>
        </pc:sldMkLst>
        <pc:spChg chg="del">
          <ac:chgData name="Andrea Mogollon Nossa (CENIT)" userId="S::andrea.mogollon@cenit-transporte.com::f6a3e592-cc27-4858-b185-ff86be206069" providerId="AD" clId="Web-{B4ECD4BA-4E63-9DE1-2EB1-C99A1C16983A}" dt="2020-06-16T15:29:18.907" v="0"/>
          <ac:spMkLst>
            <pc:docMk/>
            <pc:sldMk cId="692789810" sldId="2134804140"/>
            <ac:spMk id="4" creationId="{F1D6036A-41E0-4F3D-A5EF-2DB3D43D4BE6}"/>
          </ac:spMkLst>
        </pc:spChg>
      </pc:sldChg>
      <pc:sldChg chg="modSp">
        <pc:chgData name="Andrea Mogollon Nossa (CENIT)" userId="S::andrea.mogollon@cenit-transporte.com::f6a3e592-cc27-4858-b185-ff86be206069" providerId="AD" clId="Web-{B4ECD4BA-4E63-9DE1-2EB1-C99A1C16983A}" dt="2020-06-16T15:31:31.612" v="79" actId="20577"/>
        <pc:sldMkLst>
          <pc:docMk/>
          <pc:sldMk cId="1753765174" sldId="2134804296"/>
        </pc:sldMkLst>
        <pc:spChg chg="mod">
          <ac:chgData name="Andrea Mogollon Nossa (CENIT)" userId="S::andrea.mogollon@cenit-transporte.com::f6a3e592-cc27-4858-b185-ff86be206069" providerId="AD" clId="Web-{B4ECD4BA-4E63-9DE1-2EB1-C99A1C16983A}" dt="2020-06-16T15:31:31.612" v="79" actId="20577"/>
          <ac:spMkLst>
            <pc:docMk/>
            <pc:sldMk cId="1753765174" sldId="2134804296"/>
            <ac:spMk id="18" creationId="{3E32D7EF-4106-4A2F-AC29-5FC50317D487}"/>
          </ac:spMkLst>
        </pc:spChg>
      </pc:sldChg>
    </pc:docChg>
  </pc:docChgLst>
  <pc:docChgLst>
    <pc:chgData name="Andrea Mogollon Nossa (CENIT)" userId="S::andrea.mogollon@cenit-transporte.com::f6a3e592-cc27-4858-b185-ff86be206069" providerId="AD" clId="Web-{C0B59892-5DDA-2D6E-F890-246FEF135F72}"/>
    <pc:docChg chg="addSld delSld modSld">
      <pc:chgData name="Andrea Mogollon Nossa (CENIT)" userId="S::andrea.mogollon@cenit-transporte.com::f6a3e592-cc27-4858-b185-ff86be206069" providerId="AD" clId="Web-{C0B59892-5DDA-2D6E-F890-246FEF135F72}" dt="2020-07-30T16:00:18.941" v="12"/>
      <pc:docMkLst>
        <pc:docMk/>
      </pc:docMkLst>
      <pc:sldChg chg="del">
        <pc:chgData name="Andrea Mogollon Nossa (CENIT)" userId="S::andrea.mogollon@cenit-transporte.com::f6a3e592-cc27-4858-b185-ff86be206069" providerId="AD" clId="Web-{C0B59892-5DDA-2D6E-F890-246FEF135F72}" dt="2020-07-30T15:59:08.154" v="2"/>
        <pc:sldMkLst>
          <pc:docMk/>
          <pc:sldMk cId="2985823996" sldId="1013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09.935" v="4"/>
        <pc:sldMkLst>
          <pc:docMk/>
          <pc:sldMk cId="1366824925" sldId="2134804227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10.998" v="5"/>
        <pc:sldMkLst>
          <pc:docMk/>
          <pc:sldMk cId="3813439113" sldId="2134804231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12.873" v="6"/>
        <pc:sldMkLst>
          <pc:docMk/>
          <pc:sldMk cId="3905861625" sldId="2134804233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09.295" v="3"/>
        <pc:sldMkLst>
          <pc:docMk/>
          <pc:sldMk cId="1092498720" sldId="2134804234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07.794" v="1"/>
        <pc:sldMkLst>
          <pc:docMk/>
          <pc:sldMk cId="4219972769" sldId="2134804235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12.936" v="7"/>
        <pc:sldMkLst>
          <pc:docMk/>
          <pc:sldMk cId="1480181934" sldId="2134804298"/>
        </pc:sldMkLst>
      </pc:sldChg>
      <pc:sldChg chg="addSp delSp modSp">
        <pc:chgData name="Andrea Mogollon Nossa (CENIT)" userId="S::andrea.mogollon@cenit-transporte.com::f6a3e592-cc27-4858-b185-ff86be206069" providerId="AD" clId="Web-{C0B59892-5DDA-2D6E-F890-246FEF135F72}" dt="2020-07-30T16:00:18.941" v="12"/>
        <pc:sldMkLst>
          <pc:docMk/>
          <pc:sldMk cId="0" sldId="2134804320"/>
        </pc:sldMkLst>
        <pc:picChg chg="add del mod">
          <ac:chgData name="Andrea Mogollon Nossa (CENIT)" userId="S::andrea.mogollon@cenit-transporte.com::f6a3e592-cc27-4858-b185-ff86be206069" providerId="AD" clId="Web-{C0B59892-5DDA-2D6E-F890-246FEF135F72}" dt="2020-07-30T15:59:45.516" v="9"/>
          <ac:picMkLst>
            <pc:docMk/>
            <pc:sldMk cId="0" sldId="2134804320"/>
            <ac:picMk id="7" creationId="{05C84DA0-65C9-4653-A50C-C25A579C4335}"/>
          </ac:picMkLst>
        </pc:picChg>
        <pc:picChg chg="add del mod">
          <ac:chgData name="Andrea Mogollon Nossa (CENIT)" userId="S::andrea.mogollon@cenit-transporte.com::f6a3e592-cc27-4858-b185-ff86be206069" providerId="AD" clId="Web-{C0B59892-5DDA-2D6E-F890-246FEF135F72}" dt="2020-07-30T16:00:18.941" v="12"/>
          <ac:picMkLst>
            <pc:docMk/>
            <pc:sldMk cId="0" sldId="2134804320"/>
            <ac:picMk id="8" creationId="{5693D538-4EFD-4FF8-8B7C-A77020BD1278}"/>
          </ac:picMkLst>
        </pc:picChg>
      </pc:sldChg>
      <pc:sldChg chg="new">
        <pc:chgData name="Andrea Mogollon Nossa (CENIT)" userId="S::andrea.mogollon@cenit-transporte.com::f6a3e592-cc27-4858-b185-ff86be206069" providerId="AD" clId="Web-{C0B59892-5DDA-2D6E-F890-246FEF135F72}" dt="2020-07-30T16:00:06.800" v="10"/>
        <pc:sldMkLst>
          <pc:docMk/>
          <pc:sldMk cId="1052642434" sldId="2134804352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05.716" v="0"/>
        <pc:sldMkLst>
          <pc:docMk/>
          <pc:sldMk cId="4127320320" sldId="2134804352"/>
        </pc:sldMkLst>
      </pc:sldChg>
    </pc:docChg>
  </pc:docChgLst>
  <pc:docChgLst>
    <pc:chgData name="Yuly Andrea Castaneda Ramirez" userId="9d6b9224-b289-47c8-b6d4-3bf138101243" providerId="ADAL" clId="{84B1D3F8-5115-4260-9009-9A4CA94A61D8}"/>
    <pc:docChg chg="sldOrd">
      <pc:chgData name="Yuly Andrea Castaneda Ramirez" userId="9d6b9224-b289-47c8-b6d4-3bf138101243" providerId="ADAL" clId="{84B1D3F8-5115-4260-9009-9A4CA94A61D8}" dt="2020-10-14T14:45:42.416" v="0" actId="20578"/>
      <pc:docMkLst>
        <pc:docMk/>
      </pc:docMkLst>
      <pc:sldChg chg="ord">
        <pc:chgData name="Yuly Andrea Castaneda Ramirez" userId="9d6b9224-b289-47c8-b6d4-3bf138101243" providerId="ADAL" clId="{84B1D3F8-5115-4260-9009-9A4CA94A61D8}" dt="2020-10-14T14:45:42.416" v="0" actId="20578"/>
        <pc:sldMkLst>
          <pc:docMk/>
          <pc:sldMk cId="2695251238" sldId="2134803693"/>
        </pc:sldMkLst>
      </pc:sldChg>
    </pc:docChg>
  </pc:docChgLst>
  <pc:docChgLst>
    <pc:chgData name="Usuario invitado" userId="S::urn:spo:anon#ef30890cd3063e1632fa7c5913d7b57600e39ccb056aedca277405e94abf2825::" providerId="AD" clId="Web-{60FD4AAA-184C-125D-6A4F-F87E8379A751}"/>
    <pc:docChg chg="modSld">
      <pc:chgData name="Usuario invitado" userId="S::urn:spo:anon#ef30890cd3063e1632fa7c5913d7b57600e39ccb056aedca277405e94abf2825::" providerId="AD" clId="Web-{60FD4AAA-184C-125D-6A4F-F87E8379A751}" dt="2020-06-26T00:27:39.344" v="79" actId="1076"/>
      <pc:docMkLst>
        <pc:docMk/>
      </pc:docMkLst>
      <pc:sldChg chg="delSp modSp">
        <pc:chgData name="Usuario invitado" userId="S::urn:spo:anon#ef30890cd3063e1632fa7c5913d7b57600e39ccb056aedca277405e94abf2825::" providerId="AD" clId="Web-{60FD4AAA-184C-125D-6A4F-F87E8379A751}" dt="2020-06-26T00:27:39.344" v="79" actId="1076"/>
        <pc:sldMkLst>
          <pc:docMk/>
          <pc:sldMk cId="838099151" sldId="2134804292"/>
        </pc:sldMkLst>
        <pc:spChg chg="mod">
          <ac:chgData name="Usuario invitado" userId="S::urn:spo:anon#ef30890cd3063e1632fa7c5913d7b57600e39ccb056aedca277405e94abf2825::" providerId="AD" clId="Web-{60FD4AAA-184C-125D-6A4F-F87E8379A751}" dt="2020-06-26T00:26:37.528" v="67" actId="20577"/>
          <ac:spMkLst>
            <pc:docMk/>
            <pc:sldMk cId="838099151" sldId="2134804292"/>
            <ac:spMk id="9" creationId="{6F922DD3-801F-4B3D-9B4D-DBEC1EC37D57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7:03.139" v="76" actId="20577"/>
          <ac:spMkLst>
            <pc:docMk/>
            <pc:sldMk cId="838099151" sldId="2134804292"/>
            <ac:spMk id="44" creationId="{E239B605-6964-49EB-B22A-9FCE640E48BE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05.649" v="21" actId="1076"/>
          <ac:spMkLst>
            <pc:docMk/>
            <pc:sldMk cId="838099151" sldId="2134804292"/>
            <ac:spMk id="45" creationId="{FE8ED9F7-3608-4810-95FA-CCA357FF8DD5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3:28.735" v="48" actId="20577"/>
          <ac:spMkLst>
            <pc:docMk/>
            <pc:sldMk cId="838099151" sldId="2134804292"/>
            <ac:spMk id="50" creationId="{5AEE6479-611C-4B25-9D86-68C74F4E6840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6:29.590" v="64" actId="1076"/>
          <ac:spMkLst>
            <pc:docMk/>
            <pc:sldMk cId="838099151" sldId="2134804292"/>
            <ac:spMk id="56" creationId="{4F0BB8E1-0E03-4A52-9BB1-7AC2ED86FFBE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6:45.372" v="69" actId="20577"/>
          <ac:spMkLst>
            <pc:docMk/>
            <pc:sldMk cId="838099151" sldId="2134804292"/>
            <ac:spMk id="60" creationId="{E78B2A6C-DEF5-4176-9EC8-F1C34E8F7D53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05.711" v="22" actId="1076"/>
          <ac:spMkLst>
            <pc:docMk/>
            <pc:sldMk cId="838099151" sldId="2134804292"/>
            <ac:spMk id="73" creationId="{504BE693-A6BF-4CAB-971A-BC7D1287E952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2:06.731" v="40" actId="1076"/>
          <ac:spMkLst>
            <pc:docMk/>
            <pc:sldMk cId="838099151" sldId="2134804292"/>
            <ac:spMk id="77" creationId="{FE57AFEB-C555-4E4A-8CCA-35D95283E0B0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31.135" v="26" actId="1076"/>
          <ac:spMkLst>
            <pc:docMk/>
            <pc:sldMk cId="838099151" sldId="2134804292"/>
            <ac:spMk id="82" creationId="{9F1674CE-F25C-4C2A-AA04-EC08592CA6BF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7:39.281" v="78" actId="1076"/>
          <ac:spMkLst>
            <pc:docMk/>
            <pc:sldMk cId="838099151" sldId="2134804292"/>
            <ac:spMk id="96" creationId="{7B02AB4C-AF68-4F54-A894-07E00267D5F8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0:56.508" v="16" actId="1076"/>
          <ac:spMkLst>
            <pc:docMk/>
            <pc:sldMk cId="838099151" sldId="2134804292"/>
            <ac:spMk id="98" creationId="{E063C35E-5F1D-47CE-B7FD-7A60EAA52B74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31.244" v="28" actId="1076"/>
          <ac:spMkLst>
            <pc:docMk/>
            <pc:sldMk cId="838099151" sldId="2134804292"/>
            <ac:spMk id="99" creationId="{90CC82AC-D82E-4F89-AC67-093894759099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2:06.606" v="38" actId="1076"/>
          <ac:spMkLst>
            <pc:docMk/>
            <pc:sldMk cId="838099151" sldId="2134804292"/>
            <ac:spMk id="100" creationId="{1835F856-5B59-4AFF-86DE-2F0968B76CF7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620" v="29" actId="1076"/>
          <ac:spMkLst>
            <pc:docMk/>
            <pc:sldMk cId="838099151" sldId="2134804292"/>
            <ac:spMk id="101" creationId="{50D1281F-8266-4D64-9227-2DC0FCFC26CB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2:06.778" v="41" actId="1076"/>
          <ac:spMkLst>
            <pc:docMk/>
            <pc:sldMk cId="838099151" sldId="2134804292"/>
            <ac:spMk id="104" creationId="{0326A105-08B6-409E-9596-07BD7645DEAE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667" v="30" actId="1076"/>
          <ac:spMkLst>
            <pc:docMk/>
            <pc:sldMk cId="838099151" sldId="2134804292"/>
            <ac:spMk id="108" creationId="{E7417F2C-4445-4433-AA31-1B1D9A1C89B3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730" v="31" actId="1076"/>
          <ac:spMkLst>
            <pc:docMk/>
            <pc:sldMk cId="838099151" sldId="2134804292"/>
            <ac:spMk id="109" creationId="{71C13042-3BAB-49AE-B302-BF1FC184D1C0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776" v="32" actId="1076"/>
          <ac:spMkLst>
            <pc:docMk/>
            <pc:sldMk cId="838099151" sldId="2134804292"/>
            <ac:spMk id="110" creationId="{016FFF86-9DDE-4B71-B999-66D87A5DF4D8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839" v="33" actId="1076"/>
          <ac:spMkLst>
            <pc:docMk/>
            <pc:sldMk cId="838099151" sldId="2134804292"/>
            <ac:spMk id="111" creationId="{6C1EF8A6-0FB5-47E0-9CD3-2DB37B170394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886" v="34" actId="1076"/>
          <ac:spMkLst>
            <pc:docMk/>
            <pc:sldMk cId="838099151" sldId="2134804292"/>
            <ac:spMk id="112" creationId="{F172C649-196A-458A-9FD2-06A9617C5DA1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53.886" v="37" actId="1076"/>
          <ac:spMkLst>
            <pc:docMk/>
            <pc:sldMk cId="838099151" sldId="2134804292"/>
            <ac:spMk id="113" creationId="{22C84C52-FFF2-4B1D-A23E-B10150D390CA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948" v="35" actId="1076"/>
          <ac:spMkLst>
            <pc:docMk/>
            <pc:sldMk cId="838099151" sldId="2134804292"/>
            <ac:spMk id="114" creationId="{AE25D562-47A5-4429-8752-D107F6B610B2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0:56.445" v="15" actId="1076"/>
          <ac:spMkLst>
            <pc:docMk/>
            <pc:sldMk cId="838099151" sldId="2134804292"/>
            <ac:spMk id="115" creationId="{A59199E4-369E-4696-83DF-966F47A0CEA9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05.758" v="23" actId="1076"/>
          <ac:spMkLst>
            <pc:docMk/>
            <pc:sldMk cId="838099151" sldId="2134804292"/>
            <ac:spMk id="117" creationId="{814287F0-FD88-4F23-8E9B-B8E6D32189B3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0:56.633" v="18" actId="1076"/>
          <ac:spMkLst>
            <pc:docMk/>
            <pc:sldMk cId="838099151" sldId="2134804292"/>
            <ac:spMk id="118" creationId="{64EFC33F-DCB8-4E12-BB79-FF971CD49817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7:39.344" v="79" actId="1076"/>
          <ac:spMkLst>
            <pc:docMk/>
            <pc:sldMk cId="838099151" sldId="2134804292"/>
            <ac:spMk id="119" creationId="{40F388FF-A98F-46DD-AEF0-8BF6E1D359D0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0:56.695" v="19" actId="1076"/>
          <ac:spMkLst>
            <pc:docMk/>
            <pc:sldMk cId="838099151" sldId="2134804292"/>
            <ac:spMk id="120" creationId="{C7385631-F46B-4467-A200-320CE070B85F}"/>
          </ac:spMkLst>
        </pc:spChg>
        <pc:spChg chg="del">
          <ac:chgData name="Usuario invitado" userId="S::urn:spo:anon#ef30890cd3063e1632fa7c5913d7b57600e39ccb056aedca277405e94abf2825::" providerId="AD" clId="Web-{60FD4AAA-184C-125D-6A4F-F87E8379A751}" dt="2020-06-26T00:18:43.844" v="0"/>
          <ac:spMkLst>
            <pc:docMk/>
            <pc:sldMk cId="838099151" sldId="2134804292"/>
            <ac:spMk id="124" creationId="{469E1CBD-D055-4DF7-8849-6D6B97B58CA6}"/>
          </ac:spMkLst>
        </pc:spChg>
        <pc:spChg chg="del">
          <ac:chgData name="Usuario invitado" userId="S::urn:spo:anon#ef30890cd3063e1632fa7c5913d7b57600e39ccb056aedca277405e94abf2825::" providerId="AD" clId="Web-{60FD4AAA-184C-125D-6A4F-F87E8379A751}" dt="2020-06-26T00:19:25.831" v="3"/>
          <ac:spMkLst>
            <pc:docMk/>
            <pc:sldMk cId="838099151" sldId="2134804292"/>
            <ac:spMk id="132" creationId="{10805ED7-B6A2-44FC-9278-C06AE813E172}"/>
          </ac:spMkLst>
        </pc:spChg>
        <pc:spChg chg="del">
          <ac:chgData name="Usuario invitado" userId="S::urn:spo:anon#ef30890cd3063e1632fa7c5913d7b57600e39ccb056aedca277405e94abf2825::" providerId="AD" clId="Web-{60FD4AAA-184C-125D-6A4F-F87E8379A751}" dt="2020-06-26T00:18:51.204" v="1"/>
          <ac:spMkLst>
            <pc:docMk/>
            <pc:sldMk cId="838099151" sldId="2134804292"/>
            <ac:spMk id="133" creationId="{26F8700F-BA62-4BDC-93D4-1CE85427A5F4}"/>
          </ac:spMkLst>
        </pc:spChg>
        <pc:spChg chg="del">
          <ac:chgData name="Usuario invitado" userId="S::urn:spo:anon#ef30890cd3063e1632fa7c5913d7b57600e39ccb056aedca277405e94abf2825::" providerId="AD" clId="Web-{60FD4AAA-184C-125D-6A4F-F87E8379A751}" dt="2020-06-26T00:19:22.815" v="2"/>
          <ac:spMkLst>
            <pc:docMk/>
            <pc:sldMk cId="838099151" sldId="2134804292"/>
            <ac:spMk id="134" creationId="{CE3B8BB4-2BB8-4948-B3D0-C683B7559C56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2:06.668" v="39" actId="1076"/>
          <ac:spMkLst>
            <pc:docMk/>
            <pc:sldMk cId="838099151" sldId="2134804292"/>
            <ac:spMk id="142" creationId="{9660C67C-C249-4C29-87B1-2E22B67DE74F}"/>
          </ac:spMkLst>
        </pc:spChg>
      </pc:sldChg>
    </pc:docChg>
  </pc:docChgLst>
  <pc:docChgLst>
    <pc:chgData name="Andrea Mogollon Nossa (CENIT)" userId="f6a3e592-cc27-4858-b185-ff86be206069" providerId="ADAL" clId="{3C8E150F-F68C-4D5E-9C1A-E8DFC63A437B}"/>
    <pc:docChg chg="custSel delSld modSld">
      <pc:chgData name="Andrea Mogollon Nossa (CENIT)" userId="f6a3e592-cc27-4858-b185-ff86be206069" providerId="ADAL" clId="{3C8E150F-F68C-4D5E-9C1A-E8DFC63A437B}" dt="2020-07-30T16:37:21.813" v="247"/>
      <pc:docMkLst>
        <pc:docMk/>
      </pc:docMkLst>
      <pc:sldChg chg="modSp mod">
        <pc:chgData name="Andrea Mogollon Nossa (CENIT)" userId="f6a3e592-cc27-4858-b185-ff86be206069" providerId="ADAL" clId="{3C8E150F-F68C-4D5E-9C1A-E8DFC63A437B}" dt="2020-07-30T15:59:26.084" v="89" actId="20577"/>
        <pc:sldMkLst>
          <pc:docMk/>
          <pc:sldMk cId="692789810" sldId="2134804140"/>
        </pc:sldMkLst>
        <pc:spChg chg="mod">
          <ac:chgData name="Andrea Mogollon Nossa (CENIT)" userId="f6a3e592-cc27-4858-b185-ff86be206069" providerId="ADAL" clId="{3C8E150F-F68C-4D5E-9C1A-E8DFC63A437B}" dt="2020-07-30T15:59:26.084" v="89" actId="20577"/>
          <ac:spMkLst>
            <pc:docMk/>
            <pc:sldMk cId="692789810" sldId="2134804140"/>
            <ac:spMk id="2" creationId="{6431BBCF-96E5-45A7-B7E5-D44090D06329}"/>
          </ac:spMkLst>
        </pc:spChg>
      </pc:sldChg>
      <pc:sldChg chg="addSp delSp modSp mod">
        <pc:chgData name="Andrea Mogollon Nossa (CENIT)" userId="f6a3e592-cc27-4858-b185-ff86be206069" providerId="ADAL" clId="{3C8E150F-F68C-4D5E-9C1A-E8DFC63A437B}" dt="2020-07-30T16:37:21.813" v="247"/>
        <pc:sldMkLst>
          <pc:docMk/>
          <pc:sldMk cId="1108072925" sldId="2134804343"/>
        </pc:sldMkLst>
        <pc:spChg chg="add 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68" creationId="{01307FB6-D32F-4C29-93C4-AF5A6822BEE6}"/>
          </ac:spMkLst>
        </pc:spChg>
        <pc:spChg chg="add 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69" creationId="{88B127F6-0C7D-4DA3-92C5-BCE40D1560F3}"/>
          </ac:spMkLst>
        </pc:spChg>
        <pc:spChg chg="add 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0" creationId="{81BCDF65-EFB4-429D-8204-3B1536D02C29}"/>
          </ac:spMkLst>
        </pc:spChg>
        <pc:spChg chg="add 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1" creationId="{8EE61ED3-8267-4BA3-AE22-C5DDA88AA5A3}"/>
          </ac:spMkLst>
        </pc:spChg>
        <pc:spChg chg="add 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2" creationId="{794A777C-418B-4AE7-811A-0CE1A75E5B26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4" creationId="{BA78FD5B-CFC2-477D-B40D-457CF3057D0F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5" creationId="{E4B848E3-A652-4B41-A643-B94E3534B303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7" creationId="{4FDE5327-827E-451F-9869-21060179A0EB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8" creationId="{AE6D7828-5742-4186-9E5D-571C559912F9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0" creationId="{2497589B-8FE0-4CEA-B6A8-81EF137F1C72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1" creationId="{233B2F79-A17D-4E44-BB03-A8D05AD4D4A1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3" creationId="{7D83CA25-7A00-41EE-A4E2-5E2D3879D385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4" creationId="{12D80E9F-932A-4E89-A56E-7BA44430863F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6" creationId="{571966E4-6AE3-4C33-9970-A9BE12766395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7" creationId="{C8446C14-0F15-4879-B42A-9C8E4F342704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9" creationId="{FC5116FE-6429-4FB7-AD42-767A8F94E162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0" creationId="{9C006655-E0D0-4225-BE73-163B7CBC3048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2" creationId="{5E22A5AC-54E9-411D-9312-B56572D7B760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3" creationId="{FD23C20A-7F61-45AF-9FFD-15C463EF3A7E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5" creationId="{346854B7-E137-4B4E-9CEC-DB909089BE7C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6" creationId="{82E3C2E5-F5FE-4380-9798-31FB29A354FE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8" creationId="{DD51013A-11E2-4D4A-A1DF-6F9F38D3C0EB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9" creationId="{30F9564E-2D04-4B72-A0FB-362428F3912C}"/>
          </ac:spMkLst>
        </pc:spChg>
        <pc:spChg chg="mod">
          <ac:chgData name="Andrea Mogollon Nossa (CENIT)" userId="f6a3e592-cc27-4858-b185-ff86be206069" providerId="ADAL" clId="{3C8E150F-F68C-4D5E-9C1A-E8DFC63A437B}" dt="2020-07-30T16:33:23.670" v="196" actId="20577"/>
          <ac:spMkLst>
            <pc:docMk/>
            <pc:sldMk cId="1108072925" sldId="2134804343"/>
            <ac:spMk id="114" creationId="{34834366-0759-4E89-9A3A-288B6DA6C8C5}"/>
          </ac:spMkLst>
        </pc:spChg>
        <pc:spChg chg="mod">
          <ac:chgData name="Andrea Mogollon Nossa (CENIT)" userId="f6a3e592-cc27-4858-b185-ff86be206069" providerId="ADAL" clId="{3C8E150F-F68C-4D5E-9C1A-E8DFC63A437B}" dt="2020-07-30T16:33:26.162" v="198" actId="20577"/>
          <ac:spMkLst>
            <pc:docMk/>
            <pc:sldMk cId="1108072925" sldId="2134804343"/>
            <ac:spMk id="117" creationId="{7F6BC1DB-4E40-4A47-850A-79B462E1AE26}"/>
          </ac:spMkLst>
        </pc:spChg>
        <pc:spChg chg="mod">
          <ac:chgData name="Andrea Mogollon Nossa (CENIT)" userId="f6a3e592-cc27-4858-b185-ff86be206069" providerId="ADAL" clId="{3C8E150F-F68C-4D5E-9C1A-E8DFC63A437B}" dt="2020-07-30T16:33:28.515" v="200" actId="20577"/>
          <ac:spMkLst>
            <pc:docMk/>
            <pc:sldMk cId="1108072925" sldId="2134804343"/>
            <ac:spMk id="120" creationId="{E73BF53D-5C4E-4100-BC6B-1DFC8B8FC737}"/>
          </ac:spMkLst>
        </pc:spChg>
        <pc:spChg chg="mod">
          <ac:chgData name="Andrea Mogollon Nossa (CENIT)" userId="f6a3e592-cc27-4858-b185-ff86be206069" providerId="ADAL" clId="{3C8E150F-F68C-4D5E-9C1A-E8DFC63A437B}" dt="2020-07-30T16:33:30.707" v="202" actId="20577"/>
          <ac:spMkLst>
            <pc:docMk/>
            <pc:sldMk cId="1108072925" sldId="2134804343"/>
            <ac:spMk id="123" creationId="{AF32E794-4F50-4939-826B-17544165148C}"/>
          </ac:spMkLst>
        </pc:spChg>
        <pc:spChg chg="mod">
          <ac:chgData name="Andrea Mogollon Nossa (CENIT)" userId="f6a3e592-cc27-4858-b185-ff86be206069" providerId="ADAL" clId="{3C8E150F-F68C-4D5E-9C1A-E8DFC63A437B}" dt="2020-07-30T16:33:32.935" v="204" actId="20577"/>
          <ac:spMkLst>
            <pc:docMk/>
            <pc:sldMk cId="1108072925" sldId="2134804343"/>
            <ac:spMk id="126" creationId="{8F1ADAC7-4725-4A8E-8E01-07F422E0CE8D}"/>
          </ac:spMkLst>
        </pc:spChg>
        <pc:spChg chg="mod">
          <ac:chgData name="Andrea Mogollon Nossa (CENIT)" userId="f6a3e592-cc27-4858-b185-ff86be206069" providerId="ADAL" clId="{3C8E150F-F68C-4D5E-9C1A-E8DFC63A437B}" dt="2020-07-30T16:33:36.755" v="206" actId="20577"/>
          <ac:spMkLst>
            <pc:docMk/>
            <pc:sldMk cId="1108072925" sldId="2134804343"/>
            <ac:spMk id="129" creationId="{547FDFA9-DFAE-49C9-8DB6-12CF8AF865B2}"/>
          </ac:spMkLst>
        </pc:spChg>
        <pc:spChg chg="mod">
          <ac:chgData name="Andrea Mogollon Nossa (CENIT)" userId="f6a3e592-cc27-4858-b185-ff86be206069" providerId="ADAL" clId="{3C8E150F-F68C-4D5E-9C1A-E8DFC63A437B}" dt="2020-07-30T16:33:21.313" v="194" actId="20577"/>
          <ac:spMkLst>
            <pc:docMk/>
            <pc:sldMk cId="1108072925" sldId="2134804343"/>
            <ac:spMk id="134" creationId="{9DA84409-E78D-4C09-BD7D-3213865A7325}"/>
          </ac:spMkLst>
        </pc:spChg>
        <pc:spChg chg="del">
          <ac:chgData name="Andrea Mogollon Nossa (CENIT)" userId="f6a3e592-cc27-4858-b185-ff86be206069" providerId="ADAL" clId="{3C8E150F-F68C-4D5E-9C1A-E8DFC63A437B}" dt="2020-07-30T16:37:20.852" v="246" actId="478"/>
          <ac:spMkLst>
            <pc:docMk/>
            <pc:sldMk cId="1108072925" sldId="2134804343"/>
            <ac:spMk id="135" creationId="{5B87A7D7-77D6-4944-AB47-116D5E89008C}"/>
          </ac:spMkLst>
        </pc:spChg>
        <pc:spChg chg="del">
          <ac:chgData name="Andrea Mogollon Nossa (CENIT)" userId="f6a3e592-cc27-4858-b185-ff86be206069" providerId="ADAL" clId="{3C8E150F-F68C-4D5E-9C1A-E8DFC63A437B}" dt="2020-07-30T16:37:20.852" v="246" actId="478"/>
          <ac:spMkLst>
            <pc:docMk/>
            <pc:sldMk cId="1108072925" sldId="2134804343"/>
            <ac:spMk id="136" creationId="{13F74801-AB82-4189-BC8F-0348CA5227F6}"/>
          </ac:spMkLst>
        </pc:spChg>
        <pc:spChg chg="del">
          <ac:chgData name="Andrea Mogollon Nossa (CENIT)" userId="f6a3e592-cc27-4858-b185-ff86be206069" providerId="ADAL" clId="{3C8E150F-F68C-4D5E-9C1A-E8DFC63A437B}" dt="2020-07-30T16:37:20.852" v="246" actId="478"/>
          <ac:spMkLst>
            <pc:docMk/>
            <pc:sldMk cId="1108072925" sldId="2134804343"/>
            <ac:spMk id="137" creationId="{3AE04B40-815A-413B-B670-12356A19D580}"/>
          </ac:spMkLst>
        </pc:spChg>
        <pc:spChg chg="del">
          <ac:chgData name="Andrea Mogollon Nossa (CENIT)" userId="f6a3e592-cc27-4858-b185-ff86be206069" providerId="ADAL" clId="{3C8E150F-F68C-4D5E-9C1A-E8DFC63A437B}" dt="2020-07-30T16:37:20.852" v="246" actId="478"/>
          <ac:spMkLst>
            <pc:docMk/>
            <pc:sldMk cId="1108072925" sldId="2134804343"/>
            <ac:spMk id="138" creationId="{12D8E2D4-5693-4CB4-AE12-D13C5339BC69}"/>
          </ac:spMkLst>
        </pc:spChg>
        <pc:spChg chg="del">
          <ac:chgData name="Andrea Mogollon Nossa (CENIT)" userId="f6a3e592-cc27-4858-b185-ff86be206069" providerId="ADAL" clId="{3C8E150F-F68C-4D5E-9C1A-E8DFC63A437B}" dt="2020-07-30T16:37:20.852" v="246" actId="478"/>
          <ac:spMkLst>
            <pc:docMk/>
            <pc:sldMk cId="1108072925" sldId="2134804343"/>
            <ac:spMk id="139" creationId="{8DCDDA4D-0FF0-4E24-A6D0-41A5291E7F77}"/>
          </ac:spMkLst>
        </pc:s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73" creationId="{3C80229C-DD94-449D-98D7-D85933B70CCF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76" creationId="{9A12296C-CFC3-4B82-8989-90A52C2FABE9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79" creationId="{DC69A642-3121-446D-B95B-34BF0E99883D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82" creationId="{DD5CD14C-18F6-4BB4-B762-D0B36FBE5186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85" creationId="{1239A624-BB5E-4C04-95EF-0A8A2850F037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88" creationId="{12666C49-651A-4FB8-889B-ACB0355133E7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91" creationId="{3AE9D546-71B7-43F9-BBFE-A8333D264BF9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94" creationId="{6708EF79-9F4E-405F-83A6-D91900211E11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97" creationId="{524C6883-843F-4734-9D1C-20A6588B8126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40" creationId="{89A29AE7-7F6C-4890-9B88-06A3EC85355F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43" creationId="{5AD05D54-864C-480F-B3BE-8EDE665F45C1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46" creationId="{A770A3D7-E6A7-47E9-ABA9-593F59AC6696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49" creationId="{9D223151-F879-4232-A05F-7E3EB49AD541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52" creationId="{24001A25-A388-439B-8076-320B9AA91D13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55" creationId="{178061AA-E9DE-4A6D-B70F-AE54A2672D81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64" creationId="{8B37E1FD-7126-44DA-952C-66C1412536A2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67" creationId="{20C5926F-D7AF-40E1-8377-6A9B462E8907}"/>
          </ac:grpSpMkLst>
        </pc:grpChg>
      </pc:sldChg>
      <pc:sldChg chg="addSp delSp modSp mod">
        <pc:chgData name="Andrea Mogollon Nossa (CENIT)" userId="f6a3e592-cc27-4858-b185-ff86be206069" providerId="ADAL" clId="{3C8E150F-F68C-4D5E-9C1A-E8DFC63A437B}" dt="2020-07-30T16:37:04.582" v="245" actId="1076"/>
        <pc:sldMkLst>
          <pc:docMk/>
          <pc:sldMk cId="1734415321" sldId="2134804344"/>
        </pc:sldMkLst>
        <pc:spChg chg="mod">
          <ac:chgData name="Andrea Mogollon Nossa (CENIT)" userId="f6a3e592-cc27-4858-b185-ff86be206069" providerId="ADAL" clId="{3C8E150F-F68C-4D5E-9C1A-E8DFC63A437B}" dt="2020-07-30T16:28:31.134" v="117" actId="1076"/>
          <ac:spMkLst>
            <pc:docMk/>
            <pc:sldMk cId="1734415321" sldId="2134804344"/>
            <ac:spMk id="3" creationId="{815B10B7-60B3-4C63-8431-70CC556387C9}"/>
          </ac:spMkLst>
        </pc:spChg>
        <pc:spChg chg="mod">
          <ac:chgData name="Andrea Mogollon Nossa (CENIT)" userId="f6a3e592-cc27-4858-b185-ff86be206069" providerId="ADAL" clId="{3C8E150F-F68C-4D5E-9C1A-E8DFC63A437B}" dt="2020-07-30T16:27:49.998" v="112" actId="1076"/>
          <ac:spMkLst>
            <pc:docMk/>
            <pc:sldMk cId="1734415321" sldId="2134804344"/>
            <ac:spMk id="11" creationId="{772CA61D-742C-45F0-BAFA-0F3B90176E98}"/>
          </ac:spMkLst>
        </pc:spChg>
        <pc:spChg chg="mod">
          <ac:chgData name="Andrea Mogollon Nossa (CENIT)" userId="f6a3e592-cc27-4858-b185-ff86be206069" providerId="ADAL" clId="{3C8E150F-F68C-4D5E-9C1A-E8DFC63A437B}" dt="2020-07-30T16:27:49.998" v="112" actId="1076"/>
          <ac:spMkLst>
            <pc:docMk/>
            <pc:sldMk cId="1734415321" sldId="2134804344"/>
            <ac:spMk id="12" creationId="{7F3CEC4C-7588-4B74-823D-9CF22E2DAD79}"/>
          </ac:spMkLst>
        </pc:spChg>
        <pc:spChg chg="mod">
          <ac:chgData name="Andrea Mogollon Nossa (CENIT)" userId="f6a3e592-cc27-4858-b185-ff86be206069" providerId="ADAL" clId="{3C8E150F-F68C-4D5E-9C1A-E8DFC63A437B}" dt="2020-07-30T16:32:33.150" v="188" actId="1076"/>
          <ac:spMkLst>
            <pc:docMk/>
            <pc:sldMk cId="1734415321" sldId="2134804344"/>
            <ac:spMk id="22" creationId="{53E538FE-3283-40FB-A5F0-3E57246B6EFA}"/>
          </ac:spMkLst>
        </pc:spChg>
        <pc:spChg chg="mod">
          <ac:chgData name="Andrea Mogollon Nossa (CENIT)" userId="f6a3e592-cc27-4858-b185-ff86be206069" providerId="ADAL" clId="{3C8E150F-F68C-4D5E-9C1A-E8DFC63A437B}" dt="2020-07-30T16:27:49.998" v="112" actId="1076"/>
          <ac:spMkLst>
            <pc:docMk/>
            <pc:sldMk cId="1734415321" sldId="2134804344"/>
            <ac:spMk id="29" creationId="{46F67329-EAA2-4B09-AD5B-91FE70391A81}"/>
          </ac:spMkLst>
        </pc:spChg>
        <pc:spChg chg="mod">
          <ac:chgData name="Andrea Mogollon Nossa (CENIT)" userId="f6a3e592-cc27-4858-b185-ff86be206069" providerId="ADAL" clId="{3C8E150F-F68C-4D5E-9C1A-E8DFC63A437B}" dt="2020-07-30T16:28:50.694" v="119" actId="1076"/>
          <ac:spMkLst>
            <pc:docMk/>
            <pc:sldMk cId="1734415321" sldId="2134804344"/>
            <ac:spMk id="30" creationId="{5BF08848-45AE-451C-A99D-7322CF796742}"/>
          </ac:spMkLst>
        </pc:spChg>
        <pc:spChg chg="mod">
          <ac:chgData name="Andrea Mogollon Nossa (CENIT)" userId="f6a3e592-cc27-4858-b185-ff86be206069" providerId="ADAL" clId="{3C8E150F-F68C-4D5E-9C1A-E8DFC63A437B}" dt="2020-07-30T16:28:54.055" v="120" actId="1076"/>
          <ac:spMkLst>
            <pc:docMk/>
            <pc:sldMk cId="1734415321" sldId="2134804344"/>
            <ac:spMk id="34" creationId="{2858742F-5FD0-4B7E-9334-0D1DB2CF525E}"/>
          </ac:spMkLst>
        </pc:spChg>
        <pc:spChg chg="mod">
          <ac:chgData name="Andrea Mogollon Nossa (CENIT)" userId="f6a3e592-cc27-4858-b185-ff86be206069" providerId="ADAL" clId="{3C8E150F-F68C-4D5E-9C1A-E8DFC63A437B}" dt="2020-07-30T16:28:50.694" v="119" actId="1076"/>
          <ac:spMkLst>
            <pc:docMk/>
            <pc:sldMk cId="1734415321" sldId="2134804344"/>
            <ac:spMk id="35" creationId="{5F2982C9-1317-4114-BC67-9EA6763899B8}"/>
          </ac:spMkLst>
        </pc:spChg>
        <pc:spChg chg="mod">
          <ac:chgData name="Andrea Mogollon Nossa (CENIT)" userId="f6a3e592-cc27-4858-b185-ff86be206069" providerId="ADAL" clId="{3C8E150F-F68C-4D5E-9C1A-E8DFC63A437B}" dt="2020-07-30T16:27:57.503" v="113" actId="1076"/>
          <ac:spMkLst>
            <pc:docMk/>
            <pc:sldMk cId="1734415321" sldId="2134804344"/>
            <ac:spMk id="36" creationId="{80930BAD-CC8E-47DD-9473-5B8864A2680A}"/>
          </ac:spMkLst>
        </pc:spChg>
        <pc:spChg chg="del mod">
          <ac:chgData name="Andrea Mogollon Nossa (CENIT)" userId="f6a3e592-cc27-4858-b185-ff86be206069" providerId="ADAL" clId="{3C8E150F-F68C-4D5E-9C1A-E8DFC63A437B}" dt="2020-07-30T16:31:15.781" v="171" actId="478"/>
          <ac:spMkLst>
            <pc:docMk/>
            <pc:sldMk cId="1734415321" sldId="2134804344"/>
            <ac:spMk id="40" creationId="{F9005A44-E530-4972-BBE0-B3ED015A6ED4}"/>
          </ac:spMkLst>
        </pc:spChg>
        <pc:spChg chg="mod">
          <ac:chgData name="Andrea Mogollon Nossa (CENIT)" userId="f6a3e592-cc27-4858-b185-ff86be206069" providerId="ADAL" clId="{3C8E150F-F68C-4D5E-9C1A-E8DFC63A437B}" dt="2020-07-30T16:33:04.175" v="190" actId="1076"/>
          <ac:spMkLst>
            <pc:docMk/>
            <pc:sldMk cId="1734415321" sldId="2134804344"/>
            <ac:spMk id="41" creationId="{A6323A01-8860-4B1B-BDAF-6B75ABC06BEC}"/>
          </ac:spMkLst>
        </pc:spChg>
        <pc:spChg chg="mod">
          <ac:chgData name="Andrea Mogollon Nossa (CENIT)" userId="f6a3e592-cc27-4858-b185-ff86be206069" providerId="ADAL" clId="{3C8E150F-F68C-4D5E-9C1A-E8DFC63A437B}" dt="2020-07-30T16:28:41.669" v="118" actId="1076"/>
          <ac:spMkLst>
            <pc:docMk/>
            <pc:sldMk cId="1734415321" sldId="2134804344"/>
            <ac:spMk id="42" creationId="{4101169F-B3FD-425D-90F0-D9CCBE1BF3D2}"/>
          </ac:spMkLst>
        </pc:spChg>
        <pc:spChg chg="mod">
          <ac:chgData name="Andrea Mogollon Nossa (CENIT)" userId="f6a3e592-cc27-4858-b185-ff86be206069" providerId="ADAL" clId="{3C8E150F-F68C-4D5E-9C1A-E8DFC63A437B}" dt="2020-07-30T16:27:57.503" v="113" actId="1076"/>
          <ac:spMkLst>
            <pc:docMk/>
            <pc:sldMk cId="1734415321" sldId="2134804344"/>
            <ac:spMk id="43" creationId="{34452114-CA9E-44D1-9755-DF275F1BF2A9}"/>
          </ac:spMkLst>
        </pc:spChg>
        <pc:spChg chg="mod">
          <ac:chgData name="Andrea Mogollon Nossa (CENIT)" userId="f6a3e592-cc27-4858-b185-ff86be206069" providerId="ADAL" clId="{3C8E150F-F68C-4D5E-9C1A-E8DFC63A437B}" dt="2020-07-30T16:33:05.711" v="191" actId="1076"/>
          <ac:spMkLst>
            <pc:docMk/>
            <pc:sldMk cId="1734415321" sldId="2134804344"/>
            <ac:spMk id="45" creationId="{476FBBD3-1877-4B8E-A2BA-965C36FBD73D}"/>
          </ac:spMkLst>
        </pc:spChg>
        <pc:spChg chg="mod">
          <ac:chgData name="Andrea Mogollon Nossa (CENIT)" userId="f6a3e592-cc27-4858-b185-ff86be206069" providerId="ADAL" clId="{3C8E150F-F68C-4D5E-9C1A-E8DFC63A437B}" dt="2020-07-30T16:32:27.941" v="187" actId="1076"/>
          <ac:spMkLst>
            <pc:docMk/>
            <pc:sldMk cId="1734415321" sldId="2134804344"/>
            <ac:spMk id="48" creationId="{F926AC88-2103-4B74-A485-8F98AF37FABE}"/>
          </ac:spMkLst>
        </pc:spChg>
        <pc:spChg chg="mod">
          <ac:chgData name="Andrea Mogollon Nossa (CENIT)" userId="f6a3e592-cc27-4858-b185-ff86be206069" providerId="ADAL" clId="{3C8E150F-F68C-4D5E-9C1A-E8DFC63A437B}" dt="2020-07-30T16:28:41.669" v="118" actId="1076"/>
          <ac:spMkLst>
            <pc:docMk/>
            <pc:sldMk cId="1734415321" sldId="2134804344"/>
            <ac:spMk id="53" creationId="{436F7F2A-D56C-4686-B82F-7A2F944056CC}"/>
          </ac:spMkLst>
        </pc:spChg>
        <pc:spChg chg="mod">
          <ac:chgData name="Andrea Mogollon Nossa (CENIT)" userId="f6a3e592-cc27-4858-b185-ff86be206069" providerId="ADAL" clId="{3C8E150F-F68C-4D5E-9C1A-E8DFC63A437B}" dt="2020-07-30T16:31:44.718" v="179" actId="1076"/>
          <ac:spMkLst>
            <pc:docMk/>
            <pc:sldMk cId="1734415321" sldId="2134804344"/>
            <ac:spMk id="55" creationId="{1546B975-3205-4120-A98D-4F899F2673F9}"/>
          </ac:spMkLst>
        </pc:spChg>
        <pc:spChg chg="mod">
          <ac:chgData name="Andrea Mogollon Nossa (CENIT)" userId="f6a3e592-cc27-4858-b185-ff86be206069" providerId="ADAL" clId="{3C8E150F-F68C-4D5E-9C1A-E8DFC63A437B}" dt="2020-07-30T16:31:44.718" v="179" actId="1076"/>
          <ac:spMkLst>
            <pc:docMk/>
            <pc:sldMk cId="1734415321" sldId="2134804344"/>
            <ac:spMk id="56" creationId="{82D32ECE-5CE8-4D30-8F1A-35940B0E5DDC}"/>
          </ac:spMkLst>
        </pc:spChg>
        <pc:spChg chg="mod">
          <ac:chgData name="Andrea Mogollon Nossa (CENIT)" userId="f6a3e592-cc27-4858-b185-ff86be206069" providerId="ADAL" clId="{3C8E150F-F68C-4D5E-9C1A-E8DFC63A437B}" dt="2020-07-30T16:34:53.814" v="216" actId="14100"/>
          <ac:spMkLst>
            <pc:docMk/>
            <pc:sldMk cId="1734415321" sldId="2134804344"/>
            <ac:spMk id="57" creationId="{CFA918CB-0C7A-44FC-87D2-055F0DB1CDD9}"/>
          </ac:spMkLst>
        </pc:spChg>
        <pc:spChg chg="mod">
          <ac:chgData name="Andrea Mogollon Nossa (CENIT)" userId="f6a3e592-cc27-4858-b185-ff86be206069" providerId="ADAL" clId="{3C8E150F-F68C-4D5E-9C1A-E8DFC63A437B}" dt="2020-07-30T16:28:12.183" v="115" actId="1076"/>
          <ac:spMkLst>
            <pc:docMk/>
            <pc:sldMk cId="1734415321" sldId="2134804344"/>
            <ac:spMk id="59" creationId="{B329FB9A-BB66-4CA1-9AB8-4B6B45E56072}"/>
          </ac:spMkLst>
        </pc:spChg>
        <pc:spChg chg="mod">
          <ac:chgData name="Andrea Mogollon Nossa (CENIT)" userId="f6a3e592-cc27-4858-b185-ff86be206069" providerId="ADAL" clId="{3C8E150F-F68C-4D5E-9C1A-E8DFC63A437B}" dt="2020-07-30T16:27:37.607" v="110" actId="1076"/>
          <ac:spMkLst>
            <pc:docMk/>
            <pc:sldMk cId="1734415321" sldId="2134804344"/>
            <ac:spMk id="60" creationId="{FC98CCA7-DE6B-4116-84B8-A8982F08BE33}"/>
          </ac:spMkLst>
        </pc:spChg>
        <pc:spChg chg="mod">
          <ac:chgData name="Andrea Mogollon Nossa (CENIT)" userId="f6a3e592-cc27-4858-b185-ff86be206069" providerId="ADAL" clId="{3C8E150F-F68C-4D5E-9C1A-E8DFC63A437B}" dt="2020-07-30T16:27:37.607" v="110" actId="1076"/>
          <ac:spMkLst>
            <pc:docMk/>
            <pc:sldMk cId="1734415321" sldId="2134804344"/>
            <ac:spMk id="65" creationId="{E9C72F17-5D8F-41F6-8661-3E5DE2A9E040}"/>
          </ac:spMkLst>
        </pc:spChg>
        <pc:spChg chg="mod">
          <ac:chgData name="Andrea Mogollon Nossa (CENIT)" userId="f6a3e592-cc27-4858-b185-ff86be206069" providerId="ADAL" clId="{3C8E150F-F68C-4D5E-9C1A-E8DFC63A437B}" dt="2020-07-30T16:36:48.245" v="239" actId="1076"/>
          <ac:spMkLst>
            <pc:docMk/>
            <pc:sldMk cId="1734415321" sldId="2134804344"/>
            <ac:spMk id="66" creationId="{DB75697E-BD6D-4004-8F4B-2171046FC128}"/>
          </ac:spMkLst>
        </pc:spChg>
        <pc:spChg chg="mod">
          <ac:chgData name="Andrea Mogollon Nossa (CENIT)" userId="f6a3e592-cc27-4858-b185-ff86be206069" providerId="ADAL" clId="{3C8E150F-F68C-4D5E-9C1A-E8DFC63A437B}" dt="2020-07-30T16:36:50.102" v="240" actId="1076"/>
          <ac:spMkLst>
            <pc:docMk/>
            <pc:sldMk cId="1734415321" sldId="2134804344"/>
            <ac:spMk id="69" creationId="{42876D3F-F05B-4B3C-9DCB-629A3FE41134}"/>
          </ac:spMkLst>
        </pc:spChg>
        <pc:spChg chg="mod">
          <ac:chgData name="Andrea Mogollon Nossa (CENIT)" userId="f6a3e592-cc27-4858-b185-ff86be206069" providerId="ADAL" clId="{3C8E150F-F68C-4D5E-9C1A-E8DFC63A437B}" dt="2020-07-30T16:36:51.574" v="241" actId="1076"/>
          <ac:spMkLst>
            <pc:docMk/>
            <pc:sldMk cId="1734415321" sldId="2134804344"/>
            <ac:spMk id="70" creationId="{F9D75CA7-6C16-4058-92CF-BCCF9664CBC8}"/>
          </ac:spMkLst>
        </pc:spChg>
        <pc:spChg chg="mod">
          <ac:chgData name="Andrea Mogollon Nossa (CENIT)" userId="f6a3e592-cc27-4858-b185-ff86be206069" providerId="ADAL" clId="{3C8E150F-F68C-4D5E-9C1A-E8DFC63A437B}" dt="2020-07-30T16:36:53.287" v="242" actId="1076"/>
          <ac:spMkLst>
            <pc:docMk/>
            <pc:sldMk cId="1734415321" sldId="2134804344"/>
            <ac:spMk id="71" creationId="{63CA118B-4517-4A8E-85F9-65AF0995F5E4}"/>
          </ac:spMkLst>
        </pc:spChg>
        <pc:spChg chg="mod">
          <ac:chgData name="Andrea Mogollon Nossa (CENIT)" userId="f6a3e592-cc27-4858-b185-ff86be206069" providerId="ADAL" clId="{3C8E150F-F68C-4D5E-9C1A-E8DFC63A437B}" dt="2020-07-30T16:32:58.143" v="189" actId="1076"/>
          <ac:spMkLst>
            <pc:docMk/>
            <pc:sldMk cId="1734415321" sldId="2134804344"/>
            <ac:spMk id="72" creationId="{F0A9C2F1-1FA1-4C6D-980F-C42B048458E9}"/>
          </ac:spMkLst>
        </pc:spChg>
        <pc:spChg chg="mod">
          <ac:chgData name="Andrea Mogollon Nossa (CENIT)" userId="f6a3e592-cc27-4858-b185-ff86be206069" providerId="ADAL" clId="{3C8E150F-F68C-4D5E-9C1A-E8DFC63A437B}" dt="2020-07-30T16:32:58.143" v="189" actId="1076"/>
          <ac:spMkLst>
            <pc:docMk/>
            <pc:sldMk cId="1734415321" sldId="2134804344"/>
            <ac:spMk id="73" creationId="{504B0AB9-46DB-479D-A0DE-430E1C84357C}"/>
          </ac:spMkLst>
        </pc:spChg>
        <pc:spChg chg="add mod">
          <ac:chgData name="Andrea Mogollon Nossa (CENIT)" userId="f6a3e592-cc27-4858-b185-ff86be206069" providerId="ADAL" clId="{3C8E150F-F68C-4D5E-9C1A-E8DFC63A437B}" dt="2020-07-30T16:30:46.504" v="163" actId="14100"/>
          <ac:spMkLst>
            <pc:docMk/>
            <pc:sldMk cId="1734415321" sldId="2134804344"/>
            <ac:spMk id="75" creationId="{4C690042-2141-41E0-801C-740270A72EAA}"/>
          </ac:spMkLst>
        </pc:spChg>
        <pc:spChg chg="add mod">
          <ac:chgData name="Andrea Mogollon Nossa (CENIT)" userId="f6a3e592-cc27-4858-b185-ff86be206069" providerId="ADAL" clId="{3C8E150F-F68C-4D5E-9C1A-E8DFC63A437B}" dt="2020-07-30T16:30:54.305" v="165" actId="1076"/>
          <ac:spMkLst>
            <pc:docMk/>
            <pc:sldMk cId="1734415321" sldId="2134804344"/>
            <ac:spMk id="76" creationId="{0E53751B-1475-4A4B-BBEC-13FCD3CB2F50}"/>
          </ac:spMkLst>
        </pc:spChg>
        <pc:spChg chg="add mod">
          <ac:chgData name="Andrea Mogollon Nossa (CENIT)" userId="f6a3e592-cc27-4858-b185-ff86be206069" providerId="ADAL" clId="{3C8E150F-F68C-4D5E-9C1A-E8DFC63A437B}" dt="2020-07-30T16:31:04.288" v="167" actId="1076"/>
          <ac:spMkLst>
            <pc:docMk/>
            <pc:sldMk cId="1734415321" sldId="2134804344"/>
            <ac:spMk id="77" creationId="{75EB08EE-75FC-41CF-8DE8-8BEA1325A366}"/>
          </ac:spMkLst>
        </pc:spChg>
        <pc:spChg chg="mod">
          <ac:chgData name="Andrea Mogollon Nossa (CENIT)" userId="f6a3e592-cc27-4858-b185-ff86be206069" providerId="ADAL" clId="{3C8E150F-F68C-4D5E-9C1A-E8DFC63A437B}" dt="2020-07-30T16:31:18.251" v="172"/>
          <ac:spMkLst>
            <pc:docMk/>
            <pc:sldMk cId="1734415321" sldId="2134804344"/>
            <ac:spMk id="79" creationId="{B87C299D-EF49-4441-84EE-D96464B9014A}"/>
          </ac:spMkLst>
        </pc:spChg>
        <pc:spChg chg="mod">
          <ac:chgData name="Andrea Mogollon Nossa (CENIT)" userId="f6a3e592-cc27-4858-b185-ff86be206069" providerId="ADAL" clId="{3C8E150F-F68C-4D5E-9C1A-E8DFC63A437B}" dt="2020-07-30T16:31:23.952" v="175" actId="20577"/>
          <ac:spMkLst>
            <pc:docMk/>
            <pc:sldMk cId="1734415321" sldId="2134804344"/>
            <ac:spMk id="80" creationId="{E193066D-B18A-4EF1-AF0B-EF5BC81EBB54}"/>
          </ac:spMkLst>
        </pc:spChg>
        <pc:spChg chg="mod">
          <ac:chgData name="Andrea Mogollon Nossa (CENIT)" userId="f6a3e592-cc27-4858-b185-ff86be206069" providerId="ADAL" clId="{3C8E150F-F68C-4D5E-9C1A-E8DFC63A437B}" dt="2020-07-30T16:28:41.669" v="118" actId="1076"/>
          <ac:spMkLst>
            <pc:docMk/>
            <pc:sldMk cId="1734415321" sldId="2134804344"/>
            <ac:spMk id="81" creationId="{9EAEECC0-C607-4346-A4F1-115AAD4C7633}"/>
          </ac:spMkLst>
        </pc:spChg>
        <pc:spChg chg="mod">
          <ac:chgData name="Andrea Mogollon Nossa (CENIT)" userId="f6a3e592-cc27-4858-b185-ff86be206069" providerId="ADAL" clId="{3C8E150F-F68C-4D5E-9C1A-E8DFC63A437B}" dt="2020-07-30T16:31:44.718" v="179" actId="1076"/>
          <ac:spMkLst>
            <pc:docMk/>
            <pc:sldMk cId="1734415321" sldId="2134804344"/>
            <ac:spMk id="82" creationId="{AE9FA5CC-5AF8-4A39-808A-A55759A10785}"/>
          </ac:spMkLst>
        </pc:spChg>
        <pc:spChg chg="mod">
          <ac:chgData name="Andrea Mogollon Nossa (CENIT)" userId="f6a3e592-cc27-4858-b185-ff86be206069" providerId="ADAL" clId="{3C8E150F-F68C-4D5E-9C1A-E8DFC63A437B}" dt="2020-07-30T16:34:58.471" v="218" actId="1076"/>
          <ac:spMkLst>
            <pc:docMk/>
            <pc:sldMk cId="1734415321" sldId="2134804344"/>
            <ac:spMk id="83" creationId="{697AE0C9-8E3D-47A0-B88B-51F62D5E5F80}"/>
          </ac:spMkLst>
        </pc:spChg>
        <pc:spChg chg="mod">
          <ac:chgData name="Andrea Mogollon Nossa (CENIT)" userId="f6a3e592-cc27-4858-b185-ff86be206069" providerId="ADAL" clId="{3C8E150F-F68C-4D5E-9C1A-E8DFC63A437B}" dt="2020-07-30T16:28:12.183" v="115" actId="1076"/>
          <ac:spMkLst>
            <pc:docMk/>
            <pc:sldMk cId="1734415321" sldId="2134804344"/>
            <ac:spMk id="85" creationId="{0AEECF97-B04A-4741-8EAF-E1C19707EC79}"/>
          </ac:spMkLst>
        </pc:spChg>
        <pc:spChg chg="mod">
          <ac:chgData name="Andrea Mogollon Nossa (CENIT)" userId="f6a3e592-cc27-4858-b185-ff86be206069" providerId="ADAL" clId="{3C8E150F-F68C-4D5E-9C1A-E8DFC63A437B}" dt="2020-07-30T16:28:26.312" v="116" actId="1076"/>
          <ac:spMkLst>
            <pc:docMk/>
            <pc:sldMk cId="1734415321" sldId="2134804344"/>
            <ac:spMk id="97" creationId="{99300021-C267-43BD-A0F5-B3ECE622345E}"/>
          </ac:spMkLst>
        </pc:spChg>
        <pc:spChg chg="mod">
          <ac:chgData name="Andrea Mogollon Nossa (CENIT)" userId="f6a3e592-cc27-4858-b185-ff86be206069" providerId="ADAL" clId="{3C8E150F-F68C-4D5E-9C1A-E8DFC63A437B}" dt="2020-07-30T16:34:55.742" v="217" actId="1076"/>
          <ac:spMkLst>
            <pc:docMk/>
            <pc:sldMk cId="1734415321" sldId="2134804344"/>
            <ac:spMk id="98" creationId="{11F602EB-6CFD-4843-A675-A9D9AB24E0FE}"/>
          </ac:spMkLst>
        </pc:spChg>
        <pc:spChg chg="mod">
          <ac:chgData name="Andrea Mogollon Nossa (CENIT)" userId="f6a3e592-cc27-4858-b185-ff86be206069" providerId="ADAL" clId="{3C8E150F-F68C-4D5E-9C1A-E8DFC63A437B}" dt="2020-07-30T16:37:04.582" v="245" actId="1076"/>
          <ac:spMkLst>
            <pc:docMk/>
            <pc:sldMk cId="1734415321" sldId="2134804344"/>
            <ac:spMk id="99" creationId="{3F37526A-888E-4B3B-9EF1-1D4F51094B16}"/>
          </ac:spMkLst>
        </pc:spChg>
        <pc:spChg chg="mod">
          <ac:chgData name="Andrea Mogollon Nossa (CENIT)" userId="f6a3e592-cc27-4858-b185-ff86be206069" providerId="ADAL" clId="{3C8E150F-F68C-4D5E-9C1A-E8DFC63A437B}" dt="2020-07-30T16:35:18.256" v="222" actId="20577"/>
          <ac:spMkLst>
            <pc:docMk/>
            <pc:sldMk cId="1734415321" sldId="2134804344"/>
            <ac:spMk id="100" creationId="{35A556C0-08BB-4065-827F-E54CA0A57E33}"/>
          </ac:spMkLst>
        </pc:spChg>
        <pc:spChg chg="mod">
          <ac:chgData name="Andrea Mogollon Nossa (CENIT)" userId="f6a3e592-cc27-4858-b185-ff86be206069" providerId="ADAL" clId="{3C8E150F-F68C-4D5E-9C1A-E8DFC63A437B}" dt="2020-07-30T16:30:22.935" v="157" actId="1076"/>
          <ac:spMkLst>
            <pc:docMk/>
            <pc:sldMk cId="1734415321" sldId="2134804344"/>
            <ac:spMk id="101" creationId="{0F95C10F-4505-43A2-9FE4-A5D8FBED5E9D}"/>
          </ac:spMkLst>
        </pc:spChg>
        <pc:spChg chg="mod">
          <ac:chgData name="Andrea Mogollon Nossa (CENIT)" userId="f6a3e592-cc27-4858-b185-ff86be206069" providerId="ADAL" clId="{3C8E150F-F68C-4D5E-9C1A-E8DFC63A437B}" dt="2020-07-30T16:30:22.935" v="157" actId="1076"/>
          <ac:spMkLst>
            <pc:docMk/>
            <pc:sldMk cId="1734415321" sldId="2134804344"/>
            <ac:spMk id="102" creationId="{375A91BF-D241-42F1-A4B3-D3F3EA721080}"/>
          </ac:spMkLst>
        </pc:spChg>
        <pc:spChg chg="mod">
          <ac:chgData name="Andrea Mogollon Nossa (CENIT)" userId="f6a3e592-cc27-4858-b185-ff86be206069" providerId="ADAL" clId="{3C8E150F-F68C-4D5E-9C1A-E8DFC63A437B}" dt="2020-07-30T16:30:22.935" v="157" actId="1076"/>
          <ac:spMkLst>
            <pc:docMk/>
            <pc:sldMk cId="1734415321" sldId="2134804344"/>
            <ac:spMk id="103" creationId="{9CCA22EE-9CE4-456C-B76B-098E81A697E4}"/>
          </ac:spMkLst>
        </pc:spChg>
        <pc:spChg chg="mod">
          <ac:chgData name="Andrea Mogollon Nossa (CENIT)" userId="f6a3e592-cc27-4858-b185-ff86be206069" providerId="ADAL" clId="{3C8E150F-F68C-4D5E-9C1A-E8DFC63A437B}" dt="2020-07-30T16:36:20.657" v="230" actId="20577"/>
          <ac:spMkLst>
            <pc:docMk/>
            <pc:sldMk cId="1734415321" sldId="2134804344"/>
            <ac:spMk id="106" creationId="{3B211658-9448-4823-8F15-5D1C5843CE46}"/>
          </ac:spMkLst>
        </pc:spChg>
        <pc:spChg chg="mod">
          <ac:chgData name="Andrea Mogollon Nossa (CENIT)" userId="f6a3e592-cc27-4858-b185-ff86be206069" providerId="ADAL" clId="{3C8E150F-F68C-4D5E-9C1A-E8DFC63A437B}" dt="2020-07-30T16:36:30.546" v="238" actId="20577"/>
          <ac:spMkLst>
            <pc:docMk/>
            <pc:sldMk cId="1734415321" sldId="2134804344"/>
            <ac:spMk id="108" creationId="{3D010BAD-F539-4116-8687-AD686D4C2E0F}"/>
          </ac:spMkLst>
        </pc:spChg>
        <pc:spChg chg="mod">
          <ac:chgData name="Andrea Mogollon Nossa (CENIT)" userId="f6a3e592-cc27-4858-b185-ff86be206069" providerId="ADAL" clId="{3C8E150F-F68C-4D5E-9C1A-E8DFC63A437B}" dt="2020-07-30T16:35:32.061" v="225" actId="20577"/>
          <ac:spMkLst>
            <pc:docMk/>
            <pc:sldMk cId="1734415321" sldId="2134804344"/>
            <ac:spMk id="112" creationId="{5A8CEDC8-152E-46F9-90EC-5ECDB2223440}"/>
          </ac:spMkLst>
        </pc:spChg>
        <pc:spChg chg="mod">
          <ac:chgData name="Andrea Mogollon Nossa (CENIT)" userId="f6a3e592-cc27-4858-b185-ff86be206069" providerId="ADAL" clId="{3C8E150F-F68C-4D5E-9C1A-E8DFC63A437B}" dt="2020-07-30T16:36:25.431" v="234" actId="20577"/>
          <ac:spMkLst>
            <pc:docMk/>
            <pc:sldMk cId="1734415321" sldId="2134804344"/>
            <ac:spMk id="121" creationId="{2E311C97-6862-47DD-92C1-3BEF5D8F8865}"/>
          </ac:spMkLst>
        </pc:spChg>
        <pc:spChg chg="mod">
          <ac:chgData name="Andrea Mogollon Nossa (CENIT)" userId="f6a3e592-cc27-4858-b185-ff86be206069" providerId="ADAL" clId="{3C8E150F-F68C-4D5E-9C1A-E8DFC63A437B}" dt="2020-07-30T16:36:23.204" v="232" actId="20577"/>
          <ac:spMkLst>
            <pc:docMk/>
            <pc:sldMk cId="1734415321" sldId="2134804344"/>
            <ac:spMk id="127" creationId="{501B1D27-37DD-4D11-80FF-526C8083A6B5}"/>
          </ac:spMkLst>
        </pc:spChg>
        <pc:spChg chg="mod">
          <ac:chgData name="Andrea Mogollon Nossa (CENIT)" userId="f6a3e592-cc27-4858-b185-ff86be206069" providerId="ADAL" clId="{3C8E150F-F68C-4D5E-9C1A-E8DFC63A437B}" dt="2020-07-30T16:35:35.831" v="228" actId="20577"/>
          <ac:spMkLst>
            <pc:docMk/>
            <pc:sldMk cId="1734415321" sldId="2134804344"/>
            <ac:spMk id="130" creationId="{DA95F683-0481-491C-9E12-C20E9C8D4CB2}"/>
          </ac:spMkLst>
        </pc:spChg>
        <pc:spChg chg="mod">
          <ac:chgData name="Andrea Mogollon Nossa (CENIT)" userId="f6a3e592-cc27-4858-b185-ff86be206069" providerId="ADAL" clId="{3C8E150F-F68C-4D5E-9C1A-E8DFC63A437B}" dt="2020-07-30T16:36:27.828" v="236" actId="20577"/>
          <ac:spMkLst>
            <pc:docMk/>
            <pc:sldMk cId="1734415321" sldId="2134804344"/>
            <ac:spMk id="133" creationId="{47934E67-218B-4801-BC20-A86CE79D44A9}"/>
          </ac:spMkLst>
        </pc:spChg>
        <pc:grpChg chg="add mod">
          <ac:chgData name="Andrea Mogollon Nossa (CENIT)" userId="f6a3e592-cc27-4858-b185-ff86be206069" providerId="ADAL" clId="{3C8E150F-F68C-4D5E-9C1A-E8DFC63A437B}" dt="2020-07-30T16:33:08.566" v="192" actId="1076"/>
          <ac:grpSpMkLst>
            <pc:docMk/>
            <pc:sldMk cId="1734415321" sldId="2134804344"/>
            <ac:grpSpMk id="78" creationId="{12A3AACD-5508-4F4A-9036-A17C038CD4B5}"/>
          </ac:grpSpMkLst>
        </pc:grpChg>
        <pc:grpChg chg="mod">
          <ac:chgData name="Andrea Mogollon Nossa (CENIT)" userId="f6a3e592-cc27-4858-b185-ff86be206069" providerId="ADAL" clId="{3C8E150F-F68C-4D5E-9C1A-E8DFC63A437B}" dt="2020-07-30T16:32:58.143" v="189" actId="1076"/>
          <ac:grpSpMkLst>
            <pc:docMk/>
            <pc:sldMk cId="1734415321" sldId="2134804344"/>
            <ac:grpSpMk id="88" creationId="{F7EF4CD1-C03D-4025-9F1B-068CA3577EE5}"/>
          </ac:grpSpMkLst>
        </pc:grpChg>
        <pc:grpChg chg="mod">
          <ac:chgData name="Andrea Mogollon Nossa (CENIT)" userId="f6a3e592-cc27-4858-b185-ff86be206069" providerId="ADAL" clId="{3C8E150F-F68C-4D5E-9C1A-E8DFC63A437B}" dt="2020-07-30T16:32:13.135" v="184" actId="1076"/>
          <ac:grpSpMkLst>
            <pc:docMk/>
            <pc:sldMk cId="1734415321" sldId="2134804344"/>
            <ac:grpSpMk id="104" creationId="{59DCCC75-910D-4156-B5D2-8F3A5AA4C455}"/>
          </ac:grpSpMkLst>
        </pc:grpChg>
        <pc:grpChg chg="mod">
          <ac:chgData name="Andrea Mogollon Nossa (CENIT)" userId="f6a3e592-cc27-4858-b185-ff86be206069" providerId="ADAL" clId="{3C8E150F-F68C-4D5E-9C1A-E8DFC63A437B}" dt="2020-07-30T16:30:22.935" v="157" actId="1076"/>
          <ac:grpSpMkLst>
            <pc:docMk/>
            <pc:sldMk cId="1734415321" sldId="2134804344"/>
            <ac:grpSpMk id="107" creationId="{E3576795-9E27-4D88-8404-00A3C7526AF7}"/>
          </ac:grpSpMkLst>
        </pc:grpChg>
        <pc:grpChg chg="mod">
          <ac:chgData name="Andrea Mogollon Nossa (CENIT)" userId="f6a3e592-cc27-4858-b185-ff86be206069" providerId="ADAL" clId="{3C8E150F-F68C-4D5E-9C1A-E8DFC63A437B}" dt="2020-07-30T16:31:58.399" v="180" actId="1076"/>
          <ac:grpSpMkLst>
            <pc:docMk/>
            <pc:sldMk cId="1734415321" sldId="2134804344"/>
            <ac:grpSpMk id="110" creationId="{D7D0C9A1-025C-4450-87B1-36C6FF8DEABD}"/>
          </ac:grpSpMkLst>
        </pc:grpChg>
        <pc:grpChg chg="mod">
          <ac:chgData name="Andrea Mogollon Nossa (CENIT)" userId="f6a3e592-cc27-4858-b185-ff86be206069" providerId="ADAL" clId="{3C8E150F-F68C-4D5E-9C1A-E8DFC63A437B}" dt="2020-07-30T16:30:22.935" v="157" actId="1076"/>
          <ac:grpSpMkLst>
            <pc:docMk/>
            <pc:sldMk cId="1734415321" sldId="2134804344"/>
            <ac:grpSpMk id="113" creationId="{6B581FBB-D989-4E17-A065-E7971E49DBDA}"/>
          </ac:grpSpMkLst>
        </pc:grpChg>
        <pc:grpChg chg="mod">
          <ac:chgData name="Andrea Mogollon Nossa (CENIT)" userId="f6a3e592-cc27-4858-b185-ff86be206069" providerId="ADAL" clId="{3C8E150F-F68C-4D5E-9C1A-E8DFC63A437B}" dt="2020-07-30T16:32:09.527" v="183" actId="1076"/>
          <ac:grpSpMkLst>
            <pc:docMk/>
            <pc:sldMk cId="1734415321" sldId="2134804344"/>
            <ac:grpSpMk id="116" creationId="{E70D78CB-6FAA-4B85-BF4A-5A9BF1BD33DE}"/>
          </ac:grpSpMkLst>
        </pc:grpChg>
        <pc:grpChg chg="mod">
          <ac:chgData name="Andrea Mogollon Nossa (CENIT)" userId="f6a3e592-cc27-4858-b185-ff86be206069" providerId="ADAL" clId="{3C8E150F-F68C-4D5E-9C1A-E8DFC63A437B}" dt="2020-07-30T16:32:19.142" v="186" actId="1076"/>
          <ac:grpSpMkLst>
            <pc:docMk/>
            <pc:sldMk cId="1734415321" sldId="2134804344"/>
            <ac:grpSpMk id="122" creationId="{A6FEA521-C468-4ED3-872F-BE324F3DBB8B}"/>
          </ac:grpSpMkLst>
        </pc:grpChg>
        <pc:grpChg chg="mod">
          <ac:chgData name="Andrea Mogollon Nossa (CENIT)" userId="f6a3e592-cc27-4858-b185-ff86be206069" providerId="ADAL" clId="{3C8E150F-F68C-4D5E-9C1A-E8DFC63A437B}" dt="2020-07-30T16:32:05.974" v="182" actId="1076"/>
          <ac:grpSpMkLst>
            <pc:docMk/>
            <pc:sldMk cId="1734415321" sldId="2134804344"/>
            <ac:grpSpMk id="125" creationId="{9BCEE625-51DE-48C5-A3B4-C0734FAEDADC}"/>
          </ac:grpSpMkLst>
        </pc:grpChg>
        <pc:grpChg chg="mod">
          <ac:chgData name="Andrea Mogollon Nossa (CENIT)" userId="f6a3e592-cc27-4858-b185-ff86be206069" providerId="ADAL" clId="{3C8E150F-F68C-4D5E-9C1A-E8DFC63A437B}" dt="2020-07-30T16:30:22.935" v="157" actId="1076"/>
          <ac:grpSpMkLst>
            <pc:docMk/>
            <pc:sldMk cId="1734415321" sldId="2134804344"/>
            <ac:grpSpMk id="128" creationId="{9D1AB67C-D2EF-416D-818A-29CE159D0987}"/>
          </ac:grpSpMkLst>
        </pc:grpChg>
        <pc:grpChg chg="mod">
          <ac:chgData name="Andrea Mogollon Nossa (CENIT)" userId="f6a3e592-cc27-4858-b185-ff86be206069" providerId="ADAL" clId="{3C8E150F-F68C-4D5E-9C1A-E8DFC63A437B}" dt="2020-07-30T16:32:16.118" v="185" actId="1076"/>
          <ac:grpSpMkLst>
            <pc:docMk/>
            <pc:sldMk cId="1734415321" sldId="2134804344"/>
            <ac:grpSpMk id="131" creationId="{8D896094-5CAE-4A34-8F54-B3EBEBD435A6}"/>
          </ac:grpSpMkLst>
        </pc:grpChg>
      </pc:sldChg>
      <pc:sldChg chg="del">
        <pc:chgData name="Andrea Mogollon Nossa (CENIT)" userId="f6a3e592-cc27-4858-b185-ff86be206069" providerId="ADAL" clId="{3C8E150F-F68C-4D5E-9C1A-E8DFC63A437B}" dt="2020-07-30T15:59:32.809" v="90" actId="47"/>
        <pc:sldMkLst>
          <pc:docMk/>
          <pc:sldMk cId="1052642434" sldId="2134804352"/>
        </pc:sldMkLst>
      </pc:sldChg>
    </pc:docChg>
  </pc:docChgLst>
  <pc:docChgLst>
    <pc:chgData name="Mariam Daniela Tristancho Pineda (MISION TEMPORAL LTDA)" userId="a45a17f7-7950-4cb5-bfab-f5c894f959a9" providerId="ADAL" clId="{4969D31A-FD9D-4861-AE90-894686FABBC7}"/>
    <pc:docChg chg="addSld delSld modSld">
      <pc:chgData name="Mariam Daniela Tristancho Pineda (MISION TEMPORAL LTDA)" userId="a45a17f7-7950-4cb5-bfab-f5c894f959a9" providerId="ADAL" clId="{4969D31A-FD9D-4861-AE90-894686FABBC7}" dt="2020-08-06T13:32:05.962" v="53" actId="729"/>
      <pc:docMkLst>
        <pc:docMk/>
      </pc:docMkLst>
      <pc:sldChg chg="del">
        <pc:chgData name="Mariam Daniela Tristancho Pineda (MISION TEMPORAL LTDA)" userId="a45a17f7-7950-4cb5-bfab-f5c894f959a9" providerId="ADAL" clId="{4969D31A-FD9D-4861-AE90-894686FABBC7}" dt="2020-07-31T22:31:39.152" v="3" actId="47"/>
        <pc:sldMkLst>
          <pc:docMk/>
          <pc:sldMk cId="2985823996" sldId="1013"/>
        </pc:sldMkLst>
      </pc:sldChg>
      <pc:sldChg chg="del">
        <pc:chgData name="Mariam Daniela Tristancho Pineda (MISION TEMPORAL LTDA)" userId="a45a17f7-7950-4cb5-bfab-f5c894f959a9" providerId="ADAL" clId="{4969D31A-FD9D-4861-AE90-894686FABBC7}" dt="2020-08-06T13:32:03.087" v="48" actId="47"/>
        <pc:sldMkLst>
          <pc:docMk/>
          <pc:sldMk cId="692789810" sldId="2134804140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9.523" v="5" actId="47"/>
        <pc:sldMkLst>
          <pc:docMk/>
          <pc:sldMk cId="1366824925" sldId="2134804227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034" v="9" actId="47"/>
        <pc:sldMkLst>
          <pc:docMk/>
          <pc:sldMk cId="3813439113" sldId="213480423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175" v="10" actId="47"/>
        <pc:sldMkLst>
          <pc:docMk/>
          <pc:sldMk cId="3905861625" sldId="213480423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9.368" v="4" actId="47"/>
        <pc:sldMkLst>
          <pc:docMk/>
          <pc:sldMk cId="1092498720" sldId="213480423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8.923" v="2" actId="47"/>
        <pc:sldMkLst>
          <pc:docMk/>
          <pc:sldMk cId="4219972769" sldId="2134804235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52.824" v="46" actId="47"/>
        <pc:sldMkLst>
          <pc:docMk/>
          <pc:sldMk cId="1245803374" sldId="213480424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53.534" v="47" actId="47"/>
        <pc:sldMkLst>
          <pc:docMk/>
          <pc:sldMk cId="4180204205" sldId="2134804244"/>
        </pc:sldMkLst>
      </pc:sldChg>
      <pc:sldChg chg="add del mod modShow">
        <pc:chgData name="Mariam Daniela Tristancho Pineda (MISION TEMPORAL LTDA)" userId="a45a17f7-7950-4cb5-bfab-f5c894f959a9" providerId="ADAL" clId="{4969D31A-FD9D-4861-AE90-894686FABBC7}" dt="2020-08-06T13:32:05.962" v="53" actId="729"/>
        <pc:sldMkLst>
          <pc:docMk/>
          <pc:sldMk cId="1980531121" sldId="213480427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51.521" v="44" actId="47"/>
        <pc:sldMkLst>
          <pc:docMk/>
          <pc:sldMk cId="2406967117" sldId="2134804274"/>
        </pc:sldMkLst>
      </pc:sldChg>
      <pc:sldChg chg="add del mod modShow">
        <pc:chgData name="Mariam Daniela Tristancho Pineda (MISION TEMPORAL LTDA)" userId="a45a17f7-7950-4cb5-bfab-f5c894f959a9" providerId="ADAL" clId="{4969D31A-FD9D-4861-AE90-894686FABBC7}" dt="2020-08-06T13:32:05.962" v="53" actId="729"/>
        <pc:sldMkLst>
          <pc:docMk/>
          <pc:sldMk cId="383958496" sldId="213480428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52.151" v="45" actId="47"/>
        <pc:sldMkLst>
          <pc:docMk/>
          <pc:sldMk cId="838099151" sldId="2134804292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256" v="11" actId="47"/>
        <pc:sldMkLst>
          <pc:docMk/>
          <pc:sldMk cId="1480181934" sldId="2134804298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9.901" v="8" actId="47"/>
        <pc:sldMkLst>
          <pc:docMk/>
          <pc:sldMk cId="441470096" sldId="213480430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9.745" v="7" actId="47"/>
        <pc:sldMkLst>
          <pc:docMk/>
          <pc:sldMk cId="376084906" sldId="213480430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7.229" v="41" actId="47"/>
        <pc:sldMkLst>
          <pc:docMk/>
          <pc:sldMk cId="1505401777" sldId="2134804310"/>
        </pc:sldMkLst>
      </pc:sldChg>
      <pc:sldChg chg="add del mod modShow">
        <pc:chgData name="Mariam Daniela Tristancho Pineda (MISION TEMPORAL LTDA)" userId="a45a17f7-7950-4cb5-bfab-f5c894f959a9" providerId="ADAL" clId="{4969D31A-FD9D-4861-AE90-894686FABBC7}" dt="2020-08-06T13:32:05.962" v="53" actId="729"/>
        <pc:sldMkLst>
          <pc:docMk/>
          <pc:sldMk cId="2857089145" sldId="213480431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518" v="13" actId="47"/>
        <pc:sldMkLst>
          <pc:docMk/>
          <pc:sldMk cId="1535562114" sldId="2134804316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8.724" v="0" actId="47"/>
        <pc:sldMkLst>
          <pc:docMk/>
          <pc:sldMk cId="0" sldId="2134804320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334" v="12" actId="47"/>
        <pc:sldMkLst>
          <pc:docMk/>
          <pc:sldMk cId="2351433242" sldId="2134804322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8.639" v="43" actId="47"/>
        <pc:sldMkLst>
          <pc:docMk/>
          <pc:sldMk cId="237599856" sldId="213480432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8.212" v="42" actId="47"/>
        <pc:sldMkLst>
          <pc:docMk/>
          <pc:sldMk cId="2408337444" sldId="2134804326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6.708" v="38" actId="47"/>
        <pc:sldMkLst>
          <pc:docMk/>
          <pc:sldMk cId="2042427796" sldId="2134804327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7.148" v="40" actId="47"/>
        <pc:sldMkLst>
          <pc:docMk/>
          <pc:sldMk cId="989237730" sldId="2134804328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7.059" v="39" actId="47"/>
        <pc:sldMkLst>
          <pc:docMk/>
          <pc:sldMk cId="1974979659" sldId="2134804329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716" v="30" actId="47"/>
        <pc:sldMkLst>
          <pc:docMk/>
          <pc:sldMk cId="1847407210" sldId="2134804338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987" v="31" actId="47"/>
        <pc:sldMkLst>
          <pc:docMk/>
          <pc:sldMk cId="1922339588" sldId="2134804339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4.307" v="33" actId="47"/>
        <pc:sldMkLst>
          <pc:docMk/>
          <pc:sldMk cId="1108072925" sldId="213480434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4.168" v="32" actId="47"/>
        <pc:sldMkLst>
          <pc:docMk/>
          <pc:sldMk cId="1734415321" sldId="213480434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4.600" v="34" actId="47"/>
        <pc:sldMkLst>
          <pc:docMk/>
          <pc:sldMk cId="3642796184" sldId="2134804345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4.828" v="35" actId="47"/>
        <pc:sldMkLst>
          <pc:docMk/>
          <pc:sldMk cId="330914068" sldId="2134804346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5.434" v="36" actId="47"/>
        <pc:sldMkLst>
          <pc:docMk/>
          <pc:sldMk cId="3225245280" sldId="2134804347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5.872" v="37" actId="47"/>
        <pc:sldMkLst>
          <pc:docMk/>
          <pc:sldMk cId="335391689" sldId="2134804348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8.809" v="1" actId="47"/>
        <pc:sldMkLst>
          <pc:docMk/>
          <pc:sldMk cId="633750259" sldId="213480435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9.629" v="6" actId="47"/>
        <pc:sldMkLst>
          <pc:docMk/>
          <pc:sldMk cId="2460799231" sldId="213480435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628" v="14" actId="47"/>
        <pc:sldMkLst>
          <pc:docMk/>
          <pc:sldMk cId="4223154574" sldId="2134804360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978" v="15" actId="47"/>
        <pc:sldMkLst>
          <pc:docMk/>
          <pc:sldMk cId="4143138041" sldId="213480436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1.196" v="16" actId="47"/>
        <pc:sldMkLst>
          <pc:docMk/>
          <pc:sldMk cId="2446190859" sldId="2134804362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1.338" v="17" actId="47"/>
        <pc:sldMkLst>
          <pc:docMk/>
          <pc:sldMk cId="2429189956" sldId="213480436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1.523" v="18" actId="47"/>
        <pc:sldMkLst>
          <pc:docMk/>
          <pc:sldMk cId="2187455397" sldId="213480436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1.695" v="19" actId="47"/>
        <pc:sldMkLst>
          <pc:docMk/>
          <pc:sldMk cId="2769128965" sldId="2134804365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1.906" v="20" actId="47"/>
        <pc:sldMkLst>
          <pc:docMk/>
          <pc:sldMk cId="2154316516" sldId="2134804366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2.008" v="21" actId="47"/>
        <pc:sldMkLst>
          <pc:docMk/>
          <pc:sldMk cId="1068210842" sldId="2134804367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2.145" v="22" actId="47"/>
        <pc:sldMkLst>
          <pc:docMk/>
          <pc:sldMk cId="587350936" sldId="2134804368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2.344" v="23" actId="47"/>
        <pc:sldMkLst>
          <pc:docMk/>
          <pc:sldMk cId="2963898244" sldId="2134804369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2.530" v="24" actId="47"/>
        <pc:sldMkLst>
          <pc:docMk/>
          <pc:sldMk cId="3226895650" sldId="2134804370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2.934" v="25" actId="47"/>
        <pc:sldMkLst>
          <pc:docMk/>
          <pc:sldMk cId="219746583" sldId="213480437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213" v="26" actId="47"/>
        <pc:sldMkLst>
          <pc:docMk/>
          <pc:sldMk cId="1530950705" sldId="2134804372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430" v="27" actId="47"/>
        <pc:sldMkLst>
          <pc:docMk/>
          <pc:sldMk cId="1024743334" sldId="213480437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540" v="28" actId="47"/>
        <pc:sldMkLst>
          <pc:docMk/>
          <pc:sldMk cId="2751538595" sldId="213480437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618" v="29" actId="47"/>
        <pc:sldMkLst>
          <pc:docMk/>
          <pc:sldMk cId="488218476" sldId="2134804375"/>
        </pc:sldMkLst>
      </pc:sldChg>
      <pc:sldMasterChg chg="delSldLayout">
        <pc:chgData name="Mariam Daniela Tristancho Pineda (MISION TEMPORAL LTDA)" userId="a45a17f7-7950-4cb5-bfab-f5c894f959a9" providerId="ADAL" clId="{4969D31A-FD9D-4861-AE90-894686FABBC7}" dt="2020-07-31T22:31:39.368" v="4" actId="47"/>
        <pc:sldMasterMkLst>
          <pc:docMk/>
          <pc:sldMasterMk cId="2612954595" sldId="2147483660"/>
        </pc:sldMasterMkLst>
        <pc:sldLayoutChg chg="del">
          <pc:chgData name="Mariam Daniela Tristancho Pineda (MISION TEMPORAL LTDA)" userId="a45a17f7-7950-4cb5-bfab-f5c894f959a9" providerId="ADAL" clId="{4969D31A-FD9D-4861-AE90-894686FABBC7}" dt="2020-07-31T22:31:39.152" v="3" actId="47"/>
          <pc:sldLayoutMkLst>
            <pc:docMk/>
            <pc:sldMasterMk cId="2612954595" sldId="2147483660"/>
            <pc:sldLayoutMk cId="1423037499" sldId="2147483667"/>
          </pc:sldLayoutMkLst>
        </pc:sldLayoutChg>
        <pc:sldLayoutChg chg="del">
          <pc:chgData name="Mariam Daniela Tristancho Pineda (MISION TEMPORAL LTDA)" userId="a45a17f7-7950-4cb5-bfab-f5c894f959a9" providerId="ADAL" clId="{4969D31A-FD9D-4861-AE90-894686FABBC7}" dt="2020-07-31T22:31:39.368" v="4" actId="47"/>
          <pc:sldLayoutMkLst>
            <pc:docMk/>
            <pc:sldMasterMk cId="2612954595" sldId="2147483660"/>
            <pc:sldLayoutMk cId="1933231954" sldId="2147483668"/>
          </pc:sldLayoutMkLst>
        </pc:sldLayoutChg>
      </pc:sldMasterChg>
    </pc:docChg>
  </pc:docChgLst>
  <pc:docChgLst>
    <pc:chgData name="Mariam Daniela Tristancho Pineda (MISION TEMPORAL LTDA)" userId="a45a17f7-7950-4cb5-bfab-f5c894f959a9" providerId="ADAL" clId="{9D150B60-33B5-4A3E-8123-A67E35AA8D44}"/>
    <pc:docChg chg="undo redo custSel addSld delSld modSld sldOrd">
      <pc:chgData name="Mariam Daniela Tristancho Pineda (MISION TEMPORAL LTDA)" userId="a45a17f7-7950-4cb5-bfab-f5c894f959a9" providerId="ADAL" clId="{9D150B60-33B5-4A3E-8123-A67E35AA8D44}" dt="2020-07-28T21:04:24.766" v="20438" actId="108"/>
      <pc:docMkLst>
        <pc:docMk/>
      </pc:docMkLst>
      <pc:sldChg chg="modSp mod">
        <pc:chgData name="Mariam Daniela Tristancho Pineda (MISION TEMPORAL LTDA)" userId="a45a17f7-7950-4cb5-bfab-f5c894f959a9" providerId="ADAL" clId="{9D150B60-33B5-4A3E-8123-A67E35AA8D44}" dt="2020-07-26T17:23:10.904" v="7075" actId="403"/>
        <pc:sldMkLst>
          <pc:docMk/>
          <pc:sldMk cId="692789810" sldId="2134804140"/>
        </pc:sldMkLst>
        <pc:spChg chg="mod">
          <ac:chgData name="Mariam Daniela Tristancho Pineda (MISION TEMPORAL LTDA)" userId="a45a17f7-7950-4cb5-bfab-f5c894f959a9" providerId="ADAL" clId="{9D150B60-33B5-4A3E-8123-A67E35AA8D44}" dt="2020-07-26T17:23:10.904" v="7075" actId="403"/>
          <ac:spMkLst>
            <pc:docMk/>
            <pc:sldMk cId="692789810" sldId="2134804140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14:45.591" v="4829" actId="14100"/>
          <ac:spMkLst>
            <pc:docMk/>
            <pc:sldMk cId="692789810" sldId="2134804140"/>
            <ac:spMk id="3" creationId="{30F9CFD9-5990-468D-9B1E-2AB69F9844AA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23:59.067" v="1263" actId="47"/>
        <pc:sldMkLst>
          <pc:docMk/>
          <pc:sldMk cId="1994186015" sldId="2134804172"/>
        </pc:sldMkLst>
      </pc:sldChg>
      <pc:sldChg chg="addSp modSp add del mod">
        <pc:chgData name="Mariam Daniela Tristancho Pineda (MISION TEMPORAL LTDA)" userId="a45a17f7-7950-4cb5-bfab-f5c894f959a9" providerId="ADAL" clId="{9D150B60-33B5-4A3E-8123-A67E35AA8D44}" dt="2020-07-24T19:13:56.957" v="4810" actId="47"/>
        <pc:sldMkLst>
          <pc:docMk/>
          <pc:sldMk cId="0" sldId="2134804224"/>
        </pc:sldMkLst>
        <pc:spChg chg="mod">
          <ac:chgData name="Mariam Daniela Tristancho Pineda (MISION TEMPORAL LTDA)" userId="a45a17f7-7950-4cb5-bfab-f5c894f959a9" providerId="ADAL" clId="{9D150B60-33B5-4A3E-8123-A67E35AA8D44}" dt="2020-07-10T20:34:25.488" v="4098" actId="20577"/>
          <ac:spMkLst>
            <pc:docMk/>
            <pc:sldMk cId="0" sldId="2134804224"/>
            <ac:spMk id="17" creationId="{0A6626A3-9098-4058-94D4-CDC309A6EA0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2:41.960" v="4083" actId="20577"/>
          <ac:spMkLst>
            <pc:docMk/>
            <pc:sldMk cId="0" sldId="2134804224"/>
            <ac:spMk id="18" creationId="{E9C7AABE-F2DC-4492-B19F-B7D1033380B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3:43.264" v="4088" actId="14100"/>
          <ac:spMkLst>
            <pc:docMk/>
            <pc:sldMk cId="0" sldId="2134804224"/>
            <ac:spMk id="19" creationId="{0221CE6A-C661-4AE3-AF65-5C5F18AE96E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2:46.738" v="4087" actId="6549"/>
          <ac:spMkLst>
            <pc:docMk/>
            <pc:sldMk cId="0" sldId="2134804224"/>
            <ac:spMk id="20" creationId="{8EDCB9EC-5CC6-4C88-ABEF-5A221B8F523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23:28.254" v="4077" actId="1037"/>
          <ac:spMkLst>
            <pc:docMk/>
            <pc:sldMk cId="0" sldId="2134804224"/>
            <ac:spMk id="24" creationId="{C94A8B38-94CE-428D-8226-8CA003757F5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4:37.338" v="4100" actId="1038"/>
          <ac:spMkLst>
            <pc:docMk/>
            <pc:sldMk cId="0" sldId="2134804224"/>
            <ac:spMk id="26" creationId="{9FB5FB30-7750-4BBC-94D1-1648FEE6A2D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4:21.861" v="4096" actId="20577"/>
          <ac:spMkLst>
            <pc:docMk/>
            <pc:sldMk cId="0" sldId="2134804224"/>
            <ac:spMk id="29" creationId="{81F5B260-C58E-4FA9-BA59-AD1CD91A928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6:24.983" v="4200" actId="20577"/>
          <ac:spMkLst>
            <pc:docMk/>
            <pc:sldMk cId="0" sldId="2134804224"/>
            <ac:spMk id="31" creationId="{0B7C0A75-5BE4-4EA8-9AFC-EBEFF4F8307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35:21.800" v="4198" actId="1076"/>
          <ac:spMkLst>
            <pc:docMk/>
            <pc:sldMk cId="0" sldId="2134804224"/>
            <ac:spMk id="35" creationId="{64296B97-306B-4839-A240-470644F4461A}"/>
          </ac:spMkLst>
        </pc:spChg>
        <pc:cxnChg chg="mod">
          <ac:chgData name="Mariam Daniela Tristancho Pineda (MISION TEMPORAL LTDA)" userId="a45a17f7-7950-4cb5-bfab-f5c894f959a9" providerId="ADAL" clId="{9D150B60-33B5-4A3E-8123-A67E35AA8D44}" dt="2020-07-10T20:23:14.823" v="4070" actId="1038"/>
          <ac:cxnSpMkLst>
            <pc:docMk/>
            <pc:sldMk cId="0" sldId="2134804224"/>
            <ac:cxnSpMk id="22" creationId="{26EBC158-E975-4168-AC5B-B4628843C99A}"/>
          </ac:cxnSpMkLst>
        </pc:cxnChg>
      </pc:sldChg>
      <pc:sldChg chg="modSp mod">
        <pc:chgData name="Mariam Daniela Tristancho Pineda (MISION TEMPORAL LTDA)" userId="a45a17f7-7950-4cb5-bfab-f5c894f959a9" providerId="ADAL" clId="{9D150B60-33B5-4A3E-8123-A67E35AA8D44}" dt="2020-07-28T15:07:28.002" v="20046" actId="20577"/>
        <pc:sldMkLst>
          <pc:docMk/>
          <pc:sldMk cId="1245803374" sldId="2134804241"/>
        </pc:sldMkLst>
        <pc:spChg chg="mod">
          <ac:chgData name="Mariam Daniela Tristancho Pineda (MISION TEMPORAL LTDA)" userId="a45a17f7-7950-4cb5-bfab-f5c894f959a9" providerId="ADAL" clId="{9D150B60-33B5-4A3E-8123-A67E35AA8D44}" dt="2020-07-28T15:07:28.002" v="20046" actId="20577"/>
          <ac:spMkLst>
            <pc:docMk/>
            <pc:sldMk cId="1245803374" sldId="2134804241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09T23:54:04.471" v="245" actId="20577"/>
          <ac:spMkLst>
            <pc:docMk/>
            <pc:sldMk cId="1245803374" sldId="2134804241"/>
            <ac:spMk id="3" creationId="{30F9CFD9-5990-468D-9B1E-2AB69F9844AA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23:54.871" v="1252" actId="47"/>
        <pc:sldMkLst>
          <pc:docMk/>
          <pc:sldMk cId="2937157513" sldId="2134804242"/>
        </pc:sldMkLst>
      </pc:sldChg>
      <pc:sldChg chg="addSp delSp modSp mod">
        <pc:chgData name="Mariam Daniela Tristancho Pineda (MISION TEMPORAL LTDA)" userId="a45a17f7-7950-4cb5-bfab-f5c894f959a9" providerId="ADAL" clId="{9D150B60-33B5-4A3E-8123-A67E35AA8D44}" dt="2020-07-26T22:26:23.872" v="8893" actId="20577"/>
        <pc:sldMkLst>
          <pc:docMk/>
          <pc:sldMk cId="4180204205" sldId="2134804244"/>
        </pc:sldMkLst>
        <pc:spChg chg="mod">
          <ac:chgData name="Mariam Daniela Tristancho Pineda (MISION TEMPORAL LTDA)" userId="a45a17f7-7950-4cb5-bfab-f5c894f959a9" providerId="ADAL" clId="{9D150B60-33B5-4A3E-8123-A67E35AA8D44}" dt="2020-07-10T00:21:41.185" v="1203" actId="2711"/>
          <ac:spMkLst>
            <pc:docMk/>
            <pc:sldMk cId="4180204205" sldId="2134804244"/>
            <ac:spMk id="2" creationId="{B3300C36-B7BE-457A-9E50-205C2C748E4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8:15.572" v="4377" actId="1036"/>
          <ac:spMkLst>
            <pc:docMk/>
            <pc:sldMk cId="4180204205" sldId="2134804244"/>
            <ac:spMk id="3" creationId="{31514E04-D9F2-4C9D-BB7C-0BB641AFCD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22:33.834" v="5202" actId="1076"/>
          <ac:spMkLst>
            <pc:docMk/>
            <pc:sldMk cId="4180204205" sldId="2134804244"/>
            <ac:spMk id="4" creationId="{9B0CE30D-625A-4CD9-98D4-3AF33243D19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2:53.306" v="4794" actId="1036"/>
          <ac:spMkLst>
            <pc:docMk/>
            <pc:sldMk cId="4180204205" sldId="2134804244"/>
            <ac:spMk id="6" creationId="{55EE7FCC-FB41-4574-BCEA-57B0A688D13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2:53.306" v="4794" actId="1036"/>
          <ac:spMkLst>
            <pc:docMk/>
            <pc:sldMk cId="4180204205" sldId="2134804244"/>
            <ac:spMk id="7" creationId="{C77E5E08-9F4D-4DAF-B20A-93D4129094C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3:04.660" v="4803" actId="20577"/>
          <ac:spMkLst>
            <pc:docMk/>
            <pc:sldMk cId="4180204205" sldId="2134804244"/>
            <ac:spMk id="8" creationId="{2A1D56B5-E617-4767-BFA8-8F0B8E4437D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08:32.555" v="644"/>
          <ac:spMkLst>
            <pc:docMk/>
            <pc:sldMk cId="4180204205" sldId="2134804244"/>
            <ac:spMk id="8" creationId="{761993DA-BF0B-4F75-A977-1F4304CF947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00:21:41.185" v="1203" actId="2711"/>
          <ac:spMkLst>
            <pc:docMk/>
            <pc:sldMk cId="4180204205" sldId="2134804244"/>
            <ac:spMk id="9" creationId="{67D111AC-8EEF-4E52-9E92-29F403327CD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10" creationId="{810E18BD-2955-4DB2-AEDB-386E84418C6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3:08.707" v="4805" actId="20577"/>
          <ac:spMkLst>
            <pc:docMk/>
            <pc:sldMk cId="4180204205" sldId="2134804244"/>
            <ac:spMk id="11" creationId="{C22D5D00-87B1-4A75-97EC-BF4025A8BB8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8:15.572" v="4377" actId="1036"/>
          <ac:spMkLst>
            <pc:docMk/>
            <pc:sldMk cId="4180204205" sldId="2134804244"/>
            <ac:spMk id="12" creationId="{96C9E76C-8C7F-489D-82CB-B2BD0385270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19" creationId="{CE9667FC-2EDF-4F30-B9FB-41AC4BCA57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6:23.872" v="8893" actId="20577"/>
          <ac:spMkLst>
            <pc:docMk/>
            <pc:sldMk cId="4180204205" sldId="2134804244"/>
            <ac:spMk id="20" creationId="{92C8D133-E6D8-4045-B204-E026C562109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7:35.739" v="605"/>
          <ac:spMkLst>
            <pc:docMk/>
            <pc:sldMk cId="4180204205" sldId="2134804244"/>
            <ac:spMk id="26" creationId="{3EDC8468-03BA-421C-9E09-E07D908AFD9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35" creationId="{9DF7B7BC-332D-4DF2-85EC-E81A51CF3FB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36" creationId="{86652868-81FD-4001-BD0F-BE56B22051F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3:07.103" v="4804" actId="20577"/>
          <ac:spMkLst>
            <pc:docMk/>
            <pc:sldMk cId="4180204205" sldId="2134804244"/>
            <ac:spMk id="37" creationId="{0BD4E356-8816-4B3F-8E4E-065CF0E6B77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3:09.774" v="4806" actId="20577"/>
          <ac:spMkLst>
            <pc:docMk/>
            <pc:sldMk cId="4180204205" sldId="2134804244"/>
            <ac:spMk id="38" creationId="{7CE03041-BB35-48AF-BD1C-458C2ACCB76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1:46.223" v="365" actId="478"/>
          <ac:spMkLst>
            <pc:docMk/>
            <pc:sldMk cId="4180204205" sldId="2134804244"/>
            <ac:spMk id="40" creationId="{25EFF114-9C03-4A67-908C-727B85061D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2:38.674" v="4779" actId="1036"/>
          <ac:spMkLst>
            <pc:docMk/>
            <pc:sldMk cId="4180204205" sldId="2134804244"/>
            <ac:spMk id="41" creationId="{BEE8051F-F610-483B-B1DD-0C17AAEE384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12:50.137" v="4790" actId="1036"/>
          <ac:spMkLst>
            <pc:docMk/>
            <pc:sldMk cId="4180204205" sldId="2134804244"/>
            <ac:spMk id="43" creationId="{E717706E-1A55-49C0-B079-6DE218F95FC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2:38.674" v="4779" actId="1036"/>
          <ac:spMkLst>
            <pc:docMk/>
            <pc:sldMk cId="4180204205" sldId="2134804244"/>
            <ac:spMk id="44" creationId="{C7ECF83E-FAE2-44DF-A00F-3062D962333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2:38.674" v="4779" actId="1036"/>
          <ac:spMkLst>
            <pc:docMk/>
            <pc:sldMk cId="4180204205" sldId="2134804244"/>
            <ac:spMk id="45" creationId="{293C8658-1109-47C0-B7A1-B53398F7829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1:46.223" v="365" actId="478"/>
          <ac:spMkLst>
            <pc:docMk/>
            <pc:sldMk cId="4180204205" sldId="2134804244"/>
            <ac:spMk id="48" creationId="{BAF27EA9-E3E0-47CF-A76A-8F58AEED0D6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12:38.674" v="4779" actId="1036"/>
          <ac:spMkLst>
            <pc:docMk/>
            <pc:sldMk cId="4180204205" sldId="2134804244"/>
            <ac:spMk id="51" creationId="{C0A2318E-3E25-4819-8017-0D802266D8B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12:38.674" v="4779" actId="1036"/>
          <ac:spMkLst>
            <pc:docMk/>
            <pc:sldMk cId="4180204205" sldId="2134804244"/>
            <ac:spMk id="52" creationId="{FC3592D3-9AB1-446B-A099-2A5C49525B4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3:46.329" v="479" actId="478"/>
          <ac:spMkLst>
            <pc:docMk/>
            <pc:sldMk cId="4180204205" sldId="2134804244"/>
            <ac:spMk id="55" creationId="{24B43721-8F2C-4416-AF8D-9AB7CA3936C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4:22.248" v="516" actId="478"/>
          <ac:spMkLst>
            <pc:docMk/>
            <pc:sldMk cId="4180204205" sldId="2134804244"/>
            <ac:spMk id="57" creationId="{5166C191-948B-4DBA-805B-CFA30673C6A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3:47.984" v="480" actId="478"/>
          <ac:spMkLst>
            <pc:docMk/>
            <pc:sldMk cId="4180204205" sldId="2134804244"/>
            <ac:spMk id="59" creationId="{59ACAE5A-D20F-4C0C-AF16-1F585FF5F4F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60" creationId="{08B50EDD-5E07-4B0E-BA6D-C8614B108A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63" creationId="{FDF3B75C-EF94-43C4-8C4C-4ECAB5FEA69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13:01.613" v="4802" actId="1036"/>
          <ac:spMkLst>
            <pc:docMk/>
            <pc:sldMk cId="4180204205" sldId="2134804244"/>
            <ac:spMk id="72" creationId="{4C4FAA03-A008-46C9-B5AA-909D237F862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1:41.185" v="1203" actId="2711"/>
          <ac:spMkLst>
            <pc:docMk/>
            <pc:sldMk cId="4180204205" sldId="2134804244"/>
            <ac:spMk id="79" creationId="{7A485175-A5E8-48E7-8A26-808AC78F05F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09T23:57:27.516" v="295" actId="478"/>
          <ac:spMkLst>
            <pc:docMk/>
            <pc:sldMk cId="4180204205" sldId="2134804244"/>
            <ac:spMk id="81" creationId="{4416B739-7594-4F6B-8C2D-E62439A38A83}"/>
          </ac:spMkLst>
        </pc:spChg>
        <pc:graphicFrameChg chg="del mod">
          <ac:chgData name="Mariam Daniela Tristancho Pineda (MISION TEMPORAL LTDA)" userId="a45a17f7-7950-4cb5-bfab-f5c894f959a9" providerId="ADAL" clId="{9D150B60-33B5-4A3E-8123-A67E35AA8D44}" dt="2020-07-10T00:02:22.883" v="386" actId="478"/>
          <ac:graphicFrameMkLst>
            <pc:docMk/>
            <pc:sldMk cId="4180204205" sldId="2134804244"/>
            <ac:graphicFrameMk id="23" creationId="{4A6183BD-07A2-48B0-BF8F-A726175DDCE8}"/>
          </ac:graphicFrameMkLst>
        </pc:graphicFrameChg>
        <pc:graphicFrameChg chg="mod modGraphic">
          <ac:chgData name="Mariam Daniela Tristancho Pineda (MISION TEMPORAL LTDA)" userId="a45a17f7-7950-4cb5-bfab-f5c894f959a9" providerId="ADAL" clId="{9D150B60-33B5-4A3E-8123-A67E35AA8D44}" dt="2020-07-10T20:48:15.572" v="4377" actId="1036"/>
          <ac:graphicFrameMkLst>
            <pc:docMk/>
            <pc:sldMk cId="4180204205" sldId="2134804244"/>
            <ac:graphicFrameMk id="28" creationId="{E0B6C621-C19F-4253-9019-98F5B464316F}"/>
          </ac:graphicFrameMkLst>
        </pc:graphicFrameChg>
        <pc:graphicFrameChg chg="mod modGraphic">
          <ac:chgData name="Mariam Daniela Tristancho Pineda (MISION TEMPORAL LTDA)" userId="a45a17f7-7950-4cb5-bfab-f5c894f959a9" providerId="ADAL" clId="{9D150B60-33B5-4A3E-8123-A67E35AA8D44}" dt="2020-07-12T21:56:10.565" v="4612" actId="20577"/>
          <ac:graphicFrameMkLst>
            <pc:docMk/>
            <pc:sldMk cId="4180204205" sldId="2134804244"/>
            <ac:graphicFrameMk id="29" creationId="{2F369745-5DCF-4E94-9909-B52D2D1A1EF4}"/>
          </ac:graphicFrameMkLst>
        </pc:graphicFrameChg>
        <pc:graphicFrameChg chg="mod">
          <ac:chgData name="Mariam Daniela Tristancho Pineda (MISION TEMPORAL LTDA)" userId="a45a17f7-7950-4cb5-bfab-f5c894f959a9" providerId="ADAL" clId="{9D150B60-33B5-4A3E-8123-A67E35AA8D44}" dt="2020-07-10T00:21:41.185" v="1203" actId="2711"/>
          <ac:graphicFrameMkLst>
            <pc:docMk/>
            <pc:sldMk cId="4180204205" sldId="2134804244"/>
            <ac:graphicFrameMk id="39" creationId="{5B59E694-0DBE-4A0B-901D-BEC487255BF4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00:02:37.923" v="391" actId="478"/>
          <ac:graphicFrameMkLst>
            <pc:docMk/>
            <pc:sldMk cId="4180204205" sldId="2134804244"/>
            <ac:graphicFrameMk id="42" creationId="{F76758D9-DF29-4C65-8046-FB9AE5C702A6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8:43:25.772" v="3020" actId="478"/>
          <ac:graphicFrameMkLst>
            <pc:docMk/>
            <pc:sldMk cId="4180204205" sldId="2134804244"/>
            <ac:graphicFrameMk id="49" creationId="{F9FEDD4D-029E-496C-B3C1-822EC9768199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00:04:14.154" v="484" actId="478"/>
          <ac:graphicFrameMkLst>
            <pc:docMk/>
            <pc:sldMk cId="4180204205" sldId="2134804244"/>
            <ac:graphicFrameMk id="53" creationId="{9B5BC4FB-678A-4BCC-A7C0-7BBC44F26319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00:03:42.870" v="477" actId="478"/>
          <ac:graphicFrameMkLst>
            <pc:docMk/>
            <pc:sldMk cId="4180204205" sldId="2134804244"/>
            <ac:graphicFrameMk id="56" creationId="{8CFF7275-2CFD-476E-AC6D-F148C64CF6BF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00:03:44.488" v="478" actId="478"/>
          <ac:graphicFrameMkLst>
            <pc:docMk/>
            <pc:sldMk cId="4180204205" sldId="2134804244"/>
            <ac:graphicFrameMk id="58" creationId="{6199EDC1-5ECC-42C2-8661-38367D51AC10}"/>
          </ac:graphicFrameMkLst>
        </pc:graphicFrameChg>
        <pc:cxnChg chg="mod">
          <ac:chgData name="Mariam Daniela Tristancho Pineda (MISION TEMPORAL LTDA)" userId="a45a17f7-7950-4cb5-bfab-f5c894f959a9" providerId="ADAL" clId="{9D150B60-33B5-4A3E-8123-A67E35AA8D44}" dt="2020-07-10T00:21:41.185" v="1203" actId="2711"/>
          <ac:cxnSpMkLst>
            <pc:docMk/>
            <pc:sldMk cId="4180204205" sldId="2134804244"/>
            <ac:cxnSpMk id="5" creationId="{017DAD00-B855-4E39-8DE1-7636A3DDFC9D}"/>
          </ac:cxnSpMkLst>
        </pc:cxnChg>
      </pc:sldChg>
      <pc:sldChg chg="addSp modSp del mod">
        <pc:chgData name="Mariam Daniela Tristancho Pineda (MISION TEMPORAL LTDA)" userId="a45a17f7-7950-4cb5-bfab-f5c894f959a9" providerId="ADAL" clId="{9D150B60-33B5-4A3E-8123-A67E35AA8D44}" dt="2020-07-24T19:13:42.053" v="4808" actId="47"/>
        <pc:sldMkLst>
          <pc:docMk/>
          <pc:sldMk cId="1803203511" sldId="2134804247"/>
        </pc:sldMkLst>
        <pc:spChg chg="add mod">
          <ac:chgData name="Mariam Daniela Tristancho Pineda (MISION TEMPORAL LTDA)" userId="a45a17f7-7950-4cb5-bfab-f5c894f959a9" providerId="ADAL" clId="{9D150B60-33B5-4A3E-8123-A67E35AA8D44}" dt="2020-07-09T23:53:41.679" v="218" actId="1076"/>
          <ac:spMkLst>
            <pc:docMk/>
            <pc:sldMk cId="1803203511" sldId="2134804247"/>
            <ac:spMk id="37" creationId="{AE71A027-BC87-4778-B471-ABA763B3CA93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23:55.098" v="1253" actId="47"/>
        <pc:sldMkLst>
          <pc:docMk/>
          <pc:sldMk cId="1943757328" sldId="2134804249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5.345" v="1254" actId="47"/>
        <pc:sldMkLst>
          <pc:docMk/>
          <pc:sldMk cId="278280293" sldId="2134804251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5.549" v="1255" actId="47"/>
        <pc:sldMkLst>
          <pc:docMk/>
          <pc:sldMk cId="483722895" sldId="2134804252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5.789" v="1256" actId="47"/>
        <pc:sldMkLst>
          <pc:docMk/>
          <pc:sldMk cId="1431871395" sldId="2134804253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6.296" v="1257" actId="47"/>
        <pc:sldMkLst>
          <pc:docMk/>
          <pc:sldMk cId="1266487272" sldId="2134804254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6.754" v="1258" actId="47"/>
        <pc:sldMkLst>
          <pc:docMk/>
          <pc:sldMk cId="3130492061" sldId="2134804255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7.738" v="1260" actId="47"/>
        <pc:sldMkLst>
          <pc:docMk/>
          <pc:sldMk cId="1287012035" sldId="2134804256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8.185" v="1261" actId="47"/>
        <pc:sldMkLst>
          <pc:docMk/>
          <pc:sldMk cId="2054119121" sldId="2134804258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8.614" v="1262" actId="47"/>
        <pc:sldMkLst>
          <pc:docMk/>
          <pc:sldMk cId="1188541685" sldId="2134804260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4:00.013" v="1265" actId="47"/>
        <pc:sldMkLst>
          <pc:docMk/>
          <pc:sldMk cId="3627326567" sldId="2134804261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4:00.480" v="1266" actId="47"/>
        <pc:sldMkLst>
          <pc:docMk/>
          <pc:sldMk cId="279792768" sldId="2134804262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4:01.317" v="1267" actId="47"/>
        <pc:sldMkLst>
          <pc:docMk/>
          <pc:sldMk cId="3898735964" sldId="2134804263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08:12.759" v="639" actId="47"/>
        <pc:sldMkLst>
          <pc:docMk/>
          <pc:sldMk cId="2248502622" sldId="2134804265"/>
        </pc:sldMkLst>
      </pc:sldChg>
      <pc:sldChg chg="modSp add del mod">
        <pc:chgData name="Mariam Daniela Tristancho Pineda (MISION TEMPORAL LTDA)" userId="a45a17f7-7950-4cb5-bfab-f5c894f959a9" providerId="ADAL" clId="{9D150B60-33B5-4A3E-8123-A67E35AA8D44}" dt="2020-07-24T19:57:35.384" v="6028" actId="47"/>
        <pc:sldMkLst>
          <pc:docMk/>
          <pc:sldMk cId="2598350360" sldId="2134804266"/>
        </pc:sldMkLst>
        <pc:spChg chg="mod">
          <ac:chgData name="Mariam Daniela Tristancho Pineda (MISION TEMPORAL LTDA)" userId="a45a17f7-7950-4cb5-bfab-f5c894f959a9" providerId="ADAL" clId="{9D150B60-33B5-4A3E-8123-A67E35AA8D44}" dt="2020-07-24T19:56:40.546" v="6003" actId="13926"/>
          <ac:spMkLst>
            <pc:docMk/>
            <pc:sldMk cId="2598350360" sldId="2134804266"/>
            <ac:spMk id="14" creationId="{E0A98CA5-866B-405A-B2C6-E53134D6B5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56:52.414" v="6008" actId="13926"/>
          <ac:spMkLst>
            <pc:docMk/>
            <pc:sldMk cId="2598350360" sldId="2134804266"/>
            <ac:spMk id="25" creationId="{52122C38-1D98-4D65-9ADB-852906BB7E2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56:47.174" v="6005" actId="13926"/>
          <ac:spMkLst>
            <pc:docMk/>
            <pc:sldMk cId="2598350360" sldId="2134804266"/>
            <ac:spMk id="26" creationId="{E34C5778-9016-477D-A739-F4CA11E9BC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56:44.206" v="6004" actId="13926"/>
          <ac:spMkLst>
            <pc:docMk/>
            <pc:sldMk cId="2598350360" sldId="2134804266"/>
            <ac:spMk id="27" creationId="{0D5779CF-A7FF-40DC-B295-46922E7434F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56:59.359" v="6009" actId="13926"/>
          <ac:spMkLst>
            <pc:docMk/>
            <pc:sldMk cId="2598350360" sldId="2134804266"/>
            <ac:spMk id="30" creationId="{27F639FA-2ABD-455F-B67E-6322F0CF0F89}"/>
          </ac:spMkLst>
        </pc:spChg>
      </pc:sldChg>
      <pc:sldChg chg="modSp add del mod">
        <pc:chgData name="Mariam Daniela Tristancho Pineda (MISION TEMPORAL LTDA)" userId="a45a17f7-7950-4cb5-bfab-f5c894f959a9" providerId="ADAL" clId="{9D150B60-33B5-4A3E-8123-A67E35AA8D44}" dt="2020-07-27T19:28:02.780" v="11601" actId="47"/>
        <pc:sldMkLst>
          <pc:docMk/>
          <pc:sldMk cId="5164804" sldId="2134804270"/>
        </pc:sldMkLst>
        <pc:spChg chg="mod">
          <ac:chgData name="Mariam Daniela Tristancho Pineda (MISION TEMPORAL LTDA)" userId="a45a17f7-7950-4cb5-bfab-f5c894f959a9" providerId="ADAL" clId="{9D150B60-33B5-4A3E-8123-A67E35AA8D44}" dt="2020-07-26T22:50:38.083" v="9248" actId="20577"/>
          <ac:spMkLst>
            <pc:docMk/>
            <pc:sldMk cId="5164804" sldId="2134804270"/>
            <ac:spMk id="55" creationId="{71D2E868-A54D-4479-B446-29F9C50FDEA5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23:54.293" v="1251" actId="47"/>
        <pc:sldMkLst>
          <pc:docMk/>
          <pc:sldMk cId="913735653" sldId="2134804271"/>
        </pc:sldMkLst>
      </pc:sldChg>
      <pc:sldChg chg="modSp mod">
        <pc:chgData name="Mariam Daniela Tristancho Pineda (MISION TEMPORAL LTDA)" userId="a45a17f7-7950-4cb5-bfab-f5c894f959a9" providerId="ADAL" clId="{9D150B60-33B5-4A3E-8123-A67E35AA8D44}" dt="2020-07-28T15:07:31.864" v="20048" actId="20577"/>
        <pc:sldMkLst>
          <pc:docMk/>
          <pc:sldMk cId="1980531121" sldId="2134804273"/>
        </pc:sldMkLst>
        <pc:spChg chg="mod">
          <ac:chgData name="Mariam Daniela Tristancho Pineda (MISION TEMPORAL LTDA)" userId="a45a17f7-7950-4cb5-bfab-f5c894f959a9" providerId="ADAL" clId="{9D150B60-33B5-4A3E-8123-A67E35AA8D44}" dt="2020-07-28T15:07:31.864" v="20048" actId="20577"/>
          <ac:spMkLst>
            <pc:docMk/>
            <pc:sldMk cId="1980531121" sldId="2134804273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10:28.822" v="885" actId="20577"/>
          <ac:spMkLst>
            <pc:docMk/>
            <pc:sldMk cId="1980531121" sldId="2134804273"/>
            <ac:spMk id="3" creationId="{30F9CFD9-5990-468D-9B1E-2AB69F9844AA}"/>
          </ac:spMkLst>
        </pc:spChg>
      </pc:sldChg>
      <pc:sldChg chg="addSp delSp modSp mod">
        <pc:chgData name="Mariam Daniela Tristancho Pineda (MISION TEMPORAL LTDA)" userId="a45a17f7-7950-4cb5-bfab-f5c894f959a9" providerId="ADAL" clId="{9D150B60-33B5-4A3E-8123-A67E35AA8D44}" dt="2020-07-28T15:07:34.940" v="20050" actId="20577"/>
        <pc:sldMkLst>
          <pc:docMk/>
          <pc:sldMk cId="2406967117" sldId="2134804274"/>
        </pc:sldMkLst>
        <pc:spChg chg="mod">
          <ac:chgData name="Mariam Daniela Tristancho Pineda (MISION TEMPORAL LTDA)" userId="a45a17f7-7950-4cb5-bfab-f5c894f959a9" providerId="ADAL" clId="{9D150B60-33B5-4A3E-8123-A67E35AA8D44}" dt="2020-07-28T15:07:34.940" v="20050" actId="20577"/>
          <ac:spMkLst>
            <pc:docMk/>
            <pc:sldMk cId="2406967117" sldId="2134804274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3:35.286" v="1250" actId="20577"/>
          <ac:spMkLst>
            <pc:docMk/>
            <pc:sldMk cId="2406967117" sldId="2134804274"/>
            <ac:spMk id="3" creationId="{30F9CFD9-5990-468D-9B1E-2AB69F9844A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46:01.561" v="5732" actId="478"/>
          <ac:spMkLst>
            <pc:docMk/>
            <pc:sldMk cId="2406967117" sldId="2134804274"/>
            <ac:spMk id="4" creationId="{C6BB69BF-88FF-4A74-ADFD-C157B112F919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23:57.265" v="1259" actId="47"/>
        <pc:sldMkLst>
          <pc:docMk/>
          <pc:sldMk cId="2802857335" sldId="2134804275"/>
        </pc:sldMkLst>
      </pc:sldChg>
      <pc:sldChg chg="delSp modSp del mod">
        <pc:chgData name="Mariam Daniela Tristancho Pineda (MISION TEMPORAL LTDA)" userId="a45a17f7-7950-4cb5-bfab-f5c894f959a9" providerId="ADAL" clId="{9D150B60-33B5-4A3E-8123-A67E35AA8D44}" dt="2020-07-10T00:27:58.806" v="1340" actId="47"/>
        <pc:sldMkLst>
          <pc:docMk/>
          <pc:sldMk cId="685398324" sldId="2134804277"/>
        </pc:sldMkLst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0" creationId="{581EF6D6-B646-4C41-9412-D3C8807256C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2" creationId="{C439253A-F324-4629-9301-79D1D68D666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5:45.972" v="1336" actId="20577"/>
          <ac:spMkLst>
            <pc:docMk/>
            <pc:sldMk cId="685398324" sldId="2134804277"/>
            <ac:spMk id="53" creationId="{F9C857D3-C5F6-4D00-8D9C-646D1DA6091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57" creationId="{48380FA4-D73B-4203-B6A3-A6970B4FD90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59" creationId="{EAF78979-5F8E-4AF6-BC74-2B4E7343311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69" creationId="{C8FFD2CE-E309-4072-9297-68D81274B40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70" creationId="{10CEAC64-42D3-4879-B6BE-C8E72BFE35E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71" creationId="{90F0F570-83E8-4E69-A9A0-FCCDD1A6305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72" creationId="{4260919B-02F7-4252-A8DC-A6A9A717EDB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97" creationId="{99300021-C267-43BD-A0F5-B3ECE62234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11" creationId="{33054A9A-549A-46EA-92C1-A009641F3BB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12" creationId="{22B5CFB4-BFDC-4A1D-A451-0270A649F5C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55.646" v="1339" actId="478"/>
          <ac:spMkLst>
            <pc:docMk/>
            <pc:sldMk cId="685398324" sldId="2134804277"/>
            <ac:spMk id="117" creationId="{F61C864A-9A93-4E9F-9696-95BA709B906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55.646" v="1339" actId="478"/>
          <ac:spMkLst>
            <pc:docMk/>
            <pc:sldMk cId="685398324" sldId="2134804277"/>
            <ac:spMk id="118" creationId="{3E887259-9725-41DC-84F2-12618F2AEF5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55.646" v="1339" actId="478"/>
          <ac:spMkLst>
            <pc:docMk/>
            <pc:sldMk cId="685398324" sldId="2134804277"/>
            <ac:spMk id="119" creationId="{CF27F8C4-20D0-4D77-B45B-A4590944E79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55.646" v="1339" actId="478"/>
          <ac:spMkLst>
            <pc:docMk/>
            <pc:sldMk cId="685398324" sldId="2134804277"/>
            <ac:spMk id="120" creationId="{2531434F-E118-4E2D-88FB-E9F0792BE55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37" creationId="{F2F1441C-82E3-4978-ADB4-2E81AB714A1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38" creationId="{B7572FF5-C3B2-41FB-AC8B-11068157874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39" creationId="{2227F15F-B01E-49E7-B6F1-35FB5511773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43" creationId="{92043131-3755-4946-AA99-1BAB416E79D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50" creationId="{18B0FAF4-B25E-430A-B44F-BB89581DF8C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52" creationId="{7A395937-9DFA-4F55-91C6-913660069E8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53" creationId="{4D3DF7EF-4C67-47D9-B3B2-1EE8EBA2B40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56" creationId="{E9BCE429-585B-45A6-85A4-C7E36494C46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53.387" v="1338" actId="478"/>
          <ac:spMkLst>
            <pc:docMk/>
            <pc:sldMk cId="685398324" sldId="2134804277"/>
            <ac:spMk id="158" creationId="{7580C1C1-1118-4E58-9C3A-0048861203F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59" creationId="{0414BD16-5AD5-4608-995D-08C9D27746E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60" creationId="{D8414B9E-A552-4BCE-AE55-8089DA4FCB0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61" creationId="{53AD37EB-B346-4460-9981-82CA1C730DF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62" creationId="{340970B5-B4C0-44C0-A487-91F5170AC5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63" creationId="{E68DC65A-93B8-4587-BF1A-B897E00D4BA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64" creationId="{C61A6580-57EA-404B-8AB3-3154ED4D91E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75" creationId="{C6A85CE0-D516-4D47-80B2-B2B61C459D20}"/>
          </ac:spMkLst>
        </pc:spChg>
      </pc:sldChg>
      <pc:sldChg chg="modSp del mod">
        <pc:chgData name="Mariam Daniela Tristancho Pineda (MISION TEMPORAL LTDA)" userId="a45a17f7-7950-4cb5-bfab-f5c894f959a9" providerId="ADAL" clId="{9D150B60-33B5-4A3E-8123-A67E35AA8D44}" dt="2020-07-10T00:43:33.378" v="1973" actId="47"/>
        <pc:sldMkLst>
          <pc:docMk/>
          <pc:sldMk cId="3831308622" sldId="2134804279"/>
        </pc:sldMkLst>
        <pc:spChg chg="mod">
          <ac:chgData name="Mariam Daniela Tristancho Pineda (MISION TEMPORAL LTDA)" userId="a45a17f7-7950-4cb5-bfab-f5c894f959a9" providerId="ADAL" clId="{9D150B60-33B5-4A3E-8123-A67E35AA8D44}" dt="2020-07-10T00:43:25.859" v="1972" actId="208"/>
          <ac:spMkLst>
            <pc:docMk/>
            <pc:sldMk cId="3831308622" sldId="2134804279"/>
            <ac:spMk id="3" creationId="{E0EBDA24-5DF4-4E0C-BF25-069E22B9B23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3:25.859" v="1972" actId="208"/>
          <ac:spMkLst>
            <pc:docMk/>
            <pc:sldMk cId="3831308622" sldId="2134804279"/>
            <ac:spMk id="14" creationId="{B16B2FAC-B20E-4A14-9B33-3B759C960A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3:25.859" v="1972" actId="208"/>
          <ac:spMkLst>
            <pc:docMk/>
            <pc:sldMk cId="3831308622" sldId="2134804279"/>
            <ac:spMk id="16" creationId="{587AC57D-85D0-456B-894A-BDBA6A046E6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3:25.859" v="1972" actId="208"/>
          <ac:spMkLst>
            <pc:docMk/>
            <pc:sldMk cId="3831308622" sldId="2134804279"/>
            <ac:spMk id="57" creationId="{847A2F3C-9402-4AD0-BF56-28ABDAE5925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3:25.859" v="1972" actId="208"/>
          <ac:spMkLst>
            <pc:docMk/>
            <pc:sldMk cId="3831308622" sldId="2134804279"/>
            <ac:spMk id="58" creationId="{DAC27579-E9C2-4134-9476-72F607D7F944}"/>
          </ac:spMkLst>
        </pc:spChg>
      </pc:sldChg>
      <pc:sldChg chg="addSp delSp modSp mod">
        <pc:chgData name="Mariam Daniela Tristancho Pineda (MISION TEMPORAL LTDA)" userId="a45a17f7-7950-4cb5-bfab-f5c894f959a9" providerId="ADAL" clId="{9D150B60-33B5-4A3E-8123-A67E35AA8D44}" dt="2020-07-26T22:27:23.879" v="8958" actId="20577"/>
        <pc:sldMkLst>
          <pc:docMk/>
          <pc:sldMk cId="383958496" sldId="2134804281"/>
        </pc:sldMkLst>
        <pc:spChg chg="mod">
          <ac:chgData name="Mariam Daniela Tristancho Pineda (MISION TEMPORAL LTDA)" userId="a45a17f7-7950-4cb5-bfab-f5c894f959a9" providerId="ADAL" clId="{9D150B60-33B5-4A3E-8123-A67E35AA8D44}" dt="2020-07-10T00:21:57.352" v="1204" actId="2711"/>
          <ac:spMkLst>
            <pc:docMk/>
            <pc:sldMk cId="383958496" sldId="2134804281"/>
            <ac:spMk id="2" creationId="{B3300C36-B7BE-457A-9E50-205C2C748E4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24:51.466" v="5219" actId="20577"/>
          <ac:spMkLst>
            <pc:docMk/>
            <pc:sldMk cId="383958496" sldId="2134804281"/>
            <ac:spMk id="3" creationId="{31514E04-D9F2-4C9D-BB7C-0BB641AFCD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6:13.629" v="2845" actId="20577"/>
          <ac:spMkLst>
            <pc:docMk/>
            <pc:sldMk cId="383958496" sldId="2134804281"/>
            <ac:spMk id="4" creationId="{9B0CE30D-625A-4CD9-98D4-3AF33243D19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5:36:21.156" v="2113" actId="478"/>
          <ac:spMkLst>
            <pc:docMk/>
            <pc:sldMk cId="383958496" sldId="2134804281"/>
            <ac:spMk id="6" creationId="{50DC8E9B-F353-4C46-A8B4-16188DBDD0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5:04.749" v="2803" actId="1037"/>
          <ac:spMkLst>
            <pc:docMk/>
            <pc:sldMk cId="383958496" sldId="2134804281"/>
            <ac:spMk id="10" creationId="{810E18BD-2955-4DB2-AEDB-386E84418C6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2T22:04:06.584" v="4631" actId="12788"/>
          <ac:spMkLst>
            <pc:docMk/>
            <pc:sldMk cId="383958496" sldId="2134804281"/>
            <ac:spMk id="12" creationId="{96C9E76C-8C7F-489D-82CB-B2BD0385270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38:57.336" v="2401" actId="1036"/>
          <ac:spMkLst>
            <pc:docMk/>
            <pc:sldMk cId="383958496" sldId="2134804281"/>
            <ac:spMk id="19" creationId="{CE9667FC-2EDF-4F30-B9FB-41AC4BCA57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6:42.162" v="8950" actId="20577"/>
          <ac:spMkLst>
            <pc:docMk/>
            <pc:sldMk cId="383958496" sldId="2134804281"/>
            <ac:spMk id="20" creationId="{92C8D133-E6D8-4045-B204-E026C562109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44:27.007" v="2486" actId="478"/>
          <ac:spMkLst>
            <pc:docMk/>
            <pc:sldMk cId="383958496" sldId="2134804281"/>
            <ac:spMk id="32" creationId="{2024A44D-6779-4D28-8793-5679E8EF3B12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4T19:24:29.231" v="5208" actId="20577"/>
          <ac:spMkLst>
            <pc:docMk/>
            <pc:sldMk cId="383958496" sldId="2134804281"/>
            <ac:spMk id="33" creationId="{257A51C8-EB6E-4CAA-8ED7-3E4E7C0B3A8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4:26.380" v="5206" actId="20577"/>
          <ac:spMkLst>
            <pc:docMk/>
            <pc:sldMk cId="383958496" sldId="2134804281"/>
            <ac:spMk id="36" creationId="{25CCB3F9-8A57-42B5-B0AC-56F5E0EDACF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57.823" v="2798" actId="1037"/>
          <ac:spMkLst>
            <pc:docMk/>
            <pc:sldMk cId="383958496" sldId="2134804281"/>
            <ac:spMk id="37" creationId="{50BFBD21-058C-4134-A883-5F522F8B0B7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23.812" v="2788" actId="552"/>
          <ac:spMkLst>
            <pc:docMk/>
            <pc:sldMk cId="383958496" sldId="2134804281"/>
            <ac:spMk id="38" creationId="{3552541D-17C8-4822-9A1D-90A0C0B5AD8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38:57.336" v="2401" actId="1036"/>
          <ac:spMkLst>
            <pc:docMk/>
            <pc:sldMk cId="383958496" sldId="2134804281"/>
            <ac:spMk id="40" creationId="{25EFF114-9C03-4A67-908C-727B85061D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41" creationId="{F04142FF-DA42-4442-8692-4F397E7AEFE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25:16.215" v="5220" actId="478"/>
          <ac:spMkLst>
            <pc:docMk/>
            <pc:sldMk cId="383958496" sldId="2134804281"/>
            <ac:spMk id="42" creationId="{BB1A5271-65D9-4273-9167-E26B17CB84C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51:45.976" v="2731" actId="478"/>
          <ac:spMkLst>
            <pc:docMk/>
            <pc:sldMk cId="383958496" sldId="2134804281"/>
            <ac:spMk id="43" creationId="{E717706E-1A55-49C0-B079-6DE218F95FC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41.436" v="2790" actId="12788"/>
          <ac:spMkLst>
            <pc:docMk/>
            <pc:sldMk cId="383958496" sldId="2134804281"/>
            <ac:spMk id="44" creationId="{4B1A9C8A-FFC0-483B-B825-ED5EF0C388A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45" creationId="{8E8CD834-7B34-47C9-9BE7-09ECA14BFCE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5:46:29.606" v="2700"/>
          <ac:spMkLst>
            <pc:docMk/>
            <pc:sldMk cId="383958496" sldId="2134804281"/>
            <ac:spMk id="46" creationId="{E8762829-D67E-4D23-9833-54CF6852BD3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47" creationId="{137B0C4F-8471-4337-954D-6AECA53DF9C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51:47.319" v="2732" actId="478"/>
          <ac:spMkLst>
            <pc:docMk/>
            <pc:sldMk cId="383958496" sldId="2134804281"/>
            <ac:spMk id="48" creationId="{BAF27EA9-E3E0-47CF-A76A-8F58AEED0D6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50" creationId="{5456FCCF-17A3-4C09-BB8D-FFC3C7379B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38:57.336" v="2401" actId="1036"/>
          <ac:spMkLst>
            <pc:docMk/>
            <pc:sldMk cId="383958496" sldId="2134804281"/>
            <ac:spMk id="51" creationId="{C0A2318E-3E25-4819-8017-0D802266D8B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3:59.140" v="2785" actId="1035"/>
          <ac:spMkLst>
            <pc:docMk/>
            <pc:sldMk cId="383958496" sldId="2134804281"/>
            <ac:spMk id="52" creationId="{FC3592D3-9AB1-446B-A099-2A5C49525B4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47:53.722" v="2709" actId="1035"/>
          <ac:spMkLst>
            <pc:docMk/>
            <pc:sldMk cId="383958496" sldId="2134804281"/>
            <ac:spMk id="54" creationId="{18FCD16F-84E8-4671-A091-C0264D48052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3:54.533" v="2776" actId="1036"/>
          <ac:spMkLst>
            <pc:docMk/>
            <pc:sldMk cId="383958496" sldId="2134804281"/>
            <ac:spMk id="55" creationId="{24B43721-8F2C-4416-AF8D-9AB7CA3936C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53:47.480" v="2749" actId="478"/>
          <ac:spMkLst>
            <pc:docMk/>
            <pc:sldMk cId="383958496" sldId="2134804281"/>
            <ac:spMk id="57" creationId="{5166C191-948B-4DBA-805B-CFA30673C6A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4:33.838" v="5210" actId="20577"/>
          <ac:spMkLst>
            <pc:docMk/>
            <pc:sldMk cId="383958496" sldId="2134804281"/>
            <ac:spMk id="58" creationId="{87C0C219-147A-4233-AEBD-D8B263DF291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53:45.695" v="2748" actId="478"/>
          <ac:spMkLst>
            <pc:docMk/>
            <pc:sldMk cId="383958496" sldId="2134804281"/>
            <ac:spMk id="59" creationId="{59ACAE5A-D20F-4C0C-AF16-1F585FF5F4F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23.812" v="2788" actId="552"/>
          <ac:spMkLst>
            <pc:docMk/>
            <pc:sldMk cId="383958496" sldId="2134804281"/>
            <ac:spMk id="60" creationId="{416DD046-D9EC-437D-B3C4-49AE6F9E8B1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4:35.750" v="5212" actId="20577"/>
          <ac:spMkLst>
            <pc:docMk/>
            <pc:sldMk cId="383958496" sldId="2134804281"/>
            <ac:spMk id="61" creationId="{7C69D657-65A5-4E1B-8464-4A04E7AFC33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41.436" v="2790" actId="12788"/>
          <ac:spMkLst>
            <pc:docMk/>
            <pc:sldMk cId="383958496" sldId="2134804281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38:33.008" v="2365" actId="1035"/>
          <ac:spMkLst>
            <pc:docMk/>
            <pc:sldMk cId="383958496" sldId="2134804281"/>
            <ac:spMk id="63" creationId="{FDF3B75C-EF94-43C4-8C4C-4ECAB5FEA69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64" creationId="{61CFA38E-1F3E-49A0-A330-E5F97D5B2A0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65" creationId="{E1D02522-5753-4EFB-951A-5755483EDD9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4:42.185" v="5214" actId="20577"/>
          <ac:spMkLst>
            <pc:docMk/>
            <pc:sldMk cId="383958496" sldId="2134804281"/>
            <ac:spMk id="66" creationId="{6F85F403-E123-4C2D-A378-CDAFE968B9D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23.812" v="2788" actId="552"/>
          <ac:spMkLst>
            <pc:docMk/>
            <pc:sldMk cId="383958496" sldId="2134804281"/>
            <ac:spMk id="67" creationId="{4CC8DF42-E8CE-4AEA-AF20-116C630E45E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4:44.073" v="5216" actId="20577"/>
          <ac:spMkLst>
            <pc:docMk/>
            <pc:sldMk cId="383958496" sldId="2134804281"/>
            <ac:spMk id="68" creationId="{8B5ED806-B54B-4057-B826-24314EC1F9B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41.436" v="2790" actId="12788"/>
          <ac:spMkLst>
            <pc:docMk/>
            <pc:sldMk cId="383958496" sldId="2134804281"/>
            <ac:spMk id="69" creationId="{5A5074EC-7041-463A-BA61-7944DB96350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5:26.795" v="5221" actId="13926"/>
          <ac:spMkLst>
            <pc:docMk/>
            <pc:sldMk cId="383958496" sldId="2134804281"/>
            <ac:spMk id="70" creationId="{A549087F-0234-4CF2-AA9A-E2B491A99C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38:50.090" v="2387" actId="20577"/>
          <ac:spMkLst>
            <pc:docMk/>
            <pc:sldMk cId="383958496" sldId="2134804281"/>
            <ac:spMk id="79" creationId="{7A485175-A5E8-48E7-8A26-808AC78F05F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38:39.511" v="2373" actId="478"/>
          <ac:spMkLst>
            <pc:docMk/>
            <pc:sldMk cId="383958496" sldId="2134804281"/>
            <ac:spMk id="81" creationId="{4416B739-7594-4F6B-8C2D-E62439A38A83}"/>
          </ac:spMkLst>
        </pc:spChg>
        <pc:graphicFrameChg chg="mod modGraphic">
          <ac:chgData name="Mariam Daniela Tristancho Pineda (MISION TEMPORAL LTDA)" userId="a45a17f7-7950-4cb5-bfab-f5c894f959a9" providerId="ADAL" clId="{9D150B60-33B5-4A3E-8123-A67E35AA8D44}" dt="2020-07-24T19:24:48.563" v="5217" actId="2165"/>
          <ac:graphicFrameMkLst>
            <pc:docMk/>
            <pc:sldMk cId="383958496" sldId="2134804281"/>
            <ac:graphicFrameMk id="7" creationId="{C866CA4D-9ED5-4A67-9BF0-26C15AE2AA2C}"/>
          </ac:graphicFrameMkLst>
        </pc:graphicFrameChg>
        <pc:graphicFrameChg chg="del mod modGraphic">
          <ac:chgData name="Mariam Daniela Tristancho Pineda (MISION TEMPORAL LTDA)" userId="a45a17f7-7950-4cb5-bfab-f5c894f959a9" providerId="ADAL" clId="{9D150B60-33B5-4A3E-8123-A67E35AA8D44}" dt="2020-07-10T15:37:06.082" v="2202" actId="478"/>
          <ac:graphicFrameMkLst>
            <pc:docMk/>
            <pc:sldMk cId="383958496" sldId="2134804281"/>
            <ac:graphicFrameMk id="8" creationId="{4BC9CEDC-F82B-45AF-A5D9-6BBEFDB86658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25.258" v="2294" actId="478"/>
          <ac:graphicFrameMkLst>
            <pc:docMk/>
            <pc:sldMk cId="383958496" sldId="2134804281"/>
            <ac:graphicFrameMk id="23" creationId="{4A6183BD-07A2-48B0-BF8F-A726175DDCE8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21.445" v="2293" actId="478"/>
          <ac:graphicFrameMkLst>
            <pc:docMk/>
            <pc:sldMk cId="383958496" sldId="2134804281"/>
            <ac:graphicFrameMk id="34" creationId="{02B2869B-7E4D-490B-8846-042149DA7C69}"/>
          </ac:graphicFrameMkLst>
        </pc:graphicFrameChg>
        <pc:graphicFrameChg chg="add mod modGraphic">
          <ac:chgData name="Mariam Daniela Tristancho Pineda (MISION TEMPORAL LTDA)" userId="a45a17f7-7950-4cb5-bfab-f5c894f959a9" providerId="ADAL" clId="{9D150B60-33B5-4A3E-8123-A67E35AA8D44}" dt="2020-07-26T22:27:23.879" v="8958" actId="20577"/>
          <ac:graphicFrameMkLst>
            <pc:docMk/>
            <pc:sldMk cId="383958496" sldId="2134804281"/>
            <ac:graphicFrameMk id="35" creationId="{D6562056-B40E-47F9-9726-6C4C21F304AB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29.060" v="2296" actId="478"/>
          <ac:graphicFrameMkLst>
            <pc:docMk/>
            <pc:sldMk cId="383958496" sldId="2134804281"/>
            <ac:graphicFrameMk id="39" creationId="{5B59E694-0DBE-4A0B-901D-BEC487255BF4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18.071" v="2292" actId="478"/>
          <ac:graphicFrameMkLst>
            <pc:docMk/>
            <pc:sldMk cId="383958496" sldId="2134804281"/>
            <ac:graphicFrameMk id="42" creationId="{F76758D9-DF29-4C65-8046-FB9AE5C702A6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26.672" v="2295" actId="478"/>
          <ac:graphicFrameMkLst>
            <pc:docMk/>
            <pc:sldMk cId="383958496" sldId="2134804281"/>
            <ac:graphicFrameMk id="49" creationId="{F9FEDD4D-029E-496C-B3C1-822EC9768199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30.898" v="2297" actId="478"/>
          <ac:graphicFrameMkLst>
            <pc:docMk/>
            <pc:sldMk cId="383958496" sldId="2134804281"/>
            <ac:graphicFrameMk id="53" creationId="{9B5BC4FB-678A-4BCC-A7C0-7BBC44F26319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48:45.801" v="2728" actId="478"/>
          <ac:graphicFrameMkLst>
            <pc:docMk/>
            <pc:sldMk cId="383958496" sldId="2134804281"/>
            <ac:graphicFrameMk id="56" creationId="{8CFF7275-2CFD-476E-AC6D-F148C64CF6BF}"/>
          </ac:graphicFrameMkLst>
        </pc:graphicFrameChg>
        <pc:cxnChg chg="mod">
          <ac:chgData name="Mariam Daniela Tristancho Pineda (MISION TEMPORAL LTDA)" userId="a45a17f7-7950-4cb5-bfab-f5c894f959a9" providerId="ADAL" clId="{9D150B60-33B5-4A3E-8123-A67E35AA8D44}" dt="2020-07-10T00:21:57.352" v="1204" actId="2711"/>
          <ac:cxnSpMkLst>
            <pc:docMk/>
            <pc:sldMk cId="383958496" sldId="2134804281"/>
            <ac:cxnSpMk id="5" creationId="{017DAD00-B855-4E39-8DE1-7636A3DDFC9D}"/>
          </ac:cxnSpMkLst>
        </pc:cxnChg>
      </pc:sldChg>
      <pc:sldChg chg="addSp modSp del">
        <pc:chgData name="Mariam Daniela Tristancho Pineda (MISION TEMPORAL LTDA)" userId="a45a17f7-7950-4cb5-bfab-f5c894f959a9" providerId="ADAL" clId="{9D150B60-33B5-4A3E-8123-A67E35AA8D44}" dt="2020-07-10T15:55:21.858" v="2804" actId="47"/>
        <pc:sldMkLst>
          <pc:docMk/>
          <pc:sldMk cId="4094272692" sldId="2134804282"/>
        </pc:sldMkLst>
        <pc:spChg chg="add mod">
          <ac:chgData name="Mariam Daniela Tristancho Pineda (MISION TEMPORAL LTDA)" userId="a45a17f7-7950-4cb5-bfab-f5c894f959a9" providerId="ADAL" clId="{9D150B60-33B5-4A3E-8123-A67E35AA8D44}" dt="2020-07-10T00:24:23.764" v="1268"/>
          <ac:spMkLst>
            <pc:docMk/>
            <pc:sldMk cId="4094272692" sldId="2134804282"/>
            <ac:spMk id="43" creationId="{7E37C56E-1AD4-454F-B61C-47D9500167F9}"/>
          </ac:spMkLst>
        </pc:sp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1:37.727" v="19906"/>
        <pc:sldMkLst>
          <pc:docMk/>
          <pc:sldMk cId="2275827461" sldId="2134804285"/>
        </pc:sldMkLst>
        <pc:spChg chg="add del mod">
          <ac:chgData name="Mariam Daniela Tristancho Pineda (MISION TEMPORAL LTDA)" userId="a45a17f7-7950-4cb5-bfab-f5c894f959a9" providerId="ADAL" clId="{9D150B60-33B5-4A3E-8123-A67E35AA8D44}" dt="2020-07-10T00:13:22.606" v="1011" actId="478"/>
          <ac:spMkLst>
            <pc:docMk/>
            <pc:sldMk cId="2275827461" sldId="2134804285"/>
            <ac:spMk id="13" creationId="{D19CC98A-58A9-49CC-ABD9-BEECE4DFA5E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4" creationId="{D61F5B8D-7F7A-434C-9BAD-9A223528520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5" creationId="{DDB8AC60-6664-4D26-A9C6-01D8D38CE8F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6" creationId="{9F040BA7-7DEC-4DC5-AB68-7C722B5BB04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7" creationId="{61728F84-7867-4F1D-9BFE-00AEAF30695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8" creationId="{AF29ABB6-15D6-4B90-BAD8-7F9885E9312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9" creationId="{8DCC61BE-CC87-4D0D-9E0E-65D1A81DAD0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0" creationId="{50DAA493-1B46-4D68-99FD-F9BDA2477D9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1" creationId="{FCFE65B7-3A35-4722-84A8-FEC6DADDBA4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2" creationId="{7565957D-73CC-497F-A9EE-BA5F2A79250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3" creationId="{2090C287-4A91-45B9-8277-A5A2EF2B34A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24" creationId="{E2879BF4-3737-4AC6-B465-1CF1AF3E1F9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5" creationId="{8E78EDE9-40A1-48AE-9549-373B04A21BE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6" creationId="{DDE70F6C-1ADB-475F-BE97-D0A8A27E8FE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7" creationId="{C90699C9-D1A5-4C87-8409-4DD5B288FE4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28" creationId="{BC582D1C-62FB-462B-8D05-EC8322DDD14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29" creationId="{E50D154A-11C9-4F63-9394-5EF2467B56B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30" creationId="{C156CE3D-16EE-49EE-904D-71080266C6E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31" creationId="{2C51724D-07D9-4B33-AD6D-C2F7A19ED4B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32" creationId="{64896952-16ED-4D8B-AA4F-E2066AC31EB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33" creationId="{43ADCF73-71A7-4D57-A570-ED4DC3C68FA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34" creationId="{93EEA888-40E1-47F9-9D02-1BAAFE6CDE5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22:22.731" v="1209" actId="478"/>
          <ac:spMkLst>
            <pc:docMk/>
            <pc:sldMk cId="2275827461" sldId="2134804285"/>
            <ac:spMk id="35" creationId="{C635686A-F62E-4B36-9B0E-829B69C40B6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2:29.205" v="1212" actId="20577"/>
          <ac:spMkLst>
            <pc:docMk/>
            <pc:sldMk cId="2275827461" sldId="2134804285"/>
            <ac:spMk id="55" creationId="{71D2E868-A54D-4479-B446-29F9C50FDEA5}"/>
          </ac:spMkLst>
        </pc:spChg>
      </pc:sldChg>
      <pc:sldChg chg="addSp delSp modSp add del mod ord">
        <pc:chgData name="Mariam Daniela Tristancho Pineda (MISION TEMPORAL LTDA)" userId="a45a17f7-7950-4cb5-bfab-f5c894f959a9" providerId="ADAL" clId="{9D150B60-33B5-4A3E-8123-A67E35AA8D44}" dt="2020-07-24T19:56:13.400" v="6001" actId="47"/>
        <pc:sldMkLst>
          <pc:docMk/>
          <pc:sldMk cId="3055166102" sldId="2134804286"/>
        </pc:sldMkLst>
        <pc:spChg chg="add mod">
          <ac:chgData name="Mariam Daniela Tristancho Pineda (MISION TEMPORAL LTDA)" userId="a45a17f7-7950-4cb5-bfab-f5c894f959a9" providerId="ADAL" clId="{9D150B60-33B5-4A3E-8123-A67E35AA8D44}" dt="2020-07-10T00:38:30.304" v="1800" actId="20577"/>
          <ac:spMkLst>
            <pc:docMk/>
            <pc:sldMk cId="3055166102" sldId="2134804286"/>
            <ac:spMk id="13" creationId="{33B65FF6-B39D-45B1-AB23-3C66F0DEA0D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00:38:23.989" v="1796"/>
          <ac:spMkLst>
            <pc:docMk/>
            <pc:sldMk cId="3055166102" sldId="2134804286"/>
            <ac:spMk id="14" creationId="{1D58B6D0-ACCB-49AE-8284-7F06120384F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21:41.576" v="2104" actId="1035"/>
          <ac:spMkLst>
            <pc:docMk/>
            <pc:sldMk cId="3055166102" sldId="2134804286"/>
            <ac:spMk id="15" creationId="{52E094AF-BB5A-4C00-89E7-8185748C66E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00:38:23.989" v="1796"/>
          <ac:spMkLst>
            <pc:docMk/>
            <pc:sldMk cId="3055166102" sldId="2134804286"/>
            <ac:spMk id="16" creationId="{F9DFE5BB-6E8B-41AB-8B28-E56E707CA97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21:41.576" v="2104" actId="1035"/>
          <ac:spMkLst>
            <pc:docMk/>
            <pc:sldMk cId="3055166102" sldId="2134804286"/>
            <ac:spMk id="17" creationId="{645161B5-0B35-4100-BA91-3AECF31C989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0" creationId="{50DAA493-1B46-4D68-99FD-F9BDA2477D9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1" creationId="{FCFE65B7-3A35-4722-84A8-FEC6DADDBA4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2" creationId="{7565957D-73CC-497F-A9EE-BA5F2A79250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3" creationId="{2090C287-4A91-45B9-8277-A5A2EF2B34A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5" creationId="{8E78EDE9-40A1-48AE-9549-373B04A21BE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6" creationId="{DDE70F6C-1ADB-475F-BE97-D0A8A27E8FE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7" creationId="{C90699C9-D1A5-4C87-8409-4DD5B288FE4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7:42.824" v="2955" actId="122"/>
          <ac:spMkLst>
            <pc:docMk/>
            <pc:sldMk cId="3055166102" sldId="2134804286"/>
            <ac:spMk id="55" creationId="{71D2E868-A54D-4479-B446-29F9C50FDEA5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08:11.172" v="638" actId="47"/>
        <pc:sldMkLst>
          <pc:docMk/>
          <pc:sldMk cId="3972105642" sldId="2134804288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08:16.213" v="641" actId="47"/>
        <pc:sldMkLst>
          <pc:docMk/>
          <pc:sldMk cId="2228275924" sldId="2134804290"/>
        </pc:sldMkLst>
      </pc:sldChg>
      <pc:sldChg chg="addSp delSp modSp add del mod">
        <pc:chgData name="Mariam Daniela Tristancho Pineda (MISION TEMPORAL LTDA)" userId="a45a17f7-7950-4cb5-bfab-f5c894f959a9" providerId="ADAL" clId="{9D150B60-33B5-4A3E-8123-A67E35AA8D44}" dt="2020-07-28T01:21:29.199" v="17798" actId="1037"/>
        <pc:sldMkLst>
          <pc:docMk/>
          <pc:sldMk cId="838099151" sldId="2134804292"/>
        </pc:sldMkLst>
        <pc:spChg chg="del mod">
          <ac:chgData name="Mariam Daniela Tristancho Pineda (MISION TEMPORAL LTDA)" userId="a45a17f7-7950-4cb5-bfab-f5c894f959a9" providerId="ADAL" clId="{9D150B60-33B5-4A3E-8123-A67E35AA8D44}" dt="2020-07-26T22:04:54.928" v="8240" actId="478"/>
          <ac:spMkLst>
            <pc:docMk/>
            <pc:sldMk cId="838099151" sldId="2134804292"/>
            <ac:spMk id="3" creationId="{815B10B7-60B3-4C63-8431-70CC556387C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48:20.032" v="5765" actId="478"/>
          <ac:spMkLst>
            <pc:docMk/>
            <pc:sldMk cId="838099151" sldId="2134804292"/>
            <ac:spMk id="6" creationId="{0E98584C-06A2-43D1-B69A-3ABD175D9D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6" creationId="{7C2A44B1-15E0-4161-B44E-FC754DFB17D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19:31.389" v="8652" actId="1036"/>
          <ac:spMkLst>
            <pc:docMk/>
            <pc:sldMk cId="838099151" sldId="2134804292"/>
            <ac:spMk id="6" creationId="{A9FC1669-8563-4947-A85B-80C35CC6BD2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54:25.015" v="5971" actId="478"/>
          <ac:spMkLst>
            <pc:docMk/>
            <pc:sldMk cId="838099151" sldId="2134804292"/>
            <ac:spMk id="7" creationId="{024B8272-112C-4C14-8DF3-10C935D2C87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24:58.514" v="8855" actId="20577"/>
          <ac:spMkLst>
            <pc:docMk/>
            <pc:sldMk cId="838099151" sldId="2134804292"/>
            <ac:spMk id="8" creationId="{CDD6FB7B-B3B4-4668-9658-313DFA2F74A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9" creationId="{CDF0DD0C-547C-45EB-84E9-31024BC2AB4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10" creationId="{932D6F42-121D-4491-9661-3F173EACB5A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1:57.169" v="8376" actId="478"/>
          <ac:spMkLst>
            <pc:docMk/>
            <pc:sldMk cId="838099151" sldId="2134804292"/>
            <ac:spMk id="11" creationId="{31F591A6-EBE0-4A30-92F4-2452253EC99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2" creationId="{FC7A27F7-4EDF-43A9-AE3F-0DB54555121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25:31.848" v="8875" actId="20577"/>
          <ac:spMkLst>
            <pc:docMk/>
            <pc:sldMk cId="838099151" sldId="2134804292"/>
            <ac:spMk id="13" creationId="{1D767C63-C148-4613-A16C-E07206BC1C3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4" creationId="{A90CC0BF-59B4-4E07-8AB8-70530EDAF99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5" creationId="{02FEB3CE-1C52-4F50-8679-8DF6DFF3365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21:02.151" v="8684" actId="1036"/>
          <ac:spMkLst>
            <pc:docMk/>
            <pc:sldMk cId="838099151" sldId="2134804292"/>
            <ac:spMk id="16" creationId="{17B85CDC-D40D-4B9D-AE6E-A8B97692AD5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7" creationId="{4632E4AE-1E7C-4BDF-969C-8E92598DB5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8" creationId="{E59400F2-1961-43D8-BA22-1D12B86AEE0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0" creationId="{37A910F5-8E91-4B88-9D98-7160D4B4DD1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1" creationId="{7F34E083-EFAC-40FC-A601-AA5F3E6F613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2" creationId="{30811115-E36E-4A9B-A391-8091BEE4AE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3" creationId="{A29AB2FD-613B-4118-A4A2-6F616E5815D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4" creationId="{DA695E3D-F1AC-4902-8E5C-1E1EA89B8FA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5" creationId="{254F2341-8C11-4C73-8AB4-027EFD64C59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23:18.899" v="8834" actId="478"/>
          <ac:spMkLst>
            <pc:docMk/>
            <pc:sldMk cId="838099151" sldId="2134804292"/>
            <ac:spMk id="26" creationId="{CFCEFA50-77FA-4D47-AAED-75B0FAFD458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7" creationId="{850C74CA-5765-47D2-8803-F51AE2D7940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40" creationId="{1E119E4D-51ED-4CD8-8FEF-E5E9E94AD24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04:59.193" v="8243" actId="478"/>
          <ac:spMkLst>
            <pc:docMk/>
            <pc:sldMk cId="838099151" sldId="2134804292"/>
            <ac:spMk id="41" creationId="{6823F56F-10DD-46EC-8323-666E6F6DAC6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2:33.450" v="5958" actId="478"/>
          <ac:spMkLst>
            <pc:docMk/>
            <pc:sldMk cId="838099151" sldId="2134804292"/>
            <ac:spMk id="42" creationId="{B45F1222-7108-4E61-A491-6A5E1CCEE6D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45" creationId="{FE8ED9F7-3608-4810-95FA-CCA357FF8DD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47:31.888" v="5751" actId="478"/>
          <ac:spMkLst>
            <pc:docMk/>
            <pc:sldMk cId="838099151" sldId="2134804292"/>
            <ac:spMk id="46" creationId="{37613081-A8A7-4283-97BA-0F79BCAFB2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9:31.389" v="8652" actId="1036"/>
          <ac:spMkLst>
            <pc:docMk/>
            <pc:sldMk cId="838099151" sldId="2134804292"/>
            <ac:spMk id="49" creationId="{2415F8F2-3DA7-41EF-8038-82DFF151E6C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spMkLst>
            <pc:docMk/>
            <pc:sldMk cId="838099151" sldId="2134804292"/>
            <ac:spMk id="50" creationId="{A2CBE4FF-3B72-4BCB-96B5-AC49A9C0724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spMkLst>
            <pc:docMk/>
            <pc:sldMk cId="838099151" sldId="2134804292"/>
            <ac:spMk id="51" creationId="{A17D1840-C920-480A-86B8-CC9130D9E66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spMkLst>
            <pc:docMk/>
            <pc:sldMk cId="838099151" sldId="2134804292"/>
            <ac:spMk id="52" creationId="{9F2A52C4-F18A-4C3F-B272-BA172316667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47.512" v="9027" actId="14100"/>
          <ac:spMkLst>
            <pc:docMk/>
            <pc:sldMk cId="838099151" sldId="2134804292"/>
            <ac:spMk id="53" creationId="{F9C857D3-C5F6-4D00-8D9C-646D1DA6091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21:29.199" v="17798" actId="1037"/>
          <ac:spMkLst>
            <pc:docMk/>
            <pc:sldMk cId="838099151" sldId="2134804292"/>
            <ac:spMk id="54" creationId="{C38A9719-1AF0-4D7F-AF9E-714FBC13357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spMkLst>
            <pc:docMk/>
            <pc:sldMk cId="838099151" sldId="2134804292"/>
            <ac:spMk id="55" creationId="{A00678AB-A5D6-4A0C-A43C-E011B1D6518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02.427" v="3173" actId="465"/>
          <ac:spMkLst>
            <pc:docMk/>
            <pc:sldMk cId="838099151" sldId="2134804292"/>
            <ac:spMk id="55" creationId="{E5843E8D-DE77-4A98-83D3-1B69B589383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02.427" v="3173" actId="465"/>
          <ac:spMkLst>
            <pc:docMk/>
            <pc:sldMk cId="838099151" sldId="2134804292"/>
            <ac:spMk id="56" creationId="{34103625-66EE-445B-B7BE-2B9E31D475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05.763" v="3179" actId="1036"/>
          <ac:spMkLst>
            <pc:docMk/>
            <pc:sldMk cId="838099151" sldId="2134804292"/>
            <ac:spMk id="57" creationId="{31A2647C-53EA-44C0-AFA0-A27C3942FF4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spMkLst>
            <pc:docMk/>
            <pc:sldMk cId="838099151" sldId="2134804292"/>
            <ac:spMk id="57" creationId="{B7993C49-F6AE-457C-A931-8106261BE66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5:51.806" v="3127" actId="1036"/>
          <ac:spMkLst>
            <pc:docMk/>
            <pc:sldMk cId="838099151" sldId="2134804292"/>
            <ac:spMk id="58" creationId="{1783D2D3-D240-49BF-9DB4-3DFB6C80684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59" creationId="{E6E57732-6AA9-477E-B654-2E4CAAE03A4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4:22.226" v="3110" actId="12788"/>
          <ac:spMkLst>
            <pc:docMk/>
            <pc:sldMk cId="838099151" sldId="2134804292"/>
            <ac:spMk id="59" creationId="{F7F40CCA-ABAE-4078-88E6-9D138D69C82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0" creationId="{13753559-7818-4C9F-B4A7-932EC94979C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4:22.226" v="3110" actId="12788"/>
          <ac:spMkLst>
            <pc:docMk/>
            <pc:sldMk cId="838099151" sldId="2134804292"/>
            <ac:spMk id="60" creationId="{18EB7B77-27AD-4C26-B483-B5E8819775F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2" creationId="{13424565-63AC-496C-A71B-F9DAA34AD75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0.251" v="3140" actId="465"/>
          <ac:spMkLst>
            <pc:docMk/>
            <pc:sldMk cId="838099151" sldId="2134804292"/>
            <ac:spMk id="62" creationId="{79CE826B-7F6B-4F4B-BA67-5F3C9A8CF76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3" creationId="{495373B9-9C28-41EC-B70D-897E3C2455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5" creationId="{523313B9-624F-40B6-9CA3-DD2215406FF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6" creationId="{A9976791-D1AC-495F-A5CF-0D14B23B4DD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8" creationId="{6A15DFB9-8423-4D1B-8A76-DE8C62CD1D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9" creationId="{4F4821D9-A5C6-4CC4-A15F-5F63273736A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71" creationId="{09F4D481-6E28-4C9B-BD5D-78193D783A3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0.251" v="3140" actId="465"/>
          <ac:spMkLst>
            <pc:docMk/>
            <pc:sldMk cId="838099151" sldId="2134804292"/>
            <ac:spMk id="71" creationId="{A0731C0B-7452-4501-ACFA-4F9917D02AB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1:09.573" v="8685" actId="1036"/>
          <ac:spMkLst>
            <pc:docMk/>
            <pc:sldMk cId="838099151" sldId="2134804292"/>
            <ac:spMk id="72" creationId="{41E8D21E-9982-4381-835B-4E9BF24C494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45.885" v="3169" actId="1036"/>
          <ac:spMkLst>
            <pc:docMk/>
            <pc:sldMk cId="838099151" sldId="2134804292"/>
            <ac:spMk id="72" creationId="{D3D1EBBD-B6D6-4565-8797-5867297482B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48.218" v="3172" actId="1036"/>
          <ac:spMkLst>
            <pc:docMk/>
            <pc:sldMk cId="838099151" sldId="2134804292"/>
            <ac:spMk id="73" creationId="{017CE56D-EF3B-40D7-BF7E-7C063A15286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3:09.818" v="8830" actId="113"/>
          <ac:spMkLst>
            <pc:docMk/>
            <pc:sldMk cId="838099151" sldId="2134804292"/>
            <ac:spMk id="73" creationId="{08A90E6D-EB7D-4592-82AD-5783DEEAF28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74" creationId="{62852506-D68C-429F-929F-326A2C7971D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0.251" v="3140" actId="465"/>
          <ac:spMkLst>
            <pc:docMk/>
            <pc:sldMk cId="838099151" sldId="2134804292"/>
            <ac:spMk id="74" creationId="{9BDCE0A3-E572-4F14-8134-5473B4BB8ED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75" creationId="{6101B1AE-0D80-4B06-82AC-68549D1BB4B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76" creationId="{1466E071-2318-42C6-BCAE-8156C989684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0.251" v="3140" actId="465"/>
          <ac:spMkLst>
            <pc:docMk/>
            <pc:sldMk cId="838099151" sldId="2134804292"/>
            <ac:spMk id="76" creationId="{98FDB50E-90E7-4372-BCEE-F84731427F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5:51.806" v="3127" actId="1036"/>
          <ac:spMkLst>
            <pc:docMk/>
            <pc:sldMk cId="838099151" sldId="2134804292"/>
            <ac:spMk id="77" creationId="{0835BF0D-7607-47F1-8842-3137F277D1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78" creationId="{7C2E2372-4E32-43A6-99BD-19C851E7C7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09.850" v="3190" actId="1036"/>
          <ac:spMkLst>
            <pc:docMk/>
            <pc:sldMk cId="838099151" sldId="2134804292"/>
            <ac:spMk id="79" creationId="{3E0B78C6-ABEB-4B0B-882E-9C0544772F9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79" creationId="{E9A99CAF-D36E-4FF8-8EBB-58AD1CB9238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80" creationId="{873CFAA6-FC7F-45D2-92E6-DAAD1C2983D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81" creationId="{3BE7021F-7134-46E3-90D1-C69BBAE2A0E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3:06.347" v="3103" actId="408"/>
          <ac:spMkLst>
            <pc:docMk/>
            <pc:sldMk cId="838099151" sldId="2134804292"/>
            <ac:spMk id="81" creationId="{CD1A0964-34FB-4EA7-8C35-CE65C810D6A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6:07.050" v="8566" actId="478"/>
          <ac:spMkLst>
            <pc:docMk/>
            <pc:sldMk cId="838099151" sldId="2134804292"/>
            <ac:spMk id="82" creationId="{68A35470-ABD4-4C25-B7B1-5E181FAB83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82" creationId="{F356276F-95A8-4D9D-A3D9-51171A0292F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6:06.125" v="8565" actId="478"/>
          <ac:spMkLst>
            <pc:docMk/>
            <pc:sldMk cId="838099151" sldId="2134804292"/>
            <ac:spMk id="83" creationId="{AE54F04F-D404-497E-809B-3F849EF82DB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4:36.222" v="5983" actId="478"/>
          <ac:spMkLst>
            <pc:docMk/>
            <pc:sldMk cId="838099151" sldId="2134804292"/>
            <ac:spMk id="84" creationId="{18C28815-054E-43C3-8C6D-2901ECFF8DD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37.317" v="3090" actId="1038"/>
          <ac:spMkLst>
            <pc:docMk/>
            <pc:sldMk cId="838099151" sldId="2134804292"/>
            <ac:spMk id="84" creationId="{293DBAF3-3942-4C58-8A63-D4484E215E2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6:04.706" v="8564" actId="478"/>
          <ac:spMkLst>
            <pc:docMk/>
            <pc:sldMk cId="838099151" sldId="2134804292"/>
            <ac:spMk id="84" creationId="{B6966F2C-5DB4-4513-93B3-B951C337B0A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4:36.955" v="5984" actId="478"/>
          <ac:spMkLst>
            <pc:docMk/>
            <pc:sldMk cId="838099151" sldId="2134804292"/>
            <ac:spMk id="85" creationId="{23D1103A-6DD4-491B-B095-1A0231D044E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6:04.706" v="8564" actId="478"/>
          <ac:spMkLst>
            <pc:docMk/>
            <pc:sldMk cId="838099151" sldId="2134804292"/>
            <ac:spMk id="85" creationId="{CF62E66A-FC24-4EDB-8025-EE240A08691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6:04.706" v="8564" actId="478"/>
          <ac:spMkLst>
            <pc:docMk/>
            <pc:sldMk cId="838099151" sldId="2134804292"/>
            <ac:spMk id="86" creationId="{3D65BE33-49D3-454F-8D42-F9F37251871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37.317" v="3090" actId="1038"/>
          <ac:spMkLst>
            <pc:docMk/>
            <pc:sldMk cId="838099151" sldId="2134804292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1:09.573" v="8685" actId="1036"/>
          <ac:spMkLst>
            <pc:docMk/>
            <pc:sldMk cId="838099151" sldId="2134804292"/>
            <ac:spMk id="88" creationId="{F9578A02-E162-4167-98BC-7A5265BC5FF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41.997" v="3165" actId="1036"/>
          <ac:spMkLst>
            <pc:docMk/>
            <pc:sldMk cId="838099151" sldId="2134804292"/>
            <ac:spMk id="89" creationId="{CA6A86BF-8AE3-49E3-8AEA-D2ED5D0D8C4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1:09.573" v="8685" actId="1036"/>
          <ac:spMkLst>
            <pc:docMk/>
            <pc:sldMk cId="838099151" sldId="2134804292"/>
            <ac:spMk id="89" creationId="{D8E9CA48-03D1-4197-9C62-0C7C1EDBC53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9.316" v="3160" actId="1036"/>
          <ac:spMkLst>
            <pc:docMk/>
            <pc:sldMk cId="838099151" sldId="2134804292"/>
            <ac:spMk id="90" creationId="{0661D48B-FF76-4EA0-9CB0-F0D51B6451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1:09.573" v="8685" actId="1036"/>
          <ac:spMkLst>
            <pc:docMk/>
            <pc:sldMk cId="838099151" sldId="2134804292"/>
            <ac:spMk id="90" creationId="{189D5391-3F5F-4F14-B976-20E6562B27F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9:41.798" v="8299" actId="478"/>
          <ac:spMkLst>
            <pc:docMk/>
            <pc:sldMk cId="838099151" sldId="2134804292"/>
            <ac:spMk id="91" creationId="{86027C77-543B-45CC-A593-F11606CAD52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0:03.530" v="8303" actId="478"/>
          <ac:spMkLst>
            <pc:docMk/>
            <pc:sldMk cId="838099151" sldId="2134804292"/>
            <ac:spMk id="92" creationId="{86027C77-543B-45CC-A593-F11606CAD52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0:19.972" v="8307" actId="478"/>
          <ac:spMkLst>
            <pc:docMk/>
            <pc:sldMk cId="838099151" sldId="2134804292"/>
            <ac:spMk id="93" creationId="{86027C77-543B-45CC-A593-F11606CAD52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1:28.633" v="8352" actId="478"/>
          <ac:spMkLst>
            <pc:docMk/>
            <pc:sldMk cId="838099151" sldId="2134804292"/>
            <ac:spMk id="94" creationId="{6C55BCB5-68E2-47A8-839E-7BC83544128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2:21.182" v="5954" actId="478"/>
          <ac:spMkLst>
            <pc:docMk/>
            <pc:sldMk cId="838099151" sldId="2134804292"/>
            <ac:spMk id="96" creationId="{256C467E-CC0B-4F0C-8C6B-FBD08CE124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4:17.396" v="8238"/>
          <ac:spMkLst>
            <pc:docMk/>
            <pc:sldMk cId="838099151" sldId="2134804292"/>
            <ac:spMk id="96" creationId="{BC964D27-B3DC-42B1-A059-2035E153260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97" creationId="{99300021-C267-43BD-A0F5-B3ECE622345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2:02.614" v="8380" actId="478"/>
          <ac:spMkLst>
            <pc:docMk/>
            <pc:sldMk cId="838099151" sldId="2134804292"/>
            <ac:spMk id="98" creationId="{256C467E-CC0B-4F0C-8C6B-FBD08CE124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00" creationId="{1835F856-5B59-4AFF-86DE-2F0968B76CF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101" creationId="{3F3066EA-DE5F-4129-8BE2-3236092F0C6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03" creationId="{BDBCDC72-F935-45A4-AE31-C045019965A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5:03.288" v="8246" actId="478"/>
          <ac:spMkLst>
            <pc:docMk/>
            <pc:sldMk cId="838099151" sldId="2134804292"/>
            <ac:spMk id="104" creationId="{0326A105-08B6-409E-9596-07BD7645DEA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4:58.198" v="8242" actId="478"/>
          <ac:spMkLst>
            <pc:docMk/>
            <pc:sldMk cId="838099151" sldId="2134804292"/>
            <ac:spMk id="105" creationId="{DC633C75-4D21-4E37-ABEB-B69D06C0A22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5:01.841" v="8245" actId="478"/>
          <ac:spMkLst>
            <pc:docMk/>
            <pc:sldMk cId="838099151" sldId="2134804292"/>
            <ac:spMk id="106" creationId="{8BF155F6-9EE4-4410-BB22-DEE4B18E9FE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4:55.767" v="8241" actId="478"/>
          <ac:spMkLst>
            <pc:docMk/>
            <pc:sldMk cId="838099151" sldId="2134804292"/>
            <ac:spMk id="107" creationId="{4802A65C-C4BA-49C6-A107-DC404BE5C33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5:03.965" v="8247" actId="478"/>
          <ac:spMkLst>
            <pc:docMk/>
            <pc:sldMk cId="838099151" sldId="2134804292"/>
            <ac:spMk id="108" creationId="{E7417F2C-4445-4433-AA31-1B1D9A1C89B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2:23.655" v="8399" actId="478"/>
          <ac:spMkLst>
            <pc:docMk/>
            <pc:sldMk cId="838099151" sldId="2134804292"/>
            <ac:spMk id="109" creationId="{35684B41-9189-4EE1-B0D7-CFEE8FED279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2:34.225" v="8408" actId="478"/>
          <ac:spMkLst>
            <pc:docMk/>
            <pc:sldMk cId="838099151" sldId="2134804292"/>
            <ac:spMk id="110" creationId="{08F27C66-1304-4E87-AA0A-61E84CBEF97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111" creationId="{16F672C9-1919-4179-86DF-EB5E10F4BE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4:17.396" v="8238"/>
          <ac:spMkLst>
            <pc:docMk/>
            <pc:sldMk cId="838099151" sldId="2134804292"/>
            <ac:spMk id="112" creationId="{2F5888B2-AF7D-4A7B-9E98-BABC7746BB9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5.817" v="3152" actId="1035"/>
          <ac:spMkLst>
            <pc:docMk/>
            <pc:sldMk cId="838099151" sldId="2134804292"/>
            <ac:spMk id="114" creationId="{3796ABAE-603C-44E4-8560-5E4B81602E6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2:57.488" v="8420" actId="20577"/>
          <ac:spMkLst>
            <pc:docMk/>
            <pc:sldMk cId="838099151" sldId="2134804292"/>
            <ac:spMk id="114" creationId="{ADFDE276-B9A6-45C5-A37A-541445A94E2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05.792" v="3128" actId="465"/>
          <ac:spMkLst>
            <pc:docMk/>
            <pc:sldMk cId="838099151" sldId="2134804292"/>
            <ac:spMk id="115" creationId="{38BBD378-EC4D-4433-A4C5-13D5BED88BE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7:53.502" v="8274" actId="207"/>
          <ac:spMkLst>
            <pc:docMk/>
            <pc:sldMk cId="838099151" sldId="2134804292"/>
            <ac:spMk id="115" creationId="{DD909307-5B0C-4667-95EC-1195B948A65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10.737" v="3132" actId="1036"/>
          <ac:spMkLst>
            <pc:docMk/>
            <pc:sldMk cId="838099151" sldId="2134804292"/>
            <ac:spMk id="116" creationId="{C571755E-A254-4E40-82DC-FD0321DECCB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37.317" v="3090" actId="1038"/>
          <ac:spMkLst>
            <pc:docMk/>
            <pc:sldMk cId="838099151" sldId="2134804292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3:08.820" v="8430" actId="1036"/>
          <ac:spMkLst>
            <pc:docMk/>
            <pc:sldMk cId="838099151" sldId="2134804292"/>
            <ac:spMk id="117" creationId="{927FDB58-6A00-46E2-914D-050CE2EAEB4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37.317" v="3090" actId="1038"/>
          <ac:spMkLst>
            <pc:docMk/>
            <pc:sldMk cId="838099151" sldId="2134804292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1:52.428" v="8373" actId="20577"/>
          <ac:spMkLst>
            <pc:docMk/>
            <pc:sldMk cId="838099151" sldId="2134804292"/>
            <ac:spMk id="118" creationId="{D1E91996-2AB3-43DA-A1A9-3BD8CE0E618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37.317" v="3090" actId="1038"/>
          <ac:spMkLst>
            <pc:docMk/>
            <pc:sldMk cId="838099151" sldId="2134804292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3:14.294" v="8438" actId="20577"/>
          <ac:spMkLst>
            <pc:docMk/>
            <pc:sldMk cId="838099151" sldId="2134804292"/>
            <ac:spMk id="120" creationId="{07227B9A-D4AE-4AAC-80DE-AFB18DA63E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05.792" v="3128" actId="465"/>
          <ac:spMkLst>
            <pc:docMk/>
            <pc:sldMk cId="838099151" sldId="2134804292"/>
            <ac:spMk id="120" creationId="{D32D16B0-640E-4960-B3FD-7E2B7747664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2:32.427" v="8406" actId="20577"/>
          <ac:spMkLst>
            <pc:docMk/>
            <pc:sldMk cId="838099151" sldId="2134804292"/>
            <ac:spMk id="121" creationId="{BA5B3C7E-DC2F-417D-8CA2-8DA1506218F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3:00.888" v="8424" actId="20577"/>
          <ac:spMkLst>
            <pc:docMk/>
            <pc:sldMk cId="838099151" sldId="2134804292"/>
            <ac:spMk id="123" creationId="{998D5E60-9AEE-446F-BB2E-325FB89E32B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5:22.173" v="8872" actId="20577"/>
          <ac:spMkLst>
            <pc:docMk/>
            <pc:sldMk cId="838099151" sldId="2134804292"/>
            <ac:spMk id="124" creationId="{D51FB751-B772-44C1-A8F7-5E12A861F7D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4:17.396" v="8238"/>
          <ac:spMkLst>
            <pc:docMk/>
            <pc:sldMk cId="838099151" sldId="2134804292"/>
            <ac:spMk id="126" creationId="{7328B2AE-EADB-4D84-B9EF-3F0D303678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4:17.396" v="8238"/>
          <ac:spMkLst>
            <pc:docMk/>
            <pc:sldMk cId="838099151" sldId="2134804292"/>
            <ac:spMk id="127" creationId="{76EF8975-9E51-4075-971A-72CD22C20A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14.321" v="3134" actId="1036"/>
          <ac:spMkLst>
            <pc:docMk/>
            <pc:sldMk cId="838099151" sldId="2134804292"/>
            <ac:spMk id="129" creationId="{768A8744-E6E1-4FF0-9FD4-DED31B75E22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5:51.806" v="3127" actId="1036"/>
          <ac:spMkLst>
            <pc:docMk/>
            <pc:sldMk cId="838099151" sldId="2134804292"/>
            <ac:spMk id="130" creationId="{511004CF-94E0-4264-AC62-5C6A3ED0EDE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18.662" v="3139" actId="1036"/>
          <ac:spMkLst>
            <pc:docMk/>
            <pc:sldMk cId="838099151" sldId="2134804292"/>
            <ac:spMk id="133" creationId="{79F03A4B-665C-4244-919F-C4FAE4CBDC3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34.957" v="3197" actId="465"/>
          <ac:spMkLst>
            <pc:docMk/>
            <pc:sldMk cId="838099151" sldId="2134804292"/>
            <ac:spMk id="134" creationId="{3B6E08F0-2A6B-4FBF-B53B-07369D4CFD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4:31.674" v="3112" actId="12788"/>
          <ac:spMkLst>
            <pc:docMk/>
            <pc:sldMk cId="838099151" sldId="2134804292"/>
            <ac:spMk id="136" creationId="{DFA19DB5-E7B5-4128-AF10-3B3F25B8EE0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34.957" v="3197" actId="465"/>
          <ac:spMkLst>
            <pc:docMk/>
            <pc:sldMk cId="838099151" sldId="2134804292"/>
            <ac:spMk id="137" creationId="{8BD636FA-D0D7-4314-B770-AFE46B60FC2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9:31.389" v="8652" actId="1036"/>
          <ac:spMkLst>
            <pc:docMk/>
            <pc:sldMk cId="838099151" sldId="2134804292"/>
            <ac:spMk id="137" creationId="{F2F1441C-82E3-4978-ADB4-2E81AB714A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4:31.674" v="3112" actId="12788"/>
          <ac:spMkLst>
            <pc:docMk/>
            <pc:sldMk cId="838099151" sldId="2134804292"/>
            <ac:spMk id="138" creationId="{4CA79C3A-A5EE-407E-9E9E-E331A85A48C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27.306" v="3196" actId="555"/>
          <ac:spMkLst>
            <pc:docMk/>
            <pc:sldMk cId="838099151" sldId="2134804292"/>
            <ac:spMk id="139" creationId="{5E076018-21BF-45B0-9B3C-F3D739C8731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1:29.199" v="17798" actId="1037"/>
          <ac:spMkLst>
            <pc:docMk/>
            <pc:sldMk cId="838099151" sldId="2134804292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48.646" v="3204" actId="1036"/>
          <ac:spMkLst>
            <pc:docMk/>
            <pc:sldMk cId="838099151" sldId="2134804292"/>
            <ac:spMk id="141" creationId="{1F99501C-E9BE-4524-AD69-B8B905609A6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4T19:47:48.895" v="5757" actId="478"/>
          <ac:spMkLst>
            <pc:docMk/>
            <pc:sldMk cId="838099151" sldId="2134804292"/>
            <ac:spMk id="141" creationId="{6DFBB2A7-5F2D-4D91-9156-98CB032BD85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44.804" v="3199" actId="465"/>
          <ac:spMkLst>
            <pc:docMk/>
            <pc:sldMk cId="838099151" sldId="2134804292"/>
            <ac:spMk id="142" creationId="{038FDE28-2D96-4A8C-B8B5-30A8A4D0BF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0:59.067" v="8681" actId="12788"/>
          <ac:spMkLst>
            <pc:docMk/>
            <pc:sldMk cId="838099151" sldId="2134804292"/>
            <ac:spMk id="142" creationId="{9660C67C-C249-4C29-87B1-2E22B67DE74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56.477" v="3211" actId="1036"/>
          <ac:spMkLst>
            <pc:docMk/>
            <pc:sldMk cId="838099151" sldId="2134804292"/>
            <ac:spMk id="143" creationId="{38845BF2-B201-4C3D-852F-C5B77258CE4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27.306" v="3196" actId="555"/>
          <ac:spMkLst>
            <pc:docMk/>
            <pc:sldMk cId="838099151" sldId="2134804292"/>
            <ac:spMk id="144" creationId="{05FB7BF9-A935-4CD2-90AB-414F55875B4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54.807" v="3210" actId="1035"/>
          <ac:spMkLst>
            <pc:docMk/>
            <pc:sldMk cId="838099151" sldId="2134804292"/>
            <ac:spMk id="145" creationId="{2F83E84D-1862-43DE-93D9-912B7FF18AC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2:44.451" v="5961" actId="478"/>
          <ac:spMkLst>
            <pc:docMk/>
            <pc:sldMk cId="838099151" sldId="2134804292"/>
            <ac:spMk id="146" creationId="{D86974CC-32BF-439F-A6E2-D1E82520294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8:25.812" v="3217" actId="1036"/>
          <ac:spMkLst>
            <pc:docMk/>
            <pc:sldMk cId="838099151" sldId="2134804292"/>
            <ac:spMk id="146" creationId="{E581618D-F82B-4ABC-9AA7-ACE26020573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25:08.377" v="8863" actId="1076"/>
          <ac:spMkLst>
            <pc:docMk/>
            <pc:sldMk cId="838099151" sldId="2134804292"/>
            <ac:spMk id="147" creationId="{7AE06ED6-F18A-4AD1-A2CC-5709E7959E4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0:35" v="5902" actId="478"/>
          <ac:spMkLst>
            <pc:docMk/>
            <pc:sldMk cId="838099151" sldId="2134804292"/>
            <ac:spMk id="148" creationId="{3D0EFFEA-E9FE-4053-B9D8-C9F8D888127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8:25.812" v="3217" actId="1036"/>
          <ac:spMkLst>
            <pc:docMk/>
            <pc:sldMk cId="838099151" sldId="2134804292"/>
            <ac:spMk id="148" creationId="{5F93DFD2-F19C-4FDA-8CDF-0578836DEE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8:25.812" v="3217" actId="1036"/>
          <ac:spMkLst>
            <pc:docMk/>
            <pc:sldMk cId="838099151" sldId="2134804292"/>
            <ac:spMk id="152" creationId="{81B55E9D-6520-4232-8F95-CA5DA2B05E2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3:06.347" v="3103" actId="408"/>
          <ac:spMkLst>
            <pc:docMk/>
            <pc:sldMk cId="838099151" sldId="2134804292"/>
            <ac:spMk id="154" creationId="{51569EEF-5FF5-4885-AF0F-9B61A97A921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155" creationId="{85DECC14-EFD0-416A-A5B4-200EFD93025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3:51.978" v="3109" actId="12788"/>
          <ac:spMkLst>
            <pc:docMk/>
            <pc:sldMk cId="838099151" sldId="2134804292"/>
            <ac:spMk id="157" creationId="{91F13659-BE11-4E1B-BDAB-822E9F00600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158" creationId="{3C4052CE-36EF-4834-84E0-2FA58614DC3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46.913" v="3102" actId="1036"/>
          <ac:spMkLst>
            <pc:docMk/>
            <pc:sldMk cId="838099151" sldId="2134804292"/>
            <ac:spMk id="159" creationId="{D1B09D29-0F94-4A9E-B937-912A7757E00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3:51.978" v="3109" actId="12788"/>
          <ac:spMkLst>
            <pc:docMk/>
            <pc:sldMk cId="838099151" sldId="2134804292"/>
            <ac:spMk id="161" creationId="{A2C0A837-67F3-42ED-886B-52310168057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43.269" v="3099" actId="1036"/>
          <ac:spMkLst>
            <pc:docMk/>
            <pc:sldMk cId="838099151" sldId="2134804292"/>
            <ac:spMk id="163" creationId="{352B0074-8236-4A71-86F6-E6BD18130FF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3:51.978" v="3109" actId="12788"/>
          <ac:spMkLst>
            <pc:docMk/>
            <pc:sldMk cId="838099151" sldId="2134804292"/>
            <ac:spMk id="166" creationId="{A8C6C946-3CE2-4699-8F7F-D7D65A0162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171" creationId="{31F9A789-6159-4027-AA08-AEBDED84D1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172" creationId="{73861465-728B-488A-BCBF-DA3013EDE1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173" creationId="{457E92A2-197D-4ABC-B979-4E46A2D2A50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46.913" v="3102" actId="1036"/>
          <ac:spMkLst>
            <pc:docMk/>
            <pc:sldMk cId="838099151" sldId="2134804292"/>
            <ac:spMk id="174" creationId="{91F6C1C3-3AEA-42B3-9357-98C2C33009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43.269" v="3099" actId="1036"/>
          <ac:spMkLst>
            <pc:docMk/>
            <pc:sldMk cId="838099151" sldId="2134804292"/>
            <ac:spMk id="181" creationId="{F0C8DCB7-8E59-4C5E-83BC-7A422A34F55B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10T19:12:46.913" v="3102" actId="1036"/>
          <ac:grpSpMkLst>
            <pc:docMk/>
            <pc:sldMk cId="838099151" sldId="2134804292"/>
            <ac:grpSpMk id="12" creationId="{F7A27740-773B-4462-BF89-1401A505A214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46.913" v="3102" actId="1036"/>
          <ac:grpSpMkLst>
            <pc:docMk/>
            <pc:sldMk cId="838099151" sldId="2134804292"/>
            <ac:grpSpMk id="13" creationId="{A8CA6308-BA4A-4036-98AC-A0FC96BDEE6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43.269" v="3099" actId="1036"/>
          <ac:grpSpMkLst>
            <pc:docMk/>
            <pc:sldMk cId="838099151" sldId="2134804292"/>
            <ac:grpSpMk id="14" creationId="{318A26BA-E4F9-4151-AC7F-1D44608D9931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43.269" v="3099" actId="1036"/>
          <ac:grpSpMkLst>
            <pc:docMk/>
            <pc:sldMk cId="838099151" sldId="2134804292"/>
            <ac:grpSpMk id="15" creationId="{F77208F2-2A0A-4CBA-884C-AE4F6B5D58FB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16" creationId="{C2A3B512-7A1C-4FAF-A81F-067631C5281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17" creationId="{3FA1F953-EEBE-442C-918A-F7B21E87A8A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18" creationId="{6EAE7CEA-676F-4400-97CC-CCB1402325E8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19" creationId="{0F855846-8A33-4060-B70C-0ACBFC4A7022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0" creationId="{903ABF81-475D-410E-9692-550132D53972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1" creationId="{819DBC46-BA70-49B0-818A-DC77081E7584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2" creationId="{5513E780-7012-49CC-8CFB-E8E88FF4246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3" creationId="{E25430C1-763D-4B30-9379-4DCBD0D85D96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4" creationId="{957BE8E2-0B1B-42AA-9BC2-FE166024F81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5" creationId="{1C646559-D1E9-4E1F-B2C1-2BF522FDD45D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8:25.812" v="3217" actId="1036"/>
          <ac:grpSpMkLst>
            <pc:docMk/>
            <pc:sldMk cId="838099151" sldId="2134804292"/>
            <ac:grpSpMk id="26" creationId="{492B52D9-6320-4D1D-BA39-7AEC22A2C94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58" creationId="{F394591C-06BF-4BFB-8272-E1310CAC5A9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61" creationId="{1A0CED9E-C5DB-4CB6-9D18-36A21FE376E8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64" creationId="{E548B259-2257-48E4-9046-BF8B4875967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67" creationId="{FD756814-B571-4ECF-A2C2-78FC03BF5DC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70" creationId="{DA56902C-A1F5-40CF-9231-DF8A141EFA1D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77" creationId="{4DCC1A05-7645-463E-B669-5943AF3B7C6D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16:04.706" v="8564" actId="478"/>
          <ac:grpSpMkLst>
            <pc:docMk/>
            <pc:sldMk cId="838099151" sldId="2134804292"/>
            <ac:grpSpMk id="87" creationId="{36771D14-BC6D-4048-9DDE-3A39E67D2F6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21:09.573" v="8685" actId="1036"/>
          <ac:grpSpMkLst>
            <pc:docMk/>
            <pc:sldMk cId="838099151" sldId="2134804292"/>
            <ac:grpSpMk id="113" creationId="{7ED12C34-F637-4DAC-808B-33F0F0C0AE6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21:09.573" v="8685" actId="1036"/>
          <ac:grpSpMkLst>
            <pc:docMk/>
            <pc:sldMk cId="838099151" sldId="2134804292"/>
            <ac:grpSpMk id="116" creationId="{2AE1AF7C-B2E3-4C12-A184-D47DAF460027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21:09.573" v="8685" actId="1036"/>
          <ac:grpSpMkLst>
            <pc:docMk/>
            <pc:sldMk cId="838099151" sldId="2134804292"/>
            <ac:grpSpMk id="119" creationId="{EC8C491D-5400-4A74-9B19-D5B8EF53853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21:09.573" v="8685" actId="1036"/>
          <ac:grpSpMkLst>
            <pc:docMk/>
            <pc:sldMk cId="838099151" sldId="2134804292"/>
            <ac:grpSpMk id="122" creationId="{D710D151-3BB6-4205-8524-7FDE79AB8CDC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16:04.706" v="8564" actId="478"/>
          <ac:grpSpMkLst>
            <pc:docMk/>
            <pc:sldMk cId="838099151" sldId="2134804292"/>
            <ac:grpSpMk id="125" creationId="{42964395-E04E-4002-919E-3E0C7B4C8798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43.269" v="3099" actId="1036"/>
          <ac:grpSpMkLst>
            <pc:docMk/>
            <pc:sldMk cId="838099151" sldId="2134804292"/>
            <ac:grpSpMk id="182" creationId="{18CDD8BD-2677-41B6-93C4-8A32F84E2C5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46.913" v="3102" actId="1036"/>
          <ac:grpSpMkLst>
            <pc:docMk/>
            <pc:sldMk cId="838099151" sldId="2134804292"/>
            <ac:grpSpMk id="185" creationId="{C63D56BD-6EFF-441A-8C60-646467BF7FC4}"/>
          </ac:grpSpMkLst>
        </pc:grpChg>
        <pc:cxnChg chg="del mod">
          <ac:chgData name="Mariam Daniela Tristancho Pineda (MISION TEMPORAL LTDA)" userId="a45a17f7-7950-4cb5-bfab-f5c894f959a9" providerId="ADAL" clId="{9D150B60-33B5-4A3E-8123-A67E35AA8D44}" dt="2020-07-26T22:09:47.950" v="8301" actId="478"/>
          <ac:cxnSpMkLst>
            <pc:docMk/>
            <pc:sldMk cId="838099151" sldId="2134804292"/>
            <ac:cxnSpMk id="56" creationId="{35C4C0AB-EEA0-4037-A02A-D63A5320080C}"/>
          </ac:cxnSpMkLst>
        </pc:cxnChg>
        <pc:cxnChg chg="del">
          <ac:chgData name="Mariam Daniela Tristancho Pineda (MISION TEMPORAL LTDA)" userId="a45a17f7-7950-4cb5-bfab-f5c894f959a9" providerId="ADAL" clId="{9D150B60-33B5-4A3E-8123-A67E35AA8D44}" dt="2020-07-24T19:46:41.779" v="5735" actId="478"/>
          <ac:cxnSpMkLst>
            <pc:docMk/>
            <pc:sldMk cId="838099151" sldId="2134804292"/>
            <ac:cxnSpMk id="58" creationId="{1CDF63A8-A838-4ED6-9699-E71238824855}"/>
          </ac:cxnSpMkLst>
        </pc:cxnChg>
        <pc:cxnChg chg="add del mod">
          <ac:chgData name="Mariam Daniela Tristancho Pineda (MISION TEMPORAL LTDA)" userId="a45a17f7-7950-4cb5-bfab-f5c894f959a9" providerId="ADAL" clId="{9D150B60-33B5-4A3E-8123-A67E35AA8D44}" dt="2020-07-26T22:24:49.743" v="8853" actId="1035"/>
          <ac:cxnSpMkLst>
            <pc:docMk/>
            <pc:sldMk cId="838099151" sldId="2134804292"/>
            <ac:cxnSpMk id="95" creationId="{992CCE25-00CE-4C15-881A-068C6B1A3F0E}"/>
          </ac:cxnSpMkLst>
        </pc:cxn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1:37.727" v="19906"/>
        <pc:sldMkLst>
          <pc:docMk/>
          <pc:sldMk cId="1822149763" sldId="2134804293"/>
        </pc:sldMkLst>
        <pc:spChg chg="add mod">
          <ac:chgData name="Mariam Daniela Tristancho Pineda (MISION TEMPORAL LTDA)" userId="a45a17f7-7950-4cb5-bfab-f5c894f959a9" providerId="ADAL" clId="{9D150B60-33B5-4A3E-8123-A67E35AA8D44}" dt="2020-07-26T22:30:27.881" v="8983" actId="1036"/>
          <ac:spMkLst>
            <pc:docMk/>
            <pc:sldMk cId="1822149763" sldId="2134804293"/>
            <ac:spMk id="3" creationId="{A9D16483-47D7-4577-B9F8-184A938FB7E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5:23.320" v="1309" actId="14100"/>
          <ac:spMkLst>
            <pc:docMk/>
            <pc:sldMk cId="1822149763" sldId="2134804293"/>
            <ac:spMk id="4" creationId="{C47780CB-210E-480D-AF15-355BDC7F6E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5:27.632" v="1313" actId="1036"/>
          <ac:spMkLst>
            <pc:docMk/>
            <pc:sldMk cId="1822149763" sldId="2134804293"/>
            <ac:spMk id="5" creationId="{60144380-CBE4-4263-86E5-F4A7E5CEC0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2:48.599" v="1217" actId="164"/>
          <ac:spMkLst>
            <pc:docMk/>
            <pc:sldMk cId="1822149763" sldId="2134804293"/>
            <ac:spMk id="6" creationId="{935E60B3-FFBE-4EF9-967C-09104A4E6C2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0:27.881" v="8983" actId="1036"/>
          <ac:spMkLst>
            <pc:docMk/>
            <pc:sldMk cId="1822149763" sldId="2134804293"/>
            <ac:spMk id="7" creationId="{49F21896-A687-4F29-8499-091C5F1FE37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18:01.082" v="1139" actId="164"/>
          <ac:spMkLst>
            <pc:docMk/>
            <pc:sldMk cId="1822149763" sldId="2134804293"/>
            <ac:spMk id="8" creationId="{81A81C5F-F714-4D52-A962-FC37F5FDCEB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15:40.066" v="1063" actId="478"/>
          <ac:spMkLst>
            <pc:docMk/>
            <pc:sldMk cId="1822149763" sldId="2134804293"/>
            <ac:spMk id="9" creationId="{584AA256-4158-427B-9200-1F1C0296A48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41:22.681" v="5606" actId="404"/>
          <ac:spMkLst>
            <pc:docMk/>
            <pc:sldMk cId="1822149763" sldId="2134804293"/>
            <ac:spMk id="9" creationId="{843A89DC-9148-428C-8B25-E10F36D4E507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10T00:17:26.161" v="1133" actId="164"/>
          <ac:spMkLst>
            <pc:docMk/>
            <pc:sldMk cId="1822149763" sldId="2134804293"/>
            <ac:spMk id="10" creationId="{4EF69960-2302-4C37-B17A-2E11625478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0:27.881" v="8983" actId="1036"/>
          <ac:spMkLst>
            <pc:docMk/>
            <pc:sldMk cId="1822149763" sldId="2134804293"/>
            <ac:spMk id="11" creationId="{BE3FDB33-82DE-49B7-85B7-9476B27F9C3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27.881" v="8983" actId="1036"/>
          <ac:spMkLst>
            <pc:docMk/>
            <pc:sldMk cId="1822149763" sldId="2134804293"/>
            <ac:spMk id="14" creationId="{0572F48F-01C6-4118-B2F6-94C3B890E62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22:24.533" v="1210" actId="478"/>
          <ac:spMkLst>
            <pc:docMk/>
            <pc:sldMk cId="1822149763" sldId="2134804293"/>
            <ac:spMk id="15" creationId="{BDC7F68D-E359-4FD6-9799-1B6B084CFB48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10T00:17:26.161" v="1133" actId="164"/>
          <ac:spMkLst>
            <pc:docMk/>
            <pc:sldMk cId="1822149763" sldId="2134804293"/>
            <ac:spMk id="18" creationId="{B5FA47DF-667C-4E6C-9D12-E5E5CEA490D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45:55.992" v="5731" actId="404"/>
          <ac:spMkLst>
            <pc:docMk/>
            <pc:sldMk cId="1822149763" sldId="2134804293"/>
            <ac:spMk id="20" creationId="{2690C17A-D8A4-4912-9990-E2826E05139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20:47.682" v="1194" actId="478"/>
          <ac:spMkLst>
            <pc:docMk/>
            <pc:sldMk cId="1822149763" sldId="2134804293"/>
            <ac:spMk id="22" creationId="{B6E80459-6D3F-4DBC-B0D8-C0DF326C9CB6}"/>
          </ac:spMkLst>
        </pc:spChg>
        <pc:grpChg chg="add del mod">
          <ac:chgData name="Mariam Daniela Tristancho Pineda (MISION TEMPORAL LTDA)" userId="a45a17f7-7950-4cb5-bfab-f5c894f959a9" providerId="ADAL" clId="{9D150B60-33B5-4A3E-8123-A67E35AA8D44}" dt="2020-07-10T00:17:17.408" v="1116" actId="165"/>
          <ac:grpSpMkLst>
            <pc:docMk/>
            <pc:sldMk cId="1822149763" sldId="2134804293"/>
            <ac:grpSpMk id="3" creationId="{E5D27C38-315E-4B0B-8473-AFD73668E5AD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30:24.439" v="8980" actId="1036"/>
          <ac:grpSpMkLst>
            <pc:docMk/>
            <pc:sldMk cId="1822149763" sldId="2134804293"/>
            <ac:grpSpMk id="12" creationId="{97A64B71-2068-4384-8243-F4ED1BE3BD64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30:24.439" v="8980" actId="1036"/>
          <ac:grpSpMkLst>
            <pc:docMk/>
            <pc:sldMk cId="1822149763" sldId="2134804293"/>
            <ac:grpSpMk id="13" creationId="{A8D5E88D-0623-41AE-9881-9D4BA0197AE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30:24.439" v="8980" actId="1036"/>
          <ac:grpSpMkLst>
            <pc:docMk/>
            <pc:sldMk cId="1822149763" sldId="2134804293"/>
            <ac:grpSpMk id="16" creationId="{0B2E59AD-3929-43C2-8F9D-A17671E2843E}"/>
          </ac:grpSpMkLst>
        </pc:grpChg>
        <pc:picChg chg="mod">
          <ac:chgData name="Mariam Daniela Tristancho Pineda (MISION TEMPORAL LTDA)" userId="a45a17f7-7950-4cb5-bfab-f5c894f959a9" providerId="ADAL" clId="{9D150B60-33B5-4A3E-8123-A67E35AA8D44}" dt="2020-07-10T00:22:48.599" v="1217" actId="164"/>
          <ac:picMkLst>
            <pc:docMk/>
            <pc:sldMk cId="1822149763" sldId="2134804293"/>
            <ac:picMk id="19" creationId="{5D90D1B2-2CBD-4FED-8155-3C080DC03FC0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10T00:18:01.082" v="1139" actId="164"/>
          <ac:picMkLst>
            <pc:docMk/>
            <pc:sldMk cId="1822149763" sldId="2134804293"/>
            <ac:picMk id="21" creationId="{802D394E-E061-44FF-8816-DDC7B1B331B1}"/>
          </ac:picMkLst>
        </pc:picChg>
      </pc:sldChg>
      <pc:sldChg chg="del">
        <pc:chgData name="Mariam Daniela Tristancho Pineda (MISION TEMPORAL LTDA)" userId="a45a17f7-7950-4cb5-bfab-f5c894f959a9" providerId="ADAL" clId="{9D150B60-33B5-4A3E-8123-A67E35AA8D44}" dt="2020-07-10T00:27:58.806" v="1340" actId="47"/>
        <pc:sldMkLst>
          <pc:docMk/>
          <pc:sldMk cId="689766239" sldId="2134804294"/>
        </pc:sldMkLst>
      </pc:sldChg>
      <pc:sldChg chg="addSp modSp del mod">
        <pc:chgData name="Mariam Daniela Tristancho Pineda (MISION TEMPORAL LTDA)" userId="a45a17f7-7950-4cb5-bfab-f5c894f959a9" providerId="ADAL" clId="{9D150B60-33B5-4A3E-8123-A67E35AA8D44}" dt="2020-07-24T19:13:41.307" v="4807" actId="47"/>
        <pc:sldMkLst>
          <pc:docMk/>
          <pc:sldMk cId="866124386" sldId="2134804297"/>
        </pc:sldMkLst>
        <pc:spChg chg="add mod">
          <ac:chgData name="Mariam Daniela Tristancho Pineda (MISION TEMPORAL LTDA)" userId="a45a17f7-7950-4cb5-bfab-f5c894f959a9" providerId="ADAL" clId="{9D150B60-33B5-4A3E-8123-A67E35AA8D44}" dt="2020-07-09T23:53:33.668" v="216" actId="20577"/>
          <ac:spMkLst>
            <pc:docMk/>
            <pc:sldMk cId="866124386" sldId="2134804297"/>
            <ac:spMk id="3" creationId="{87D5B95F-D42A-4C74-B1FD-21CF6B6FBA71}"/>
          </ac:spMkLst>
        </pc:spChg>
      </pc:sldChg>
      <pc:sldChg chg="addSp modSp mod">
        <pc:chgData name="Mariam Daniela Tristancho Pineda (MISION TEMPORAL LTDA)" userId="a45a17f7-7950-4cb5-bfab-f5c894f959a9" providerId="ADAL" clId="{9D150B60-33B5-4A3E-8123-A67E35AA8D44}" dt="2020-07-12T22:04:02.022" v="4629" actId="20577"/>
        <pc:sldMkLst>
          <pc:docMk/>
          <pc:sldMk cId="2197550008" sldId="2134804299"/>
        </pc:sldMkLst>
        <pc:spChg chg="add mod">
          <ac:chgData name="Mariam Daniela Tristancho Pineda (MISION TEMPORAL LTDA)" userId="a45a17f7-7950-4cb5-bfab-f5c894f959a9" providerId="ADAL" clId="{9D150B60-33B5-4A3E-8123-A67E35AA8D44}" dt="2020-07-10T20:45:13.849" v="4274" actId="164"/>
          <ac:spMkLst>
            <pc:docMk/>
            <pc:sldMk cId="2197550008" sldId="2134804299"/>
            <ac:spMk id="3" creationId="{483A50DB-F420-44FF-923C-4CE87157538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2T22:04:02.022" v="4629" actId="20577"/>
          <ac:spMkLst>
            <pc:docMk/>
            <pc:sldMk cId="2197550008" sldId="2134804299"/>
            <ac:spMk id="13" creationId="{0C105355-B353-4974-AE3C-CAE77E3666F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45:17.085" v="4275" actId="164"/>
          <ac:spMkLst>
            <pc:docMk/>
            <pc:sldMk cId="2197550008" sldId="2134804299"/>
            <ac:spMk id="15" creationId="{932C580A-B2B5-49EC-A0F5-61CAEE48D98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46:53.863" v="4333" actId="14100"/>
          <ac:spMkLst>
            <pc:docMk/>
            <pc:sldMk cId="2197550008" sldId="2134804299"/>
            <ac:spMk id="18" creationId="{8E50C878-CE37-4D41-8591-D887E8CECB8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17.719" v="4305" actId="14100"/>
          <ac:spMkLst>
            <pc:docMk/>
            <pc:sldMk cId="2197550008" sldId="2134804299"/>
            <ac:spMk id="22" creationId="{ACC48894-1EAE-4E17-8FE5-4CADB6585C7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45.738" v="4332" actId="207"/>
          <ac:spMkLst>
            <pc:docMk/>
            <pc:sldMk cId="2197550008" sldId="2134804299"/>
            <ac:spMk id="55" creationId="{804531EE-B071-4214-9182-DEDD9B20B6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45.738" v="4332" actId="207"/>
          <ac:spMkLst>
            <pc:docMk/>
            <pc:sldMk cId="2197550008" sldId="2134804299"/>
            <ac:spMk id="56" creationId="{D31E7DE7-A7DC-4AA9-BB36-6C1C3B30A6A8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20:45:13.849" v="4274" actId="164"/>
          <ac:spMkLst>
            <pc:docMk/>
            <pc:sldMk cId="2197550008" sldId="2134804299"/>
            <ac:spMk id="59" creationId="{020A618E-9BCF-4BA1-97A0-073F8A55ADE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5:17.085" v="4275" actId="164"/>
          <ac:spMkLst>
            <pc:docMk/>
            <pc:sldMk cId="2197550008" sldId="2134804299"/>
            <ac:spMk id="60" creationId="{03887575-76B9-43B2-9405-27BAF9B165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5:34.823" v="4284" actId="164"/>
          <ac:spMkLst>
            <pc:docMk/>
            <pc:sldMk cId="2197550008" sldId="2134804299"/>
            <ac:spMk id="61" creationId="{FD69D1BA-1FDF-43EF-A364-8499349E82F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34.108" v="4331" actId="1035"/>
          <ac:spMkLst>
            <pc:docMk/>
            <pc:sldMk cId="2197550008" sldId="2134804299"/>
            <ac:spMk id="64" creationId="{0B241E27-0669-4644-94CA-0292F2D10DF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34.108" v="4331" actId="1035"/>
          <ac:spMkLst>
            <pc:docMk/>
            <pc:sldMk cId="2197550008" sldId="2134804299"/>
            <ac:spMk id="65" creationId="{14BA1960-1B77-46A9-B4B9-CBCBDCFAF42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34.108" v="4331" actId="1035"/>
          <ac:spMkLst>
            <pc:docMk/>
            <pc:sldMk cId="2197550008" sldId="2134804299"/>
            <ac:spMk id="66" creationId="{D85A4DF8-3044-4B8E-8B4E-A3482DC7BE4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45.738" v="4332" actId="207"/>
          <ac:spMkLst>
            <pc:docMk/>
            <pc:sldMk cId="2197550008" sldId="2134804299"/>
            <ac:spMk id="72" creationId="{2C1815BB-5DDB-4DA6-8220-F8F82216AB7C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10T20:46:34.108" v="4331" actId="1035"/>
          <ac:grpSpMkLst>
            <pc:docMk/>
            <pc:sldMk cId="2197550008" sldId="2134804299"/>
            <ac:grpSpMk id="4" creationId="{C2212130-341D-4E97-9373-753A16E80D5B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10T20:46:34.108" v="4331" actId="1035"/>
          <ac:grpSpMkLst>
            <pc:docMk/>
            <pc:sldMk cId="2197550008" sldId="2134804299"/>
            <ac:grpSpMk id="5" creationId="{956A1F1A-E405-4EF7-9417-04205162346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10T20:46:34.108" v="4331" actId="1035"/>
          <ac:grpSpMkLst>
            <pc:docMk/>
            <pc:sldMk cId="2197550008" sldId="2134804299"/>
            <ac:grpSpMk id="6" creationId="{E0631263-5920-456B-88C6-34F5F5D6A497}"/>
          </ac:grpSpMkLst>
        </pc:grpChg>
      </pc:sldChg>
      <pc:sldChg chg="del">
        <pc:chgData name="Mariam Daniela Tristancho Pineda (MISION TEMPORAL LTDA)" userId="a45a17f7-7950-4cb5-bfab-f5c894f959a9" providerId="ADAL" clId="{9D150B60-33B5-4A3E-8123-A67E35AA8D44}" dt="2020-07-10T00:08:09.890" v="637" actId="47"/>
        <pc:sldMkLst>
          <pc:docMk/>
          <pc:sldMk cId="1881171097" sldId="2134804309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11:21.404" v="923" actId="47"/>
        <pc:sldMkLst>
          <pc:docMk/>
          <pc:sldMk cId="888575759" sldId="2134804310"/>
        </pc:sldMkLst>
      </pc:sldChg>
      <pc:sldChg chg="modSp add mod ord">
        <pc:chgData name="Mariam Daniela Tristancho Pineda (MISION TEMPORAL LTDA)" userId="a45a17f7-7950-4cb5-bfab-f5c894f959a9" providerId="ADAL" clId="{9D150B60-33B5-4A3E-8123-A67E35AA8D44}" dt="2020-07-28T15:06:52.280" v="20039" actId="20577"/>
        <pc:sldMkLst>
          <pc:docMk/>
          <pc:sldMk cId="1505401777" sldId="2134804310"/>
        </pc:sldMkLst>
        <pc:spChg chg="mod">
          <ac:chgData name="Mariam Daniela Tristancho Pineda (MISION TEMPORAL LTDA)" userId="a45a17f7-7950-4cb5-bfab-f5c894f959a9" providerId="ADAL" clId="{9D150B60-33B5-4A3E-8123-A67E35AA8D44}" dt="2020-07-28T15:06:52.280" v="20039" actId="20577"/>
          <ac:spMkLst>
            <pc:docMk/>
            <pc:sldMk cId="1505401777" sldId="2134804310"/>
            <ac:spMk id="2" creationId="{6431BBCF-96E5-45A7-B7E5-D44090D06329}"/>
          </ac:spMkLst>
        </pc:spChg>
      </pc:sldChg>
      <pc:sldChg chg="addSp delSp modSp add mod">
        <pc:chgData name="Mariam Daniela Tristancho Pineda (MISION TEMPORAL LTDA)" userId="a45a17f7-7950-4cb5-bfab-f5c894f959a9" providerId="ADAL" clId="{9D150B60-33B5-4A3E-8123-A67E35AA8D44}" dt="2020-07-27T19:24:51.058" v="11590" actId="20577"/>
        <pc:sldMkLst>
          <pc:docMk/>
          <pc:sldMk cId="2857089145" sldId="2134804311"/>
        </pc:sldMkLst>
        <pc:spChg chg="mod">
          <ac:chgData name="Mariam Daniela Tristancho Pineda (MISION TEMPORAL LTDA)" userId="a45a17f7-7950-4cb5-bfab-f5c894f959a9" providerId="ADAL" clId="{9D150B60-33B5-4A3E-8123-A67E35AA8D44}" dt="2020-07-26T21:57:24.156" v="8062" actId="1035"/>
          <ac:spMkLst>
            <pc:docMk/>
            <pc:sldMk cId="2857089145" sldId="2134804311"/>
            <ac:spMk id="2" creationId="{3A93B487-116E-4767-AA0D-CAE2A460FBE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19:14:08.788" v="11186" actId="478"/>
          <ac:spMkLst>
            <pc:docMk/>
            <pc:sldMk cId="2857089145" sldId="2134804311"/>
            <ac:spMk id="3" creationId="{815B10B7-60B3-4C63-8431-70CC556387C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25:58.713" v="5225" actId="478"/>
          <ac:spMkLst>
            <pc:docMk/>
            <pc:sldMk cId="2857089145" sldId="2134804311"/>
            <ac:spMk id="6" creationId="{176A1BC7-0C2B-46FE-9DC1-6327C3BF363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26:44.009" v="5237"/>
          <ac:spMkLst>
            <pc:docMk/>
            <pc:sldMk cId="2857089145" sldId="2134804311"/>
            <ac:spMk id="7" creationId="{65560609-76A3-4D35-9EC2-7ADC05E11F7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5:04.081" v="11198" actId="14100"/>
          <ac:spMkLst>
            <pc:docMk/>
            <pc:sldMk cId="2857089145" sldId="2134804311"/>
            <ac:spMk id="7" creationId="{729CDB4D-12FF-47BB-A02C-F9F9D7D26D9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4:12.595" v="11187" actId="1076"/>
          <ac:spMkLst>
            <pc:docMk/>
            <pc:sldMk cId="2857089145" sldId="2134804311"/>
            <ac:spMk id="9" creationId="{6260AE1B-9CC2-4D73-9EFA-E10D76B20F0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5:12.641" v="11199" actId="1076"/>
          <ac:spMkLst>
            <pc:docMk/>
            <pc:sldMk cId="2857089145" sldId="2134804311"/>
            <ac:spMk id="10" creationId="{E471DFFB-10DC-4003-9986-B10F0593516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6:12.792" v="5488" actId="478"/>
          <ac:spMkLst>
            <pc:docMk/>
            <pc:sldMk cId="2857089145" sldId="2134804311"/>
            <ac:spMk id="10" creationId="{F1CA9157-5B77-4DE3-B92D-0B98B9ECD50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3:37.269" v="5400" actId="478"/>
          <ac:spMkLst>
            <pc:docMk/>
            <pc:sldMk cId="2857089145" sldId="2134804311"/>
            <ac:spMk id="12" creationId="{54A66564-DEC6-4C5B-9A74-1FDC8C9F66B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5:12.641" v="11199" actId="1076"/>
          <ac:spMkLst>
            <pc:docMk/>
            <pc:sldMk cId="2857089145" sldId="2134804311"/>
            <ac:spMk id="12" creationId="{A7DA2696-2798-43FD-9339-132E49A0D2F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3:37.269" v="5400" actId="478"/>
          <ac:spMkLst>
            <pc:docMk/>
            <pc:sldMk cId="2857089145" sldId="2134804311"/>
            <ac:spMk id="13" creationId="{F855B051-A350-4E48-9418-56FB259B37E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3:37.269" v="5400" actId="478"/>
          <ac:spMkLst>
            <pc:docMk/>
            <pc:sldMk cId="2857089145" sldId="2134804311"/>
            <ac:spMk id="18" creationId="{B1A08C9D-AF92-4D92-B253-B9ADD560D71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3:37.269" v="5400" actId="478"/>
          <ac:spMkLst>
            <pc:docMk/>
            <pc:sldMk cId="2857089145" sldId="2134804311"/>
            <ac:spMk id="19" creationId="{22DA06D5-820C-45AE-8E58-707D4D72FD78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20" creationId="{76D830BA-6809-4B00-97EA-4BF2F62005C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1:29:43.418" v="7093" actId="478"/>
          <ac:spMkLst>
            <pc:docMk/>
            <pc:sldMk cId="2857089145" sldId="2134804311"/>
            <ac:spMk id="21" creationId="{708DD5BB-BE43-4CA6-9ED3-220EE625622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4:58.137" v="5464" actId="478"/>
          <ac:spMkLst>
            <pc:docMk/>
            <pc:sldMk cId="2857089145" sldId="2134804311"/>
            <ac:spMk id="22" creationId="{75FF912D-0ABB-433E-944E-F6B044A555D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23" creationId="{1B7F3B79-9926-43AB-9BF5-0385EC9E64C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24" creationId="{DF671ED5-B712-42B2-865D-ADF852C70B18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9:13.426" v="11426" actId="14100"/>
          <ac:spMkLst>
            <pc:docMk/>
            <pc:sldMk cId="2857089145" sldId="2134804311"/>
            <ac:spMk id="45" creationId="{FE8ED9F7-3608-4810-95FA-CCA357FF8DD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32:11.634" v="5354" actId="478"/>
          <ac:spMkLst>
            <pc:docMk/>
            <pc:sldMk cId="2857089145" sldId="2134804311"/>
            <ac:spMk id="46" creationId="{37613081-A8A7-4283-97BA-0F79BCAFB2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9:11.096" v="11425" actId="1036"/>
          <ac:spMkLst>
            <pc:docMk/>
            <pc:sldMk cId="2857089145" sldId="2134804311"/>
            <ac:spMk id="50" creationId="{A6FD2FCA-22BD-4408-A162-974663FFA2AE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27.913" v="11373" actId="14100"/>
          <ac:spMkLst>
            <pc:docMk/>
            <pc:sldMk cId="2857089145" sldId="2134804311"/>
            <ac:spMk id="51" creationId="{D395E86E-3965-40C4-A3DF-5364D60CE5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27.913" v="11373" actId="14100"/>
          <ac:spMkLst>
            <pc:docMk/>
            <pc:sldMk cId="2857089145" sldId="2134804311"/>
            <ac:spMk id="52" creationId="{5B06B1DA-3BD9-47D7-9B3D-C321E2E527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5:11.980" v="1308" actId="20577"/>
          <ac:spMkLst>
            <pc:docMk/>
            <pc:sldMk cId="2857089145" sldId="2134804311"/>
            <ac:spMk id="53" creationId="{F9C857D3-C5F6-4D00-8D9C-646D1DA6091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1:33:18.693" v="7312" actId="478"/>
          <ac:spMkLst>
            <pc:docMk/>
            <pc:sldMk cId="2857089145" sldId="2134804311"/>
            <ac:spMk id="54" creationId="{C38A9719-1AF0-4D7F-AF9E-714FBC1335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55" creationId="{29532448-A08B-43D8-A118-91936FED3C4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27.913" v="11373" actId="14100"/>
          <ac:spMkLst>
            <pc:docMk/>
            <pc:sldMk cId="2857089145" sldId="2134804311"/>
            <ac:spMk id="57" creationId="{899A4C5F-C341-448B-B15D-BB337D4E4176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58" creationId="{13971695-02CB-4075-AB5E-BDAB89C4EB5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27.913" v="11373" actId="14100"/>
          <ac:spMkLst>
            <pc:docMk/>
            <pc:sldMk cId="2857089145" sldId="2134804311"/>
            <ac:spMk id="59" creationId="{7127D3DE-EF0D-403A-A224-06CFC244F2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27.913" v="11373" actId="14100"/>
          <ac:spMkLst>
            <pc:docMk/>
            <pc:sldMk cId="2857089145" sldId="2134804311"/>
            <ac:spMk id="60" creationId="{C756E770-FDC5-4AD2-8422-3E24C956681E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61" creationId="{34F7D164-E994-45AC-8F26-F92B7ACB058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5:27.394" v="11218" actId="1037"/>
          <ac:spMkLst>
            <pc:docMk/>
            <pc:sldMk cId="2857089145" sldId="2134804311"/>
            <ac:spMk id="63" creationId="{C8570C6E-3F05-4155-850A-C74FBEC80B5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64" creationId="{646BACCF-FF90-4891-9AFB-F9D4221C88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65" creationId="{1065D923-F137-4939-8930-2192BD0421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66" creationId="{DC1BBBBA-158A-411A-BB38-9A477BEC24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67" creationId="{C40762A9-67E9-4AAE-9CCD-76B6A00655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1:48.004" v="11502" actId="1038"/>
          <ac:spMkLst>
            <pc:docMk/>
            <pc:sldMk cId="2857089145" sldId="2134804311"/>
            <ac:spMk id="71" creationId="{999B1B90-D742-4D29-B51B-141387E09C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4:51.058" v="11590" actId="20577"/>
          <ac:spMkLst>
            <pc:docMk/>
            <pc:sldMk cId="2857089145" sldId="2134804311"/>
            <ac:spMk id="72" creationId="{2FBB49E6-161E-494F-B0AF-91D6129F8F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4:27.358" v="11582" actId="20577"/>
          <ac:spMkLst>
            <pc:docMk/>
            <pc:sldMk cId="2857089145" sldId="2134804311"/>
            <ac:spMk id="73" creationId="{7882AF9C-51C3-42A3-B5BB-994F0A38CD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3:56.061" v="11522" actId="20577"/>
          <ac:spMkLst>
            <pc:docMk/>
            <pc:sldMk cId="2857089145" sldId="2134804311"/>
            <ac:spMk id="74" creationId="{9580D3C9-E22F-46DD-870C-E0072C65AB7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3:59.931" v="11524" actId="20577"/>
          <ac:spMkLst>
            <pc:docMk/>
            <pc:sldMk cId="2857089145" sldId="2134804311"/>
            <ac:spMk id="75" creationId="{038013D2-E475-419B-A6D0-BE4D39D57D1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4:48.961" v="11586" actId="20577"/>
          <ac:spMkLst>
            <pc:docMk/>
            <pc:sldMk cId="2857089145" sldId="2134804311"/>
            <ac:spMk id="76" creationId="{0F21D6C4-EC29-43B6-B8E7-338DB7DD7C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4:03.817" v="11526" actId="20577"/>
          <ac:spMkLst>
            <pc:docMk/>
            <pc:sldMk cId="2857089145" sldId="2134804311"/>
            <ac:spMk id="77" creationId="{95FD1090-EE89-438B-9895-DC57C1D16AA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0:23.875" v="11436" actId="12789"/>
          <ac:spMkLst>
            <pc:docMk/>
            <pc:sldMk cId="2857089145" sldId="2134804311"/>
            <ac:spMk id="78" creationId="{1775A41A-7B98-4609-BF00-BC54D6AACB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0:28.028" v="11437" actId="408"/>
          <ac:spMkLst>
            <pc:docMk/>
            <pc:sldMk cId="2857089145" sldId="2134804311"/>
            <ac:spMk id="79" creationId="{4CB33A5F-A766-46AC-A7C7-BF7EAD99C46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0:23.875" v="11436" actId="12789"/>
          <ac:spMkLst>
            <pc:docMk/>
            <pc:sldMk cId="2857089145" sldId="2134804311"/>
            <ac:spMk id="80" creationId="{4CCC5681-CD2B-48BE-AC2F-73599B52580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27:31.987" v="5249" actId="478"/>
          <ac:spMkLst>
            <pc:docMk/>
            <pc:sldMk cId="2857089145" sldId="2134804311"/>
            <ac:spMk id="86" creationId="{F7362C91-67BB-4CFB-8114-BCC038C9F5A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87" creationId="{A58BF597-C51C-4E2C-9BD2-59F949AC6F7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88" creationId="{F61EEF2A-B598-4665-AE21-A8A3931488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89" creationId="{973F83E5-B4A3-40C6-8A01-259D39F0C4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90" creationId="{744DB82B-E482-4033-8CAD-6B29F669CFF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91" creationId="{D66505A6-8BAE-42E1-964E-6D28D62D280F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6T21:30:25.902" v="7119" actId="164"/>
          <ac:spMkLst>
            <pc:docMk/>
            <pc:sldMk cId="2857089145" sldId="2134804311"/>
            <ac:spMk id="92" creationId="{3EA3CEBF-AE3A-4473-8734-7C7235782152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7T19:11:33.324" v="11015" actId="20577"/>
          <ac:spMkLst>
            <pc:docMk/>
            <pc:sldMk cId="2857089145" sldId="2134804311"/>
            <ac:spMk id="93" creationId="{5275F773-D793-4CF4-99F5-C30720C8166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32:11.634" v="5354" actId="478"/>
          <ac:spMkLst>
            <pc:docMk/>
            <pc:sldMk cId="2857089145" sldId="2134804311"/>
            <ac:spMk id="93" creationId="{AD90D2B9-42A2-4AAA-A28D-605C2393156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9:11.096" v="11425" actId="1036"/>
          <ac:spMkLst>
            <pc:docMk/>
            <pc:sldMk cId="2857089145" sldId="2134804311"/>
            <ac:spMk id="94" creationId="{75F6475F-AD44-4C16-BAE2-A31BB96FC4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2.597" v="11385" actId="1037"/>
          <ac:spMkLst>
            <pc:docMk/>
            <pc:sldMk cId="2857089145" sldId="2134804311"/>
            <ac:spMk id="96" creationId="{2F854CD9-D212-4B31-8682-2DA5928CD160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4:12.595" v="11187" actId="1076"/>
          <ac:spMkLst>
            <pc:docMk/>
            <pc:sldMk cId="2857089145" sldId="2134804311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2.597" v="11385" actId="1037"/>
          <ac:spMkLst>
            <pc:docMk/>
            <pc:sldMk cId="2857089145" sldId="2134804311"/>
            <ac:spMk id="98" creationId="{1B36C647-4A59-44AE-8DCC-30702D96622E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99" creationId="{90CC82AC-D82E-4F89-AC67-093894759099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100" creationId="{1835F856-5B59-4AFF-86DE-2F0968B76CF7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102" creationId="{101F3273-AA10-47F1-9872-07AD50130DF5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103" creationId="{BDBCDC72-F935-45A4-AE31-C045019965A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104" creationId="{0326A105-08B6-409E-9596-07BD7645DE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105" creationId="{DC633C75-4D21-4E37-ABEB-B69D06C0A2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106" creationId="{8BF155F6-9EE4-4410-BB22-DEE4B18E9F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107" creationId="{4802A65C-C4BA-49C6-A107-DC404BE5C3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4.083" v="11416" actId="1038"/>
          <ac:spMkLst>
            <pc:docMk/>
            <pc:sldMk cId="2857089145" sldId="2134804311"/>
            <ac:spMk id="108" creationId="{E7417F2C-4445-4433-AA31-1B1D9A1C89B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3:54.620" v="11520" actId="20577"/>
          <ac:spMkLst>
            <pc:docMk/>
            <pc:sldMk cId="2857089145" sldId="2134804311"/>
            <ac:spMk id="109" creationId="{08385488-E147-46D8-B063-DA33E0733CB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2.597" v="11385" actId="1037"/>
          <ac:spMkLst>
            <pc:docMk/>
            <pc:sldMk cId="2857089145" sldId="2134804311"/>
            <ac:spMk id="110" creationId="{1B70395F-81C2-4B2E-ACAD-1A28A2D30AE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2.597" v="11385" actId="1037"/>
          <ac:spMkLst>
            <pc:docMk/>
            <pc:sldMk cId="2857089145" sldId="2134804311"/>
            <ac:spMk id="111" creationId="{E2D710C4-D10D-431C-8002-D7A8CD9F979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112" creationId="{B4C1BF04-1012-45AC-9EB0-AC2838F845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113" creationId="{D5B58FCE-2D1A-4950-97BC-0B5CDA0B7BD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114" creationId="{C750392A-C581-4AE8-9E2B-5AF290039A2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1:34:59.746" v="7434" actId="478"/>
          <ac:spMkLst>
            <pc:docMk/>
            <pc:sldMk cId="2857089145" sldId="2134804311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146" creationId="{D86974CC-32BF-439F-A6E2-D1E82520294D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27T19:18:15.371" v="11372" actId="1037"/>
          <ac:grpSpMkLst>
            <pc:docMk/>
            <pc:sldMk cId="2857089145" sldId="2134804311"/>
            <ac:grpSpMk id="6" creationId="{CC434849-3074-4611-B817-AC1F162296B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8" creationId="{9A1EDE44-EA9B-4DEC-81AF-AD07328FAF2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11" creationId="{32344C98-1BC7-4CEF-AC79-5B765B75F873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14" creationId="{82DCB183-5F30-4F01-AD74-C88240C3307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15" creationId="{8B2AEF35-7481-4609-8636-E91921A14250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16" creationId="{77278303-2E76-4047-9BF0-D65EDCAD4766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17" creationId="{A6E0797A-1030-49A0-BCEB-31275A2AD22F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1:30:17.190" v="7116" actId="165"/>
          <ac:grpSpMkLst>
            <pc:docMk/>
            <pc:sldMk cId="2857089145" sldId="2134804311"/>
            <ac:grpSpMk id="86" creationId="{C47E76BD-BB98-4B19-990C-C564EF6321A6}"/>
          </ac:grpSpMkLst>
        </pc:grpChg>
        <pc:cxnChg chg="del mod">
          <ac:chgData name="Mariam Daniela Tristancho Pineda (MISION TEMPORAL LTDA)" userId="a45a17f7-7950-4cb5-bfab-f5c894f959a9" providerId="ADAL" clId="{9D150B60-33B5-4A3E-8123-A67E35AA8D44}" dt="2020-07-26T22:00:52.561" v="8212" actId="478"/>
          <ac:cxnSpMkLst>
            <pc:docMk/>
            <pc:sldMk cId="2857089145" sldId="2134804311"/>
            <ac:cxnSpMk id="95" creationId="{992CCE25-00CE-4C15-881A-068C6B1A3F0E}"/>
          </ac:cxnSpMkLst>
        </pc:cxnChg>
      </pc:sldChg>
      <pc:sldChg chg="add del">
        <pc:chgData name="Mariam Daniela Tristancho Pineda (MISION TEMPORAL LTDA)" userId="a45a17f7-7950-4cb5-bfab-f5c894f959a9" providerId="ADAL" clId="{9D150B60-33B5-4A3E-8123-A67E35AA8D44}" dt="2020-07-27T00:08:38.717" v="10950" actId="47"/>
        <pc:sldMkLst>
          <pc:docMk/>
          <pc:sldMk cId="2461600132" sldId="2134804312"/>
        </pc:sldMkLst>
      </pc:sldChg>
      <pc:sldChg chg="addSp modSp add del mod">
        <pc:chgData name="Mariam Daniela Tristancho Pineda (MISION TEMPORAL LTDA)" userId="a45a17f7-7950-4cb5-bfab-f5c894f959a9" providerId="ADAL" clId="{9D150B60-33B5-4A3E-8123-A67E35AA8D44}" dt="2020-07-26T22:52:48.086" v="9328" actId="47"/>
        <pc:sldMkLst>
          <pc:docMk/>
          <pc:sldMk cId="3339628768" sldId="2134804312"/>
        </pc:sldMkLst>
        <pc:spChg chg="add mod">
          <ac:chgData name="Mariam Daniela Tristancho Pineda (MISION TEMPORAL LTDA)" userId="a45a17f7-7950-4cb5-bfab-f5c894f959a9" providerId="ADAL" clId="{9D150B60-33B5-4A3E-8123-A67E35AA8D44}" dt="2020-07-26T22:52:45.254" v="9327" actId="1076"/>
          <ac:spMkLst>
            <pc:docMk/>
            <pc:sldMk cId="3339628768" sldId="2134804312"/>
            <ac:spMk id="6" creationId="{763030F3-2D3F-4568-BC6A-3611E0D9F770}"/>
          </ac:spMkLst>
        </pc:spChg>
      </pc:sldChg>
      <pc:sldChg chg="addSp delSp modSp add del mod">
        <pc:chgData name="Mariam Daniela Tristancho Pineda (MISION TEMPORAL LTDA)" userId="a45a17f7-7950-4cb5-bfab-f5c894f959a9" providerId="ADAL" clId="{9D150B60-33B5-4A3E-8123-A67E35AA8D44}" dt="2020-07-24T19:46:26.707" v="5733" actId="47"/>
        <pc:sldMkLst>
          <pc:docMk/>
          <pc:sldMk cId="4166213262" sldId="2134804312"/>
        </pc:sldMkLst>
        <pc:spChg chg="mod ord">
          <ac:chgData name="Mariam Daniela Tristancho Pineda (MISION TEMPORAL LTDA)" userId="a45a17f7-7950-4cb5-bfab-f5c894f959a9" providerId="ADAL" clId="{9D150B60-33B5-4A3E-8123-A67E35AA8D44}" dt="2020-07-10T00:40:04.220" v="1876" actId="1038"/>
          <ac:spMkLst>
            <pc:docMk/>
            <pc:sldMk cId="4166213262" sldId="2134804312"/>
            <ac:spMk id="3" creationId="{815B10B7-60B3-4C63-8431-70CC556387C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21.875" v="1366" actId="478"/>
          <ac:spMkLst>
            <pc:docMk/>
            <pc:sldMk cId="4166213262" sldId="2134804312"/>
            <ac:spMk id="6" creationId="{176A1BC7-0C2B-46FE-9DC1-6327C3BF363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36.833" v="4432" actId="12788"/>
          <ac:spMkLst>
            <pc:docMk/>
            <pc:sldMk cId="4166213262" sldId="2134804312"/>
            <ac:spMk id="45" creationId="{FE8ED9F7-3608-4810-95FA-CCA357FF8DD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46" creationId="{37613081-A8A7-4283-97BA-0F79BCAFB2C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50" creationId="{A6FD2FCA-22BD-4408-A162-974663FFA2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32.288" v="4431" actId="12788"/>
          <ac:spMkLst>
            <pc:docMk/>
            <pc:sldMk cId="4166213262" sldId="2134804312"/>
            <ac:spMk id="51" creationId="{D395E86E-3965-40C4-A3DF-5364D60CE5F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52" creationId="{5B06B1DA-3BD9-47D7-9B3D-C321E2E527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7:38.790" v="2952" actId="20577"/>
          <ac:spMkLst>
            <pc:docMk/>
            <pc:sldMk cId="4166213262" sldId="2134804312"/>
            <ac:spMk id="53" creationId="{F9C857D3-C5F6-4D00-8D9C-646D1DA60918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19:53:42.639" v="4041" actId="167"/>
          <ac:spMkLst>
            <pc:docMk/>
            <pc:sldMk cId="4166213262" sldId="2134804312"/>
            <ac:spMk id="54" creationId="{C38A9719-1AF0-4D7F-AF9E-714FBC1335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53.925" v="4436" actId="12788"/>
          <ac:spMkLst>
            <pc:docMk/>
            <pc:sldMk cId="4166213262" sldId="2134804312"/>
            <ac:spMk id="55" creationId="{29532448-A08B-43D8-A118-91936FED3C4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57" creationId="{899A4C5F-C341-448B-B15D-BB337D4E41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25.393" v="4430" actId="12788"/>
          <ac:spMkLst>
            <pc:docMk/>
            <pc:sldMk cId="4166213262" sldId="2134804312"/>
            <ac:spMk id="58" creationId="{13971695-02CB-4075-AB5E-BDAB89C4EB5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59" creationId="{7127D3DE-EF0D-403A-A224-06CFC244F2F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60" creationId="{C756E770-FDC5-4AD2-8422-3E24C95668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40.684" v="4433" actId="12788"/>
          <ac:spMkLst>
            <pc:docMk/>
            <pc:sldMk cId="4166213262" sldId="2134804312"/>
            <ac:spMk id="61" creationId="{34F7D164-E994-45AC-8F26-F92B7ACB058A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40:16.498" v="1914" actId="1037"/>
          <ac:spMkLst>
            <pc:docMk/>
            <pc:sldMk cId="4166213262" sldId="2134804312"/>
            <ac:spMk id="63" creationId="{C8570C6E-3F05-4155-850A-C74FBEC80B54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40:09.319" v="1895" actId="1037"/>
          <ac:spMkLst>
            <pc:docMk/>
            <pc:sldMk cId="4166213262" sldId="2134804312"/>
            <ac:spMk id="64" creationId="{646BACCF-FF90-4891-9AFB-F9D4221C88F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65" creationId="{1065D923-F137-4939-8930-2192BD04211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66" creationId="{DC1BBBBA-158A-411A-BB38-9A477BEC2498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40:12.849" v="1906" actId="1037"/>
          <ac:spMkLst>
            <pc:docMk/>
            <pc:sldMk cId="4166213262" sldId="2134804312"/>
            <ac:spMk id="67" creationId="{C40762A9-67E9-4AAE-9CCD-76B6A00655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2:25.101" v="1971" actId="1036"/>
          <ac:spMkLst>
            <pc:docMk/>
            <pc:sldMk cId="4166213262" sldId="2134804312"/>
            <ac:spMk id="71" creationId="{999B1B90-D742-4D29-B51B-141387E09C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1:09.386" v="1930" actId="403"/>
          <ac:spMkLst>
            <pc:docMk/>
            <pc:sldMk cId="4166213262" sldId="2134804312"/>
            <ac:spMk id="72" creationId="{2FBB49E6-161E-494F-B0AF-91D6129F8F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2:05.696" v="1959" actId="1037"/>
          <ac:spMkLst>
            <pc:docMk/>
            <pc:sldMk cId="4166213262" sldId="2134804312"/>
            <ac:spMk id="73" creationId="{7882AF9C-51C3-42A3-B5BB-994F0A38CD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1:11.491" v="1931" actId="403"/>
          <ac:spMkLst>
            <pc:docMk/>
            <pc:sldMk cId="4166213262" sldId="2134804312"/>
            <ac:spMk id="75" creationId="{038013D2-E475-419B-A6D0-BE4D39D57D1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1:04.219" v="1928" actId="403"/>
          <ac:spMkLst>
            <pc:docMk/>
            <pc:sldMk cId="4166213262" sldId="2134804312"/>
            <ac:spMk id="76" creationId="{0F21D6C4-EC29-43B6-B8E7-338DB7DD7C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1:06.459" v="1929" actId="403"/>
          <ac:spMkLst>
            <pc:docMk/>
            <pc:sldMk cId="4166213262" sldId="2134804312"/>
            <ac:spMk id="77" creationId="{95FD1090-EE89-438B-9895-DC57C1D16AA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2:10.437" v="1968" actId="1037"/>
          <ac:spMkLst>
            <pc:docMk/>
            <pc:sldMk cId="4166213262" sldId="2134804312"/>
            <ac:spMk id="78" creationId="{1775A41A-7B98-4609-BF00-BC54D6AACB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2:10.437" v="1968" actId="1037"/>
          <ac:spMkLst>
            <pc:docMk/>
            <pc:sldMk cId="4166213262" sldId="2134804312"/>
            <ac:spMk id="79" creationId="{4CB33A5F-A766-46AC-A7C7-BF7EAD99C46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2:10.437" v="1968" actId="1037"/>
          <ac:spMkLst>
            <pc:docMk/>
            <pc:sldMk cId="4166213262" sldId="2134804312"/>
            <ac:spMk id="80" creationId="{4CCC5681-CD2B-48BE-AC2F-73599B52580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0:58.447" v="1927" actId="403"/>
          <ac:spMkLst>
            <pc:docMk/>
            <pc:sldMk cId="4166213262" sldId="2134804312"/>
            <ac:spMk id="81" creationId="{634E8F6A-D227-42AA-8F9A-1A7BE729C4A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0:58.447" v="1927" actId="403"/>
          <ac:spMkLst>
            <pc:docMk/>
            <pc:sldMk cId="4166213262" sldId="2134804312"/>
            <ac:spMk id="83" creationId="{83FFFF75-698F-4830-A17F-3A75C875E44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0:58.447" v="1927" actId="403"/>
          <ac:spMkLst>
            <pc:docMk/>
            <pc:sldMk cId="4166213262" sldId="2134804312"/>
            <ac:spMk id="84" creationId="{E8FAC1FE-10FB-45A2-ADB6-53328F0B0D2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0:58.447" v="1927" actId="403"/>
          <ac:spMkLst>
            <pc:docMk/>
            <pc:sldMk cId="4166213262" sldId="2134804312"/>
            <ac:spMk id="85" creationId="{2E45A84E-D7BC-4D0A-86B6-E69D7A67D6F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2:16.275" v="1586" actId="478"/>
          <ac:spMkLst>
            <pc:docMk/>
            <pc:sldMk cId="4166213262" sldId="2134804312"/>
            <ac:spMk id="86" creationId="{F7362C91-67BB-4CFB-8114-BCC038C9F5A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0:04.545" v="1487" actId="478"/>
          <ac:spMkLst>
            <pc:docMk/>
            <pc:sldMk cId="4166213262" sldId="2134804312"/>
            <ac:spMk id="87" creationId="{A58BF597-C51C-4E2C-9BD2-59F949AC6F7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36:51.392" v="1720" actId="164"/>
          <ac:spMkLst>
            <pc:docMk/>
            <pc:sldMk cId="4166213262" sldId="2134804312"/>
            <ac:spMk id="88" creationId="{F61EEF2A-B598-4665-AE21-A8A3931488A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32:55.811" v="1633" actId="478"/>
          <ac:spMkLst>
            <pc:docMk/>
            <pc:sldMk cId="4166213262" sldId="2134804312"/>
            <ac:spMk id="89" creationId="{973F83E5-B4A3-40C6-8A01-259D39F0C4E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40.982" v="1368" actId="478"/>
          <ac:spMkLst>
            <pc:docMk/>
            <pc:sldMk cId="4166213262" sldId="2134804312"/>
            <ac:spMk id="90" creationId="{744DB82B-E482-4033-8CAD-6B29F669CFF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40.982" v="1368" actId="478"/>
          <ac:spMkLst>
            <pc:docMk/>
            <pc:sldMk cId="4166213262" sldId="2134804312"/>
            <ac:spMk id="91" creationId="{D66505A6-8BAE-42E1-964E-6D28D62D280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1:00.131" v="4437" actId="12788"/>
          <ac:spMkLst>
            <pc:docMk/>
            <pc:sldMk cId="4166213262" sldId="2134804312"/>
            <ac:spMk id="92" creationId="{DB1752F5-4060-4D61-BFAC-2C0F1BFD040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93" creationId="{AD90D2B9-42A2-4AAA-A28D-605C2393156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94" creationId="{75F6475F-AD44-4C16-BAE2-A31BB96FC41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96" creationId="{2F854CD9-D212-4B31-8682-2DA5928CD16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44.707" v="4434" actId="12788"/>
          <ac:spMkLst>
            <pc:docMk/>
            <pc:sldMk cId="4166213262" sldId="2134804312"/>
            <ac:spMk id="97" creationId="{99300021-C267-43BD-A0F5-B3ECE62234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98" creationId="{1B36C647-4A59-44AE-8DCC-30702D96622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40.982" v="1368" actId="478"/>
          <ac:spMkLst>
            <pc:docMk/>
            <pc:sldMk cId="4166213262" sldId="2134804312"/>
            <ac:spMk id="99" creationId="{90CC82AC-D82E-4F89-AC67-09389475909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40.982" v="1368" actId="478"/>
          <ac:spMkLst>
            <pc:docMk/>
            <pc:sldMk cId="4166213262" sldId="2134804312"/>
            <ac:spMk id="100" creationId="{1835F856-5B59-4AFF-86DE-2F0968B76C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0:58.447" v="1927" actId="403"/>
          <ac:spMkLst>
            <pc:docMk/>
            <pc:sldMk cId="4166213262" sldId="2134804312"/>
            <ac:spMk id="101" creationId="{44FF1F0B-7DB4-4DE9-84A8-F7DD4E54D7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39:04.061" v="1834" actId="255"/>
          <ac:spMkLst>
            <pc:docMk/>
            <pc:sldMk cId="4166213262" sldId="2134804312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48.283" v="4435" actId="12788"/>
          <ac:spMkLst>
            <pc:docMk/>
            <pc:sldMk cId="4166213262" sldId="2134804312"/>
            <ac:spMk id="103" creationId="{BDBCDC72-F935-45A4-AE31-C045019965A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40.982" v="1368" actId="478"/>
          <ac:spMkLst>
            <pc:docMk/>
            <pc:sldMk cId="4166213262" sldId="2134804312"/>
            <ac:spMk id="104" creationId="{0326A105-08B6-409E-9596-07BD7645DEAE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34:24.100" v="1702" actId="1035"/>
          <ac:spMkLst>
            <pc:docMk/>
            <pc:sldMk cId="4166213262" sldId="2134804312"/>
            <ac:spMk id="105" creationId="{DC633C75-4D21-4E37-ABEB-B69D06C0A22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28:44.305" v="1370" actId="478"/>
          <ac:spMkLst>
            <pc:docMk/>
            <pc:sldMk cId="4166213262" sldId="2134804312"/>
            <ac:spMk id="106" creationId="{8BF155F6-9EE4-4410-BB22-DEE4B18E9FEF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34:24.100" v="1702" actId="1035"/>
          <ac:spMkLst>
            <pc:docMk/>
            <pc:sldMk cId="4166213262" sldId="2134804312"/>
            <ac:spMk id="107" creationId="{4802A65C-C4BA-49C6-A107-DC404BE5C336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39:28.509" v="1845" actId="1037"/>
          <ac:spMkLst>
            <pc:docMk/>
            <pc:sldMk cId="4166213262" sldId="2134804312"/>
            <ac:spMk id="108" creationId="{E7417F2C-4445-4433-AA31-1B1D9A1C89B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1:55.486" v="1951" actId="1036"/>
          <ac:spMkLst>
            <pc:docMk/>
            <pc:sldMk cId="4166213262" sldId="2134804312"/>
            <ac:spMk id="109" creationId="{08385488-E147-46D8-B063-DA33E0733CB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110" creationId="{1B70395F-81C2-4B2E-ACAD-1A28A2D30AE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111" creationId="{E2D710C4-D10D-431C-8002-D7A8CD9F979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1:48.051" v="1538" actId="478"/>
          <ac:spMkLst>
            <pc:docMk/>
            <pc:sldMk cId="4166213262" sldId="2134804312"/>
            <ac:spMk id="112" creationId="{B4C1BF04-1012-45AC-9EB0-AC2838F8453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113" creationId="{D5B58FCE-2D1A-4950-97BC-0B5CDA0B7BD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114" creationId="{C750392A-C581-4AE8-9E2B-5AF290039A2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00:36:51.392" v="1720" actId="164"/>
          <ac:spMkLst>
            <pc:docMk/>
            <pc:sldMk cId="4166213262" sldId="2134804312"/>
            <ac:spMk id="115" creationId="{7C7F20D3-7C76-4D21-ABC0-7A78EA72DDA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36.833" v="4432" actId="12788"/>
          <ac:spMkLst>
            <pc:docMk/>
            <pc:sldMk cId="4166213262" sldId="2134804312"/>
            <ac:spMk id="116" creationId="{F9B4EC4A-DEF8-4849-967D-F271AF5E728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32.288" v="4431" actId="12788"/>
          <ac:spMkLst>
            <pc:docMk/>
            <pc:sldMk cId="4166213262" sldId="2134804312"/>
            <ac:spMk id="117" creationId="{8AE31521-9A41-44BE-9E9D-BF658043CDF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25.393" v="4430" actId="12788"/>
          <ac:spMkLst>
            <pc:docMk/>
            <pc:sldMk cId="4166213262" sldId="2134804312"/>
            <ac:spMk id="118" creationId="{05C12AA3-6976-4F46-81AF-3A751B866B1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40.684" v="4433" actId="12788"/>
          <ac:spMkLst>
            <pc:docMk/>
            <pc:sldMk cId="4166213262" sldId="2134804312"/>
            <ac:spMk id="119" creationId="{0C340092-C150-4035-8182-33B7C9A82FF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44.707" v="4434" actId="12788"/>
          <ac:spMkLst>
            <pc:docMk/>
            <pc:sldMk cId="4166213262" sldId="2134804312"/>
            <ac:spMk id="120" creationId="{A235ED41-8B46-4E2C-AE6A-6B5C7E59240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48.283" v="4435" actId="12788"/>
          <ac:spMkLst>
            <pc:docMk/>
            <pc:sldMk cId="4166213262" sldId="2134804312"/>
            <ac:spMk id="121" creationId="{5C66F4FD-2E4E-46DB-BF99-D417376F791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38:18.402" v="1793"/>
          <ac:spMkLst>
            <pc:docMk/>
            <pc:sldMk cId="4166213262" sldId="2134804312"/>
            <ac:spMk id="122" creationId="{475C396F-1091-472F-B36C-B0849A58D19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38:18.402" v="1793"/>
          <ac:spMkLst>
            <pc:docMk/>
            <pc:sldMk cId="4166213262" sldId="2134804312"/>
            <ac:spMk id="123" creationId="{C121654D-E647-416B-900F-0BC8642CE31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38:18.402" v="1793"/>
          <ac:spMkLst>
            <pc:docMk/>
            <pc:sldMk cId="4166213262" sldId="2134804312"/>
            <ac:spMk id="124" creationId="{CBF694CA-8CCB-4D6E-9E91-1702905756E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38:18.402" v="1793"/>
          <ac:spMkLst>
            <pc:docMk/>
            <pc:sldMk cId="4166213262" sldId="2134804312"/>
            <ac:spMk id="125" creationId="{E71A3A43-74ED-4882-9E79-B134E647761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38:18.402" v="1793"/>
          <ac:spMkLst>
            <pc:docMk/>
            <pc:sldMk cId="4166213262" sldId="2134804312"/>
            <ac:spMk id="126" creationId="{74DC9F1A-93DF-4158-85DF-6B100037F46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33:41.467" v="1676" actId="1036"/>
          <ac:spMkLst>
            <pc:docMk/>
            <pc:sldMk cId="4166213262" sldId="2134804312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1:00.131" v="4437" actId="12788"/>
          <ac:spMkLst>
            <pc:docMk/>
            <pc:sldMk cId="4166213262" sldId="2134804312"/>
            <ac:spMk id="146" creationId="{D86974CC-32BF-439F-A6E2-D1E82520294D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10T20:50:53.925" v="4436" actId="12788"/>
          <ac:grpSpMkLst>
            <pc:docMk/>
            <pc:sldMk cId="4166213262" sldId="2134804312"/>
            <ac:grpSpMk id="7" creationId="{A8E7CC26-468B-4A46-80D1-F7B8C3D88492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1:52.265" v="1945" actId="1076"/>
          <ac:grpSpMkLst>
            <pc:docMk/>
            <pc:sldMk cId="4166213262" sldId="2134804312"/>
            <ac:grpSpMk id="8" creationId="{9A1EDE44-EA9B-4DEC-81AF-AD07328FAF2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1:47.344" v="1944" actId="1076"/>
          <ac:grpSpMkLst>
            <pc:docMk/>
            <pc:sldMk cId="4166213262" sldId="2134804312"/>
            <ac:grpSpMk id="11" creationId="{32344C98-1BC7-4CEF-AC79-5B765B75F873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10T00:36:32.300" v="1714" actId="478"/>
          <ac:grpSpMkLst>
            <pc:docMk/>
            <pc:sldMk cId="4166213262" sldId="2134804312"/>
            <ac:grpSpMk id="14" creationId="{82DCB183-5F30-4F01-AD74-C88240C3307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1:36.439" v="1942" actId="1076"/>
          <ac:grpSpMkLst>
            <pc:docMk/>
            <pc:sldMk cId="4166213262" sldId="2134804312"/>
            <ac:grpSpMk id="15" creationId="{8B2AEF35-7481-4609-8636-E91921A14250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2:01.616" v="1952" actId="1076"/>
          <ac:grpSpMkLst>
            <pc:docMk/>
            <pc:sldMk cId="4166213262" sldId="2134804312"/>
            <ac:grpSpMk id="16" creationId="{77278303-2E76-4047-9BF0-D65EDCAD4766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1:41.048" v="1943" actId="1076"/>
          <ac:grpSpMkLst>
            <pc:docMk/>
            <pc:sldMk cId="4166213262" sldId="2134804312"/>
            <ac:grpSpMk id="17" creationId="{A6E0797A-1030-49A0-BCEB-31275A2AD22F}"/>
          </ac:grpSpMkLst>
        </pc:grpChg>
        <pc:cxnChg chg="mod">
          <ac:chgData name="Mariam Daniela Tristancho Pineda (MISION TEMPORAL LTDA)" userId="a45a17f7-7950-4cb5-bfab-f5c894f959a9" providerId="ADAL" clId="{9D150B60-33B5-4A3E-8123-A67E35AA8D44}" dt="2020-07-10T19:53:53.583" v="4044" actId="1036"/>
          <ac:cxnSpMkLst>
            <pc:docMk/>
            <pc:sldMk cId="4166213262" sldId="2134804312"/>
            <ac:cxnSpMk id="95" creationId="{992CCE25-00CE-4C15-881A-068C6B1A3F0E}"/>
          </ac:cxnSpMkLst>
        </pc:cxn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7:41.893" v="20052"/>
        <pc:sldMkLst>
          <pc:docMk/>
          <pc:sldMk cId="1359201595" sldId="2134804313"/>
        </pc:sldMkLst>
        <pc:spChg chg="mod">
          <ac:chgData name="Mariam Daniela Tristancho Pineda (MISION TEMPORAL LTDA)" userId="a45a17f7-7950-4cb5-bfab-f5c894f959a9" providerId="ADAL" clId="{9D150B60-33B5-4A3E-8123-A67E35AA8D44}" dt="2020-07-10T15:57:46.145" v="2957" actId="20577"/>
          <ac:spMkLst>
            <pc:docMk/>
            <pc:sldMk cId="1359201595" sldId="2134804313"/>
            <ac:spMk id="4" creationId="{C47780CB-210E-480D-AF15-355BDC7F6E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5:18.293" v="2061" actId="1036"/>
          <ac:spMkLst>
            <pc:docMk/>
            <pc:sldMk cId="1359201595" sldId="2134804313"/>
            <ac:spMk id="5" creationId="{60144380-CBE4-4263-86E5-F4A7E5CEC0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34.113" v="9026" actId="1036"/>
          <ac:spMkLst>
            <pc:docMk/>
            <pc:sldMk cId="1359201595" sldId="2134804313"/>
            <ac:spMk id="7" creationId="{49F21896-A687-4F29-8499-091C5F1FE37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44:36.428" v="2012" actId="478"/>
          <ac:spMkLst>
            <pc:docMk/>
            <pc:sldMk cId="1359201595" sldId="2134804313"/>
            <ac:spMk id="11" creationId="{BE3FDB33-82DE-49B7-85B7-9476B27F9C30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4T19:56:35.603" v="6002" actId="478"/>
          <ac:spMkLst>
            <pc:docMk/>
            <pc:sldMk cId="1359201595" sldId="2134804313"/>
            <ac:spMk id="14" creationId="{0572F48F-01C6-4118-B2F6-94C3B890E625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4T19:57:10.810" v="6013" actId="22"/>
          <ac:spMkLst>
            <pc:docMk/>
            <pc:sldMk cId="1359201595" sldId="2134804313"/>
            <ac:spMk id="17" creationId="{2000E44E-4FD4-4015-978F-D5526500186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43:52.401" v="1999" actId="478"/>
          <ac:spMkLst>
            <pc:docMk/>
            <pc:sldMk cId="1359201595" sldId="2134804313"/>
            <ac:spMk id="20" creationId="{2690C17A-D8A4-4912-9990-E2826E05139B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10T00:45:21.551" v="2067" actId="1036"/>
          <ac:grpSpMkLst>
            <pc:docMk/>
            <pc:sldMk cId="1359201595" sldId="2134804313"/>
            <ac:grpSpMk id="12" creationId="{97A64B71-2068-4384-8243-F4ED1BE3BD64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5:21.551" v="2067" actId="1036"/>
          <ac:grpSpMkLst>
            <pc:docMk/>
            <pc:sldMk cId="1359201595" sldId="2134804313"/>
            <ac:grpSpMk id="13" creationId="{A8D5E88D-0623-41AE-9881-9D4BA0197AE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5:21.551" v="2067" actId="1036"/>
          <ac:grpSpMkLst>
            <pc:docMk/>
            <pc:sldMk cId="1359201595" sldId="2134804313"/>
            <ac:grpSpMk id="16" creationId="{0B2E59AD-3929-43C2-8F9D-A17671E2843E}"/>
          </ac:grpSpMkLst>
        </pc:grpChg>
      </pc:sldChg>
      <pc:sldChg chg="add del">
        <pc:chgData name="Mariam Daniela Tristancho Pineda (MISION TEMPORAL LTDA)" userId="a45a17f7-7950-4cb5-bfab-f5c894f959a9" providerId="ADAL" clId="{9D150B60-33B5-4A3E-8123-A67E35AA8D44}" dt="2020-07-10T00:43:42.878" v="1975" actId="47"/>
        <pc:sldMkLst>
          <pc:docMk/>
          <pc:sldMk cId="1746920980" sldId="2134804313"/>
        </pc:sldMkLst>
      </pc:sldChg>
      <pc:sldChg chg="delSp modSp add del mod ord">
        <pc:chgData name="Mariam Daniela Tristancho Pineda (MISION TEMPORAL LTDA)" userId="a45a17f7-7950-4cb5-bfab-f5c894f959a9" providerId="ADAL" clId="{9D150B60-33B5-4A3E-8123-A67E35AA8D44}" dt="2020-07-24T19:58:06.156" v="6030" actId="47"/>
        <pc:sldMkLst>
          <pc:docMk/>
          <pc:sldMk cId="1129559079" sldId="2134804314"/>
        </pc:sldMkLst>
        <pc:spChg chg="mod">
          <ac:chgData name="Mariam Daniela Tristancho Pineda (MISION TEMPORAL LTDA)" userId="a45a17f7-7950-4cb5-bfab-f5c894f959a9" providerId="ADAL" clId="{9D150B60-33B5-4A3E-8123-A67E35AA8D44}" dt="2020-07-10T15:58:27.185" v="2979" actId="14100"/>
          <ac:spMkLst>
            <pc:docMk/>
            <pc:sldMk cId="1129559079" sldId="2134804314"/>
            <ac:spMk id="2" creationId="{6431BBCF-96E5-45A7-B7E5-D44090D0632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15:58:28.949" v="2980" actId="478"/>
          <ac:spMkLst>
            <pc:docMk/>
            <pc:sldMk cId="1129559079" sldId="2134804314"/>
            <ac:spMk id="4" creationId="{C6BB69BF-88FF-4A74-ADFD-C157B112F919}"/>
          </ac:spMkLst>
        </pc:spChg>
      </pc:sldChg>
      <pc:sldChg chg="add del ord">
        <pc:chgData name="Mariam Daniela Tristancho Pineda (MISION TEMPORAL LTDA)" userId="a45a17f7-7950-4cb5-bfab-f5c894f959a9" providerId="ADAL" clId="{9D150B60-33B5-4A3E-8123-A67E35AA8D44}" dt="2020-07-10T19:10:07.347" v="3023" actId="47"/>
        <pc:sldMkLst>
          <pc:docMk/>
          <pc:sldMk cId="1505770489" sldId="2134804315"/>
        </pc:sldMkLst>
      </pc:sldChg>
      <pc:sldChg chg="addSp delSp modSp add del mod ord">
        <pc:chgData name="Mariam Daniela Tristancho Pineda (MISION TEMPORAL LTDA)" userId="a45a17f7-7950-4cb5-bfab-f5c894f959a9" providerId="ADAL" clId="{9D150B60-33B5-4A3E-8123-A67E35AA8D44}" dt="2020-07-28T15:04:06.889" v="20012" actId="478"/>
        <pc:sldMkLst>
          <pc:docMk/>
          <pc:sldMk cId="1535562114" sldId="2134804316"/>
        </pc:sldMkLst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3" creationId="{31514E04-D9F2-4C9D-BB7C-0BB641AFCD5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5:03:13.679" v="19931"/>
          <ac:spMkLst>
            <pc:docMk/>
            <pc:sldMk cId="1535562114" sldId="2134804316"/>
            <ac:spMk id="4" creationId="{9B0CE30D-625A-4CD9-98D4-3AF33243D19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5:04:06.889" v="20012" actId="478"/>
          <ac:spMkLst>
            <pc:docMk/>
            <pc:sldMk cId="1535562114" sldId="2134804316"/>
            <ac:spMk id="8" creationId="{8297F929-C1B1-480C-B41F-11DADC46CD0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0" creationId="{810E18BD-2955-4DB2-AEDB-386E84418C6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2" creationId="{96C9E76C-8C7F-489D-82CB-B2BD0385270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3" creationId="{3014ABA7-CFC8-4DE9-B63D-0E20E8E6D5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4" creationId="{D1DAE228-949A-4D89-BEA5-C97D123F5CC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9" creationId="{CE9667FC-2EDF-4F30-B9FB-41AC4BCA57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3.330" v="10929" actId="14100"/>
          <ac:spMkLst>
            <pc:docMk/>
            <pc:sldMk cId="1535562114" sldId="2134804316"/>
            <ac:spMk id="20" creationId="{92C8D133-E6D8-4045-B204-E026C56210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33" creationId="{257A51C8-EB6E-4CAA-8ED7-3E4E7C0B3A8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36" creationId="{25CCB3F9-8A57-42B5-B0AC-56F5E0EDAC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37" creationId="{50BFBD21-058C-4134-A883-5F522F8B0B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38" creationId="{3552541D-17C8-4822-9A1D-90A0C0B5AD8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0" creationId="{25EFF114-9C03-4A67-908C-727B85061D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1" creationId="{F04142FF-DA42-4442-8692-4F397E7AEFE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35:44.760" v="3218" actId="478"/>
          <ac:spMkLst>
            <pc:docMk/>
            <pc:sldMk cId="1535562114" sldId="2134804316"/>
            <ac:spMk id="42" creationId="{1BE30CD7-C545-41AF-B87F-5265E36598A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3" creationId="{EEC3A31D-356D-41DB-A156-97872532EB8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4" creationId="{4B1A9C8A-FFC0-483B-B825-ED5EF0C388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5" creationId="{8E8CD834-7B34-47C9-9BE7-09ECA14BFCE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7" creationId="{137B0C4F-8471-4337-954D-6AECA53DF9C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8" creationId="{35A19989-D8F4-434C-A107-FEE4491A62E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9" creationId="{428A637F-3262-4326-AF06-59FAD81C88B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6:40.159" v="3781" actId="478"/>
          <ac:spMkLst>
            <pc:docMk/>
            <pc:sldMk cId="1535562114" sldId="2134804316"/>
            <ac:spMk id="50" creationId="{5456FCCF-17A3-4C09-BB8D-FFC3C7379B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1" creationId="{C0A2318E-3E25-4819-8017-0D802266D8B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52" creationId="{FC3592D3-9AB1-446B-A099-2A5C49525B4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3" creationId="{86FB72C7-C1CA-4677-9B10-F459107B423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4" creationId="{18FCD16F-84E8-4671-A091-C0264D48052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55" creationId="{24B43721-8F2C-4416-AF8D-9AB7CA3936C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6" creationId="{C16E047E-B58C-48A8-8CD8-BB364156BA5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7" creationId="{C756E3B5-B399-42BA-852F-3E3A8C57197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8" creationId="{87C0C219-147A-4233-AEBD-D8B263DF291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59" creationId="{5468E5AE-6FFC-4FA1-AFCD-7D4DFC68FDF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5:04:05.529" v="20011" actId="478"/>
          <ac:spMkLst>
            <pc:docMk/>
            <pc:sldMk cId="1535562114" sldId="2134804316"/>
            <ac:spMk id="59" creationId="{92D28049-3D26-4F44-A770-F5BB7E3C0D5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60" creationId="{416DD046-D9EC-437D-B3C4-49AE6F9E8B1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61" creationId="{7C69D657-65A5-4E1B-8464-4A04E7AFC33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63" creationId="{FDF3B75C-EF94-43C4-8C4C-4ECAB5FEA69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5:03:47.730" v="20008" actId="1076"/>
          <ac:spMkLst>
            <pc:docMk/>
            <pc:sldMk cId="1535562114" sldId="2134804316"/>
            <ac:spMk id="64" creationId="{4721DFE2-27E5-4FF7-BB21-C56414CFB29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64" creationId="{61CFA38E-1F3E-49A0-A330-E5F97D5B2A0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65" creationId="{E1D02522-5753-4EFB-951A-5755483EDD9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66" creationId="{6F85F403-E123-4C2D-A378-CDAFE968B9D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67" creationId="{4CC8DF42-E8CE-4AEA-AF20-116C630E45E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68" creationId="{8B5ED806-B54B-4057-B826-24314EC1F9B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4.088" v="3822" actId="478"/>
          <ac:spMkLst>
            <pc:docMk/>
            <pc:sldMk cId="1535562114" sldId="2134804316"/>
            <ac:spMk id="69" creationId="{5A5074EC-7041-463A-BA61-7944DB96350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58:07.289" v="4054" actId="20577"/>
          <ac:spMkLst>
            <pc:docMk/>
            <pc:sldMk cId="1535562114" sldId="2134804316"/>
            <ac:spMk id="70" creationId="{A549087F-0234-4CF2-AA9A-E2B491A99CF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1" creationId="{AE4E9C97-7B60-469B-BC52-D347DAFECD7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2" creationId="{5D0D4C4D-47BB-4B80-A277-4F0B888AF34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3" creationId="{F1F3B6DC-C09E-47C1-A541-840715D8E62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4" creationId="{C97D4B36-2467-4C4B-B30A-AEFCBBE9359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5" creationId="{CE660E80-6E6E-457C-BF81-22E41384E9B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6" creationId="{A5446C31-1227-44BB-BF1A-9B1A149A89D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7" creationId="{127C6B95-5F14-4EFB-BE6F-5DAF78C1F91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8" creationId="{724BBD8F-5C5B-421E-8AAB-1C7F4B25AD02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79" creationId="{7A485175-A5E8-48E7-8A26-808AC78F05F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80" creationId="{46CDD12C-A76C-4B8E-BB4D-BF62C316F74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81" creationId="{CF7FC2F8-3431-4BEB-8DEB-39404DD7831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82" creationId="{4DC95C2A-BCF3-4355-9EF5-AAE53BD0732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83" creationId="{BAA4342E-A8B2-4831-96C7-5CDDA574687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4" creationId="{CD411578-B9DA-48C1-9675-B83281B38E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5" creationId="{3B83D539-5506-49C8-B434-B0636935C2E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6" creationId="{C0D8071E-E660-48AA-B1A5-D3608FE927E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7" creationId="{7CF57F42-1AA5-43FA-8A49-0BA5001C210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8" creationId="{25320169-DFF2-4A5A-BA08-D78D5F6600A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9" creationId="{F8119AC5-40E5-43CE-8080-3768092827D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0" creationId="{0E28198E-89D7-4349-9D46-33D843ACBC2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8:31.055" v="3895" actId="478"/>
          <ac:spMkLst>
            <pc:docMk/>
            <pc:sldMk cId="1535562114" sldId="2134804316"/>
            <ac:spMk id="91" creationId="{F9B0B932-04B2-4B4F-BE99-2C7D0957A69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2" creationId="{B7EA080A-EDD5-466D-9D38-95CA4EC3BCF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3" creationId="{8BB92AF4-BAC7-400A-9FE5-29EE61E1489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4" creationId="{00945104-3316-4EB6-B908-F5C147C174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5" creationId="{A732B0EB-1993-47FB-BF91-1012D8D5B83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9:50:10.101" v="3953" actId="122"/>
          <ac:spMkLst>
            <pc:docMk/>
            <pc:sldMk cId="1535562114" sldId="2134804316"/>
            <ac:spMk id="96" creationId="{AA69991C-DCBF-4FFF-89AB-188B325920D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9:36.647" v="3938" actId="478"/>
          <ac:spMkLst>
            <pc:docMk/>
            <pc:sldMk cId="1535562114" sldId="2134804316"/>
            <ac:spMk id="97" creationId="{6DD7CDC4-0CF4-4942-A0A6-4726EA0253E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9:35.202" v="3937" actId="478"/>
          <ac:spMkLst>
            <pc:docMk/>
            <pc:sldMk cId="1535562114" sldId="2134804316"/>
            <ac:spMk id="98" creationId="{2DFB1517-7A5B-4B63-A0DD-13D7AF34D78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9" creationId="{0DFF0EB6-13FB-4A14-BAA5-40502C26DE9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00" creationId="{CB82F4AE-6131-4AC9-882E-ED11EE7B73C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9:50:21.186" v="3954" actId="552"/>
          <ac:spMkLst>
            <pc:docMk/>
            <pc:sldMk cId="1535562114" sldId="2134804316"/>
            <ac:spMk id="101" creationId="{66AD7AD1-68F9-4723-9EB5-A48061C756E7}"/>
          </ac:spMkLst>
        </pc:spChg>
        <pc:graphicFrameChg chg="mod modGraphic">
          <ac:chgData name="Mariam Daniela Tristancho Pineda (MISION TEMPORAL LTDA)" userId="a45a17f7-7950-4cb5-bfab-f5c894f959a9" providerId="ADAL" clId="{9D150B60-33B5-4A3E-8123-A67E35AA8D44}" dt="2020-07-27T00:08:11.389" v="10928" actId="1036"/>
          <ac:graphicFrameMkLst>
            <pc:docMk/>
            <pc:sldMk cId="1535562114" sldId="2134804316"/>
            <ac:graphicFrameMk id="7" creationId="{C866CA4D-9ED5-4A67-9BF0-26C15AE2AA2C}"/>
          </ac:graphicFrameMkLst>
        </pc:graphicFrameChg>
        <pc:graphicFrameChg chg="del">
          <ac:chgData name="Mariam Daniela Tristancho Pineda (MISION TEMPORAL LTDA)" userId="a45a17f7-7950-4cb5-bfab-f5c894f959a9" providerId="ADAL" clId="{9D150B60-33B5-4A3E-8123-A67E35AA8D44}" dt="2020-07-10T19:40:00.977" v="3521" actId="478"/>
          <ac:graphicFrameMkLst>
            <pc:docMk/>
            <pc:sldMk cId="1535562114" sldId="2134804316"/>
            <ac:graphicFrameMk id="35" creationId="{D6562056-B40E-47F9-9726-6C4C21F304AB}"/>
          </ac:graphicFrameMkLst>
        </pc:graphicFrameChg>
        <pc:graphicFrameChg chg="add mod modGraphic">
          <ac:chgData name="Mariam Daniela Tristancho Pineda (MISION TEMPORAL LTDA)" userId="a45a17f7-7950-4cb5-bfab-f5c894f959a9" providerId="ADAL" clId="{9D150B60-33B5-4A3E-8123-A67E35AA8D44}" dt="2020-07-28T15:03:06.527" v="19929" actId="20577"/>
          <ac:graphicFrameMkLst>
            <pc:docMk/>
            <pc:sldMk cId="1535562114" sldId="2134804316"/>
            <ac:graphicFrameMk id="46" creationId="{0D626CD9-F4FF-45E4-88CE-52500C2C1600}"/>
          </ac:graphicFrameMkLst>
        </pc:graphicFrameChg>
        <pc:cxnChg chg="mod">
          <ac:chgData name="Mariam Daniela Tristancho Pineda (MISION TEMPORAL LTDA)" userId="a45a17f7-7950-4cb5-bfab-f5c894f959a9" providerId="ADAL" clId="{9D150B60-33B5-4A3E-8123-A67E35AA8D44}" dt="2020-07-27T00:08:30.542" v="10949" actId="1036"/>
          <ac:cxnSpMkLst>
            <pc:docMk/>
            <pc:sldMk cId="1535562114" sldId="2134804316"/>
            <ac:cxnSpMk id="5" creationId="{017DAD00-B855-4E39-8DE1-7636A3DDFC9D}"/>
          </ac:cxnSpMkLst>
        </pc:cxnChg>
      </pc:sldChg>
      <pc:sldChg chg="addSp delSp modSp add del mod">
        <pc:chgData name="Mariam Daniela Tristancho Pineda (MISION TEMPORAL LTDA)" userId="a45a17f7-7950-4cb5-bfab-f5c894f959a9" providerId="ADAL" clId="{9D150B60-33B5-4A3E-8123-A67E35AA8D44}" dt="2020-07-24T20:58:10.919" v="6907" actId="47"/>
        <pc:sldMkLst>
          <pc:docMk/>
          <pc:sldMk cId="1039274809" sldId="2134804317"/>
        </pc:sldMkLst>
        <pc:spChg chg="mod">
          <ac:chgData name="Mariam Daniela Tristancho Pineda (MISION TEMPORAL LTDA)" userId="a45a17f7-7950-4cb5-bfab-f5c894f959a9" providerId="ADAL" clId="{9D150B60-33B5-4A3E-8123-A67E35AA8D44}" dt="2020-07-10T19:52:27.064" v="3979" actId="20577"/>
          <ac:spMkLst>
            <pc:docMk/>
            <pc:sldMk cId="1039274809" sldId="2134804317"/>
            <ac:spMk id="4" creationId="{C47780CB-210E-480D-AF15-355BDC7F6E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2T19:09:34.198" v="4484" actId="1035"/>
          <ac:spMkLst>
            <pc:docMk/>
            <pc:sldMk cId="1039274809" sldId="2134804317"/>
            <ac:spMk id="5" creationId="{60144380-CBE4-4263-86E5-F4A7E5CEC0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2T19:09:42.963" v="4506" actId="1036"/>
          <ac:spMkLst>
            <pc:docMk/>
            <pc:sldMk cId="1039274809" sldId="2134804317"/>
            <ac:spMk id="7" creationId="{49F21896-A687-4F29-8499-091C5F1FE37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20:38:27.309" v="4223" actId="478"/>
          <ac:spMkLst>
            <pc:docMk/>
            <pc:sldMk cId="1039274809" sldId="2134804317"/>
            <ac:spMk id="14" creationId="{0572F48F-01C6-4118-B2F6-94C3B890E62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2T19:07:19.503" v="4442" actId="478"/>
          <ac:spMkLst>
            <pc:docMk/>
            <pc:sldMk cId="1039274809" sldId="2134804317"/>
            <ac:spMk id="17" creationId="{79C491B7-C9E4-4B30-8E72-4B6AC797FB2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2T19:10:06.381" v="4520" actId="1038"/>
          <ac:spMkLst>
            <pc:docMk/>
            <pc:sldMk cId="1039274809" sldId="2134804317"/>
            <ac:spMk id="20" creationId="{A4799398-718D-4960-8AC5-B7B6AC61A25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2T19:09:48.532" v="4517" actId="1037"/>
          <ac:spMkLst>
            <pc:docMk/>
            <pc:sldMk cId="1039274809" sldId="2134804317"/>
            <ac:spMk id="22" creationId="{DBB85782-B2A6-4E57-8D24-DF9082B5767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20:58:07.432" v="6905" actId="478"/>
          <ac:spMkLst>
            <pc:docMk/>
            <pc:sldMk cId="1039274809" sldId="2134804317"/>
            <ac:spMk id="23" creationId="{07BADF69-3F1E-4F88-BE45-83E5F8A3CCE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20:58:09.020" v="6906" actId="478"/>
          <ac:spMkLst>
            <pc:docMk/>
            <pc:sldMk cId="1039274809" sldId="2134804317"/>
            <ac:spMk id="24" creationId="{283CFC48-6661-4058-83C2-7ABAB6AF3C66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12T19:09:48.532" v="4517" actId="1037"/>
          <ac:grpSpMkLst>
            <pc:docMk/>
            <pc:sldMk cId="1039274809" sldId="2134804317"/>
            <ac:grpSpMk id="12" creationId="{97A64B71-2068-4384-8243-F4ED1BE3BD64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2T19:10:06.381" v="4520" actId="1038"/>
          <ac:grpSpMkLst>
            <pc:docMk/>
            <pc:sldMk cId="1039274809" sldId="2134804317"/>
            <ac:grpSpMk id="13" creationId="{A8D5E88D-0623-41AE-9881-9D4BA0197AE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2T19:09:42.963" v="4506" actId="1036"/>
          <ac:grpSpMkLst>
            <pc:docMk/>
            <pc:sldMk cId="1039274809" sldId="2134804317"/>
            <ac:grpSpMk id="16" creationId="{0B2E59AD-3929-43C2-8F9D-A17671E2843E}"/>
          </ac:grpSpMkLst>
        </pc:grpChg>
        <pc:picChg chg="mod">
          <ac:chgData name="Mariam Daniela Tristancho Pineda (MISION TEMPORAL LTDA)" userId="a45a17f7-7950-4cb5-bfab-f5c894f959a9" providerId="ADAL" clId="{9D150B60-33B5-4A3E-8123-A67E35AA8D44}" dt="2020-07-12T19:10:10.474" v="4521" actId="14100"/>
          <ac:picMkLst>
            <pc:docMk/>
            <pc:sldMk cId="1039274809" sldId="2134804317"/>
            <ac:picMk id="21" creationId="{802D394E-E061-44FF-8816-DDC7B1B331B1}"/>
          </ac:picMkLst>
        </pc:picChg>
      </pc:sldChg>
      <pc:sldChg chg="addSp modSp add del mod ord">
        <pc:chgData name="Mariam Daniela Tristancho Pineda (MISION TEMPORAL LTDA)" userId="a45a17f7-7950-4cb5-bfab-f5c894f959a9" providerId="ADAL" clId="{9D150B60-33B5-4A3E-8123-A67E35AA8D44}" dt="2020-07-24T20:56:21.031" v="6791" actId="47"/>
        <pc:sldMkLst>
          <pc:docMk/>
          <pc:sldMk cId="59994284" sldId="2134804318"/>
        </pc:sldMkLst>
        <pc:spChg chg="add mod">
          <ac:chgData name="Mariam Daniela Tristancho Pineda (MISION TEMPORAL LTDA)" userId="a45a17f7-7950-4cb5-bfab-f5c894f959a9" providerId="ADAL" clId="{9D150B60-33B5-4A3E-8123-A67E35AA8D44}" dt="2020-07-10T19:53:15.600" v="4038" actId="1076"/>
          <ac:spMkLst>
            <pc:docMk/>
            <pc:sldMk cId="59994284" sldId="2134804318"/>
            <ac:spMk id="13" creationId="{5B329D4C-5767-4062-8EE1-531737EC5A2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2T22:06:53.211" v="4765" actId="14100"/>
          <ac:spMkLst>
            <pc:docMk/>
            <pc:sldMk cId="59994284" sldId="2134804318"/>
            <ac:spMk id="55" creationId="{71D2E868-A54D-4479-B446-29F9C50FDEA5}"/>
          </ac:spMkLst>
        </pc:spChg>
      </pc:sldChg>
      <pc:sldChg chg="add del">
        <pc:chgData name="Mariam Daniela Tristancho Pineda (MISION TEMPORAL LTDA)" userId="a45a17f7-7950-4cb5-bfab-f5c894f959a9" providerId="ADAL" clId="{9D150B60-33B5-4A3E-8123-A67E35AA8D44}" dt="2020-07-24T20:55:52.180" v="6789" actId="47"/>
        <pc:sldMkLst>
          <pc:docMk/>
          <pc:sldMk cId="240968699" sldId="2134804319"/>
        </pc:sldMkLst>
      </pc:sldChg>
      <pc:sldChg chg="modSp add mod">
        <pc:chgData name="Mariam Daniela Tristancho Pineda (MISION TEMPORAL LTDA)" userId="a45a17f7-7950-4cb5-bfab-f5c894f959a9" providerId="ADAL" clId="{9D150B60-33B5-4A3E-8123-A67E35AA8D44}" dt="2020-07-26T17:24:25.631" v="7091" actId="14100"/>
        <pc:sldMkLst>
          <pc:docMk/>
          <pc:sldMk cId="0" sldId="2134804320"/>
        </pc:sldMkLst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5" creationId="{8CF3901A-DA0F-48B8-B708-5918F78F0EA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15" creationId="{DA4E7332-860E-47D7-A6B1-4012C1F0104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16" creationId="{2F2C18D4-4EDB-479A-8DF4-F1392D977EF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17" creationId="{0A6626A3-9098-4058-94D4-CDC309A6EA0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18" creationId="{E9C7AABE-F2DC-4492-B19F-B7D1033380B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19" creationId="{0221CE6A-C661-4AE3-AF65-5C5F18AE96E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0" creationId="{8EDCB9EC-5CC6-4C88-ABEF-5A221B8F523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1" creationId="{ADE2FF35-681F-41AC-9CFF-947D4757DEF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3" creationId="{1AEFDCE6-50AB-4816-B81B-12BE3426178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4" creationId="{C94A8B38-94CE-428D-8226-8CA003757F5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6" creationId="{9FB5FB30-7750-4BBC-94D1-1648FEE6A2D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7" creationId="{E0D6C2D6-52A7-4B1E-9824-CA43E972006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9" creationId="{81F5B260-C58E-4FA9-BA59-AD1CD91A928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5.631" v="7091" actId="14100"/>
          <ac:spMkLst>
            <pc:docMk/>
            <pc:sldMk cId="0" sldId="2134804320"/>
            <ac:spMk id="30" creationId="{8D3DD9F5-AB4C-41FB-A836-8C039CCB0F5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31" creationId="{0B7C0A75-5BE4-4EA8-9AFC-EBEFF4F8307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32" creationId="{645AB5EE-0147-4944-B31C-6C3497699373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6T17:24:23.877" v="7090" actId="1036"/>
          <ac:grpSpMkLst>
            <pc:docMk/>
            <pc:sldMk cId="0" sldId="2134804320"/>
            <ac:grpSpMk id="66" creationId="{75950440-8C95-45E6-AE1A-D79FE24EE86A}"/>
          </ac:grpSpMkLst>
        </pc:grpChg>
        <pc:graphicFrameChg chg="mod">
          <ac:chgData name="Mariam Daniela Tristancho Pineda (MISION TEMPORAL LTDA)" userId="a45a17f7-7950-4cb5-bfab-f5c894f959a9" providerId="ADAL" clId="{9D150B60-33B5-4A3E-8123-A67E35AA8D44}" dt="2020-07-26T17:24:23.877" v="7090" actId="1036"/>
          <ac:graphicFrameMkLst>
            <pc:docMk/>
            <pc:sldMk cId="0" sldId="2134804320"/>
            <ac:graphicFrameMk id="4" creationId="{040AF71C-EE79-4F45-8FA1-F2D2C4D30F0B}"/>
          </ac:graphicFrameMkLst>
        </pc:graphicFrame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35" creationId="{216D6B60-1541-4576-AB0D-91412B4AFAEA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37" creationId="{441D7BAD-2D4C-4986-A50D-647EFBC4908E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39" creationId="{1D19B77A-A193-4CD8-B7AB-7B82DF1CD8FE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45" creationId="{5EC7A788-E441-42E5-A1A0-7C5267476395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47" creationId="{453985D9-2711-495F-88E4-CE8A820E45B2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49" creationId="{9E76D1DA-CD9F-48DE-9F10-69A1E61B160F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51" creationId="{C98FE049-1FF4-4282-B78A-1912EF1CB99A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53" creationId="{B287A14B-ECA3-43D8-87CE-1EDF160BAC5F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55" creationId="{FFDF136A-E6F5-4B36-B060-F34A335FF6DA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57" creationId="{6FEC2C55-0871-496D-90D4-8377F8B7FA3F}"/>
          </ac:picMkLst>
        </pc:picChg>
        <pc:cxnChg chg="mod">
          <ac:chgData name="Mariam Daniela Tristancho Pineda (MISION TEMPORAL LTDA)" userId="a45a17f7-7950-4cb5-bfab-f5c894f959a9" providerId="ADAL" clId="{9D150B60-33B5-4A3E-8123-A67E35AA8D44}" dt="2020-07-26T17:24:23.877" v="7090" actId="1036"/>
          <ac:cxnSpMkLst>
            <pc:docMk/>
            <pc:sldMk cId="0" sldId="2134804320"/>
            <ac:cxnSpMk id="22" creationId="{26EBC158-E975-4168-AC5B-B4628843C99A}"/>
          </ac:cxnSpMkLst>
        </pc:cxnChg>
        <pc:cxnChg chg="mod">
          <ac:chgData name="Mariam Daniela Tristancho Pineda (MISION TEMPORAL LTDA)" userId="a45a17f7-7950-4cb5-bfab-f5c894f959a9" providerId="ADAL" clId="{9D150B60-33B5-4A3E-8123-A67E35AA8D44}" dt="2020-07-26T17:24:23.877" v="7090" actId="1036"/>
          <ac:cxnSpMkLst>
            <pc:docMk/>
            <pc:sldMk cId="0" sldId="2134804320"/>
            <ac:cxnSpMk id="25" creationId="{FDC91C6F-A561-45AF-86D0-4609C217E128}"/>
          </ac:cxnSpMkLst>
        </pc:cxnChg>
        <pc:cxnChg chg="mod">
          <ac:chgData name="Mariam Daniela Tristancho Pineda (MISION TEMPORAL LTDA)" userId="a45a17f7-7950-4cb5-bfab-f5c894f959a9" providerId="ADAL" clId="{9D150B60-33B5-4A3E-8123-A67E35AA8D44}" dt="2020-07-26T17:24:23.877" v="7090" actId="1036"/>
          <ac:cxnSpMkLst>
            <pc:docMk/>
            <pc:sldMk cId="0" sldId="2134804320"/>
            <ac:cxnSpMk id="28" creationId="{39AF9238-6FC4-47E6-B44D-84977842905D}"/>
          </ac:cxnSpMkLst>
        </pc:cxnChg>
      </pc:sldChg>
      <pc:sldChg chg="modSp add mod ord">
        <pc:chgData name="Mariam Daniela Tristancho Pineda (MISION TEMPORAL LTDA)" userId="a45a17f7-7950-4cb5-bfab-f5c894f959a9" providerId="ADAL" clId="{9D150B60-33B5-4A3E-8123-A67E35AA8D44}" dt="2020-07-28T15:07:41.893" v="20052"/>
        <pc:sldMkLst>
          <pc:docMk/>
          <pc:sldMk cId="1900142549" sldId="2134804321"/>
        </pc:sldMkLst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11" creationId="{D3244A71-5E34-4A8B-813D-221B8B37C1B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12" creationId="{791EF7CB-590B-4238-AE33-56CEC8B9797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21" creationId="{FCFE65B7-3A35-4722-84A8-FEC6DADDBA4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23" creationId="{2090C287-4A91-45B9-8277-A5A2EF2B34A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25" creationId="{8E78EDE9-40A1-48AE-9549-373B04A21B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26" creationId="{DDE70F6C-1ADB-475F-BE97-D0A8A27E8FE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56:12.127" v="6000" actId="14100"/>
          <ac:spMkLst>
            <pc:docMk/>
            <pc:sldMk cId="1900142549" sldId="2134804321"/>
            <ac:spMk id="55" creationId="{71D2E868-A54D-4479-B446-29F9C50FDEA5}"/>
          </ac:spMkLst>
        </pc:spChg>
      </pc:sldChg>
      <pc:sldChg chg="modSp add mod ord">
        <pc:chgData name="Mariam Daniela Tristancho Pineda (MISION TEMPORAL LTDA)" userId="a45a17f7-7950-4cb5-bfab-f5c894f959a9" providerId="ADAL" clId="{9D150B60-33B5-4A3E-8123-A67E35AA8D44}" dt="2020-07-28T15:04:21.858" v="20018" actId="20577"/>
        <pc:sldMkLst>
          <pc:docMk/>
          <pc:sldMk cId="2351433242" sldId="2134804322"/>
        </pc:sldMkLst>
        <pc:spChg chg="mod">
          <ac:chgData name="Mariam Daniela Tristancho Pineda (MISION TEMPORAL LTDA)" userId="a45a17f7-7950-4cb5-bfab-f5c894f959a9" providerId="ADAL" clId="{9D150B60-33B5-4A3E-8123-A67E35AA8D44}" dt="2020-07-28T15:04:21.858" v="20018" actId="20577"/>
          <ac:spMkLst>
            <pc:docMk/>
            <pc:sldMk cId="2351433242" sldId="2134804322"/>
            <ac:spMk id="2" creationId="{6431BBCF-96E5-45A7-B7E5-D44090D06329}"/>
          </ac:spMkLst>
        </pc:s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7:00.797" v="20040" actId="478"/>
        <pc:sldMkLst>
          <pc:docMk/>
          <pc:sldMk cId="237599856" sldId="2134804323"/>
        </pc:sldMkLst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3" creationId="{815B10B7-60B3-4C63-8431-70CC556387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6" creationId="{7C2A44B1-15E0-4161-B44E-FC754DFB17D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5:07:00.797" v="20040" actId="478"/>
          <ac:spMkLst>
            <pc:docMk/>
            <pc:sldMk cId="237599856" sldId="2134804323"/>
            <ac:spMk id="9" creationId="{FAC19C32-7F25-4FEE-AD34-9A9AEB16554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45" creationId="{FE8ED9F7-3608-4810-95FA-CCA357FF8DD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2:33.909" v="6413" actId="20577"/>
          <ac:spMkLst>
            <pc:docMk/>
            <pc:sldMk cId="237599856" sldId="2134804323"/>
            <ac:spMk id="53" creationId="{F9C857D3-C5F6-4D00-8D9C-646D1DA6091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0:21.510" v="9246" actId="1035"/>
          <ac:spMkLst>
            <pc:docMk/>
            <pc:sldMk cId="237599856" sldId="2134804323"/>
            <ac:spMk id="54" creationId="{C38A9719-1AF0-4D7F-AF9E-714FBC1335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63" creationId="{4796239E-3DA7-4967-9F6E-F099167EC8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64" creationId="{F9F591DC-201B-4D02-9DF4-CBCB981EADB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65" creationId="{5A36F5CD-AEE3-490C-B6F2-EF1B7270AF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66" creationId="{BA307E93-786D-4DBD-8CF1-E61FC7ABCE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79" creationId="{3E0B78C6-ABEB-4B0B-882E-9C0544772F9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81" creationId="{CD1A0964-34FB-4EA7-8C35-CE65C810D6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82" creationId="{F356276F-95A8-4D9D-A3D9-51171A0292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83" creationId="{9CF15579-D302-4765-9A3D-59D9D326872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87" creationId="{4F692C59-8D2F-4FFE-830F-BFEDC83BCE0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93" creationId="{B1148C48-4923-4588-8501-9639345838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96" creationId="{829F7E72-DAD7-40B9-8C11-1089E367CAD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98" creationId="{FAA5344A-03ED-4377-83F9-54D8886FB3F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0" creationId="{1835F856-5B59-4AFF-86DE-2F0968B76C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1" creationId="{49D67282-150B-4946-8141-C97F6E42DE5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3" creationId="{BDBCDC72-F935-45A4-AE31-C045019965A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4" creationId="{0326A105-08B6-409E-9596-07BD7645DE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5" creationId="{DC633C75-4D21-4E37-ABEB-B69D06C0A2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6" creationId="{8BF155F6-9EE4-4410-BB22-DEE4B18E9F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7" creationId="{4802A65C-C4BA-49C6-A107-DC404BE5C3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8" creationId="{E7417F2C-4445-4433-AA31-1B1D9A1C89B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109" creationId="{E32505D0-F6B1-4BAC-8C30-CBB276E7E2F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110" creationId="{C4BDDB09-A082-47BC-A695-67536065B8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111" creationId="{32D80E2C-FD8D-4E1E-94A9-A7F6D2EBD411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7T19:26:36.868" v="11596" actId="1038"/>
          <ac:grpSpMkLst>
            <pc:docMk/>
            <pc:sldMk cId="237599856" sldId="2134804323"/>
            <ac:grpSpMk id="8" creationId="{3789B696-87EB-4468-8579-5D6FCB42CE02}"/>
          </ac:grpSpMkLst>
        </pc:grpChg>
      </pc:sldChg>
      <pc:sldChg chg="addSp modSp add del mod">
        <pc:chgData name="Mariam Daniela Tristancho Pineda (MISION TEMPORAL LTDA)" userId="a45a17f7-7950-4cb5-bfab-f5c894f959a9" providerId="ADAL" clId="{9D150B60-33B5-4A3E-8123-A67E35AA8D44}" dt="2020-07-26T22:50:13.501" v="9241" actId="47"/>
        <pc:sldMkLst>
          <pc:docMk/>
          <pc:sldMk cId="2461600132" sldId="2134804324"/>
        </pc:sldMkLst>
        <pc:spChg chg="add mod">
          <ac:chgData name="Mariam Daniela Tristancho Pineda (MISION TEMPORAL LTDA)" userId="a45a17f7-7950-4cb5-bfab-f5c894f959a9" providerId="ADAL" clId="{9D150B60-33B5-4A3E-8123-A67E35AA8D44}" dt="2020-07-24T19:59:18.813" v="6129" actId="1076"/>
          <ac:spMkLst>
            <pc:docMk/>
            <pc:sldMk cId="2461600132" sldId="2134804324"/>
            <ac:spMk id="3" creationId="{9244F1BE-EB60-4BDA-A8E7-8D01DE0F3CB6}"/>
          </ac:spMkLst>
        </pc:spChg>
      </pc:sldChg>
      <pc:sldChg chg="addSp modSp add del mod">
        <pc:chgData name="Mariam Daniela Tristancho Pineda (MISION TEMPORAL LTDA)" userId="a45a17f7-7950-4cb5-bfab-f5c894f959a9" providerId="ADAL" clId="{9D150B60-33B5-4A3E-8123-A67E35AA8D44}" dt="2020-07-27T19:27:59.939" v="11600" actId="47"/>
        <pc:sldMkLst>
          <pc:docMk/>
          <pc:sldMk cId="2542659491" sldId="2134804325"/>
        </pc:sldMkLst>
        <pc:spChg chg="add mod">
          <ac:chgData name="Mariam Daniela Tristancho Pineda (MISION TEMPORAL LTDA)" userId="a45a17f7-7950-4cb5-bfab-f5c894f959a9" providerId="ADAL" clId="{9D150B60-33B5-4A3E-8123-A67E35AA8D44}" dt="2020-07-24T20:29:36.571" v="6533" actId="1035"/>
          <ac:spMkLst>
            <pc:docMk/>
            <pc:sldMk cId="2542659491" sldId="2134804325"/>
            <ac:spMk id="3" creationId="{93180580-A902-4CF1-B0DD-998AB2B1B68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0:41.164" v="9250" actId="20577"/>
          <ac:spMkLst>
            <pc:docMk/>
            <pc:sldMk cId="2542659491" sldId="2134804325"/>
            <ac:spMk id="4" creationId="{C47780CB-210E-480D-AF15-355BDC7F6E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3:13.708" v="6439" actId="1037"/>
          <ac:spMkLst>
            <pc:docMk/>
            <pc:sldMk cId="2542659491" sldId="2134804325"/>
            <ac:spMk id="5" creationId="{60144380-CBE4-4263-86E5-F4A7E5CEC0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29:39.858" v="6536" actId="1035"/>
          <ac:spMkLst>
            <pc:docMk/>
            <pc:sldMk cId="2542659491" sldId="2134804325"/>
            <ac:spMk id="7" creationId="{49F21896-A687-4F29-8499-091C5F1FE37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20:28:21.501" v="6518" actId="108"/>
          <ac:spMkLst>
            <pc:docMk/>
            <pc:sldMk cId="2542659491" sldId="2134804325"/>
            <ac:spMk id="9" creationId="{FB8A692F-1CB8-4202-A06A-17197631DDA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20:26:16.850" v="6469" actId="14100"/>
          <ac:spMkLst>
            <pc:docMk/>
            <pc:sldMk cId="2542659491" sldId="2134804325"/>
            <ac:spMk id="11" creationId="{D414658E-6AD2-4173-AACD-FFB8C5F8FD9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20:29:54.360" v="6557" actId="1076"/>
          <ac:spMkLst>
            <pc:docMk/>
            <pc:sldMk cId="2542659491" sldId="2134804325"/>
            <ac:spMk id="14" creationId="{E2BBC100-A3E5-49DA-85DA-FD959C42EB27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4T20:26:16.850" v="6469" actId="14100"/>
          <ac:grpSpMkLst>
            <pc:docMk/>
            <pc:sldMk cId="2542659491" sldId="2134804325"/>
            <ac:grpSpMk id="12" creationId="{97A64B71-2068-4384-8243-F4ED1BE3BD64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4T20:26:33.217" v="6499" actId="1076"/>
          <ac:grpSpMkLst>
            <pc:docMk/>
            <pc:sldMk cId="2542659491" sldId="2134804325"/>
            <ac:grpSpMk id="13" creationId="{A8D5E88D-0623-41AE-9881-9D4BA0197AE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4T20:26:46.433" v="6502" actId="14100"/>
          <ac:grpSpMkLst>
            <pc:docMk/>
            <pc:sldMk cId="2542659491" sldId="2134804325"/>
            <ac:grpSpMk id="16" creationId="{0B2E59AD-3929-43C2-8F9D-A17671E2843E}"/>
          </ac:grpSpMkLst>
        </pc:grpChg>
        <pc:picChg chg="mod">
          <ac:chgData name="Mariam Daniela Tristancho Pineda (MISION TEMPORAL LTDA)" userId="a45a17f7-7950-4cb5-bfab-f5c894f959a9" providerId="ADAL" clId="{9D150B60-33B5-4A3E-8123-A67E35AA8D44}" dt="2020-07-24T20:26:38.512" v="6500" actId="1076"/>
          <ac:picMkLst>
            <pc:docMk/>
            <pc:sldMk cId="2542659491" sldId="2134804325"/>
            <ac:picMk id="21" creationId="{802D394E-E061-44FF-8816-DDC7B1B331B1}"/>
          </ac:picMkLst>
        </pc:pic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6:41.870" v="20037"/>
        <pc:sldMkLst>
          <pc:docMk/>
          <pc:sldMk cId="2408337444" sldId="2134804326"/>
        </pc:sldMkLst>
        <pc:spChg chg="mod">
          <ac:chgData name="Mariam Daniela Tristancho Pineda (MISION TEMPORAL LTDA)" userId="a45a17f7-7950-4cb5-bfab-f5c894f959a9" providerId="ADAL" clId="{9D150B60-33B5-4A3E-8123-A67E35AA8D44}" dt="2020-07-26T22:41:41.983" v="9104" actId="1076"/>
          <ac:spMkLst>
            <pc:docMk/>
            <pc:sldMk cId="2408337444" sldId="2134804326"/>
            <ac:spMk id="3" creationId="{31514E04-D9F2-4C9D-BB7C-0BB641AFCD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0:47.153" v="9051" actId="13926"/>
          <ac:spMkLst>
            <pc:docMk/>
            <pc:sldMk cId="2408337444" sldId="2134804326"/>
            <ac:spMk id="4" creationId="{9B0CE30D-625A-4CD9-98D4-3AF33243D19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40:52.207" v="9053" actId="478"/>
          <ac:spMkLst>
            <pc:docMk/>
            <pc:sldMk cId="2408337444" sldId="2134804326"/>
            <ac:spMk id="6" creationId="{D2EDED2C-23BD-4BE9-9D70-FEEB4B39AC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45:06.959" v="9127" actId="1076"/>
          <ac:spMkLst>
            <pc:docMk/>
            <pc:sldMk cId="2408337444" sldId="2134804326"/>
            <ac:spMk id="8" creationId="{B46B11CB-ECE9-4DC1-8D5A-3D4191E846C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45:06.959" v="9127" actId="1076"/>
          <ac:spMkLst>
            <pc:docMk/>
            <pc:sldMk cId="2408337444" sldId="2134804326"/>
            <ac:spMk id="9" creationId="{8108DFDE-B635-4D5C-BEB3-6C6B91F334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49:41.006" v="9169" actId="1076"/>
          <ac:spMkLst>
            <pc:docMk/>
            <pc:sldMk cId="2408337444" sldId="2134804326"/>
            <ac:spMk id="11" creationId="{C00D8317-CDBE-463E-BBC1-98FBC7DF74D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49:41.006" v="9169" actId="1076"/>
          <ac:spMkLst>
            <pc:docMk/>
            <pc:sldMk cId="2408337444" sldId="2134804326"/>
            <ac:spMk id="13" creationId="{C9BF5F0A-B4B2-496C-A56A-E128A1D8239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49:00.426" v="9168" actId="12789"/>
          <ac:spMkLst>
            <pc:docMk/>
            <pc:sldMk cId="2408337444" sldId="2134804326"/>
            <ac:spMk id="14" creationId="{EF03CAF6-DF53-4F57-8A93-EC5A4AD2CF0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50:11.565" v="9240" actId="1076"/>
          <ac:spMkLst>
            <pc:docMk/>
            <pc:sldMk cId="2408337444" sldId="2134804326"/>
            <ac:spMk id="15" creationId="{2A6E3A58-0C9F-484B-9BBC-E5AE156B83E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0:36.847" v="9050" actId="20577"/>
          <ac:spMkLst>
            <pc:docMk/>
            <pc:sldMk cId="2408337444" sldId="2134804326"/>
            <ac:spMk id="20" creationId="{92C8D133-E6D8-4045-B204-E026C562109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46:55.714" v="9151" actId="13926"/>
          <ac:spMkLst>
            <pc:docMk/>
            <pc:sldMk cId="2408337444" sldId="2134804326"/>
            <ac:spMk id="33" creationId="{257A51C8-EB6E-4CAA-8ED7-3E4E7C0B3A8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1:50.864" v="9108" actId="20577"/>
          <ac:spMkLst>
            <pc:docMk/>
            <pc:sldMk cId="2408337444" sldId="2134804326"/>
            <ac:spMk id="36" creationId="{25CCB3F9-8A57-42B5-B0AC-56F5E0EDAC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1:52.938" v="9110" actId="20577"/>
          <ac:spMkLst>
            <pc:docMk/>
            <pc:sldMk cId="2408337444" sldId="2134804326"/>
            <ac:spMk id="38" creationId="{3552541D-17C8-4822-9A1D-90A0C0B5AD8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9:00.426" v="9168" actId="12789"/>
          <ac:spMkLst>
            <pc:docMk/>
            <pc:sldMk cId="2408337444" sldId="2134804326"/>
            <ac:spMk id="40" creationId="{25EFF114-9C03-4A67-908C-727B85061D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2:15.306" v="9117" actId="20577"/>
          <ac:spMkLst>
            <pc:docMk/>
            <pc:sldMk cId="2408337444" sldId="2134804326"/>
            <ac:spMk id="41" creationId="{F04142FF-DA42-4442-8692-4F397E7AEF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6:55.714" v="9151" actId="13926"/>
          <ac:spMkLst>
            <pc:docMk/>
            <pc:sldMk cId="2408337444" sldId="2134804326"/>
            <ac:spMk id="44" creationId="{4B1A9C8A-FFC0-483B-B825-ED5EF0C388A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48:43.806" v="9162" actId="478"/>
          <ac:spMkLst>
            <pc:docMk/>
            <pc:sldMk cId="2408337444" sldId="2134804326"/>
            <ac:spMk id="50" creationId="{5456FCCF-17A3-4C09-BB8D-FFC3C7379B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1:55.242" v="9111" actId="20577"/>
          <ac:spMkLst>
            <pc:docMk/>
            <pc:sldMk cId="2408337444" sldId="2134804326"/>
            <ac:spMk id="58" creationId="{87C0C219-147A-4233-AEBD-D8B263DF29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9:00.426" v="9168" actId="12789"/>
          <ac:spMkLst>
            <pc:docMk/>
            <pc:sldMk cId="2408337444" sldId="2134804326"/>
            <ac:spMk id="60" creationId="{416DD046-D9EC-437D-B3C4-49AE6F9E8B1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6:55.714" v="9151" actId="13926"/>
          <ac:spMkLst>
            <pc:docMk/>
            <pc:sldMk cId="2408337444" sldId="2134804326"/>
            <ac:spMk id="61" creationId="{7C69D657-65A5-4E1B-8464-4A04E7AFC33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9:00.426" v="9168" actId="12789"/>
          <ac:spMkLst>
            <pc:docMk/>
            <pc:sldMk cId="2408337444" sldId="2134804326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8:30.391" v="9161" actId="20577"/>
          <ac:spMkLst>
            <pc:docMk/>
            <pc:sldMk cId="2408337444" sldId="2134804326"/>
            <ac:spMk id="64" creationId="{61CFA38E-1F3E-49A0-A330-E5F97D5B2A0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7:54.181" v="9160" actId="208"/>
          <ac:spMkLst>
            <pc:docMk/>
            <pc:sldMk cId="2408337444" sldId="2134804326"/>
            <ac:spMk id="65" creationId="{E1D02522-5753-4EFB-951A-5755483EDD9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1:58.567" v="9114" actId="20577"/>
          <ac:spMkLst>
            <pc:docMk/>
            <pc:sldMk cId="2408337444" sldId="2134804326"/>
            <ac:spMk id="66" creationId="{6F85F403-E123-4C2D-A378-CDAFE968B9D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2:00.760" v="9115" actId="20577"/>
          <ac:spMkLst>
            <pc:docMk/>
            <pc:sldMk cId="2408337444" sldId="2134804326"/>
            <ac:spMk id="67" creationId="{4CC8DF42-E8CE-4AEA-AF20-116C630E45E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46:55.714" v="9151" actId="13926"/>
          <ac:spMkLst>
            <pc:docMk/>
            <pc:sldMk cId="2408337444" sldId="2134804326"/>
            <ac:spMk id="68" creationId="{8B5ED806-B54B-4057-B826-24314EC1F9B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46:55.714" v="9151" actId="13926"/>
          <ac:spMkLst>
            <pc:docMk/>
            <pc:sldMk cId="2408337444" sldId="2134804326"/>
            <ac:spMk id="69" creationId="{5A5074EC-7041-463A-BA61-7944DB96350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9:51.158" v="9172" actId="1076"/>
          <ac:spMkLst>
            <pc:docMk/>
            <pc:sldMk cId="2408337444" sldId="2134804326"/>
            <ac:spMk id="70" creationId="{A549087F-0234-4CF2-AA9A-E2B491A99CF5}"/>
          </ac:spMkLst>
        </pc:spChg>
        <pc:graphicFrameChg chg="mod modGraphic">
          <ac:chgData name="Mariam Daniela Tristancho Pineda (MISION TEMPORAL LTDA)" userId="a45a17f7-7950-4cb5-bfab-f5c894f959a9" providerId="ADAL" clId="{9D150B60-33B5-4A3E-8123-A67E35AA8D44}" dt="2020-07-26T22:45:55.100" v="9138"/>
          <ac:graphicFrameMkLst>
            <pc:docMk/>
            <pc:sldMk cId="2408337444" sldId="2134804326"/>
            <ac:graphicFrameMk id="7" creationId="{C866CA4D-9ED5-4A67-9BF0-26C15AE2AA2C}"/>
          </ac:graphicFrameMkLst>
        </pc:graphicFrameChg>
        <pc:graphicFrameChg chg="mod modGraphic">
          <ac:chgData name="Mariam Daniela Tristancho Pineda (MISION TEMPORAL LTDA)" userId="a45a17f7-7950-4cb5-bfab-f5c894f959a9" providerId="ADAL" clId="{9D150B60-33B5-4A3E-8123-A67E35AA8D44}" dt="2020-07-26T22:46:05.860" v="9142"/>
          <ac:graphicFrameMkLst>
            <pc:docMk/>
            <pc:sldMk cId="2408337444" sldId="2134804326"/>
            <ac:graphicFrameMk id="35" creationId="{D6562056-B40E-47F9-9726-6C4C21F304AB}"/>
          </ac:graphicFrameMkLst>
        </pc:graphicFrameChg>
      </pc:sldChg>
      <pc:sldChg chg="modSp add mod ord">
        <pc:chgData name="Mariam Daniela Tristancho Pineda (MISION TEMPORAL LTDA)" userId="a45a17f7-7950-4cb5-bfab-f5c894f959a9" providerId="ADAL" clId="{9D150B60-33B5-4A3E-8123-A67E35AA8D44}" dt="2020-07-28T15:06:41.870" v="20037"/>
        <pc:sldMkLst>
          <pc:docMk/>
          <pc:sldMk cId="2042427796" sldId="2134804327"/>
        </pc:sldMkLst>
        <pc:spChg chg="mod">
          <ac:chgData name="Mariam Daniela Tristancho Pineda (MISION TEMPORAL LTDA)" userId="a45a17f7-7950-4cb5-bfab-f5c894f959a9" providerId="ADAL" clId="{9D150B60-33B5-4A3E-8123-A67E35AA8D44}" dt="2020-07-27T00:09:06.549" v="10964" actId="20577"/>
          <ac:spMkLst>
            <pc:docMk/>
            <pc:sldMk cId="2042427796" sldId="2134804327"/>
            <ac:spMk id="2" creationId="{6431BBCF-96E5-45A7-B7E5-D44090D06329}"/>
          </ac:spMkLst>
        </pc:s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6:41.870" v="20037"/>
        <pc:sldMkLst>
          <pc:docMk/>
          <pc:sldMk cId="989237730" sldId="2134804328"/>
        </pc:sldMkLst>
        <pc:spChg chg="mod">
          <ac:chgData name="Mariam Daniela Tristancho Pineda (MISION TEMPORAL LTDA)" userId="a45a17f7-7950-4cb5-bfab-f5c894f959a9" providerId="ADAL" clId="{9D150B60-33B5-4A3E-8123-A67E35AA8D44}" dt="2020-07-26T22:57:45.933" v="9525" actId="1076"/>
          <ac:spMkLst>
            <pc:docMk/>
            <pc:sldMk cId="989237730" sldId="2134804328"/>
            <ac:spMk id="2" creationId="{3A93B487-116E-4767-AA0D-CAE2A460FB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3" creationId="{815B10B7-60B3-4C63-8431-70CC556387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7" creationId="{3D1CC3C6-86B8-4C63-8E71-D0134CCD923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45" creationId="{FE8ED9F7-3608-4810-95FA-CCA357FF8DD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31:42.329" v="6614" actId="14100"/>
          <ac:spMkLst>
            <pc:docMk/>
            <pc:sldMk cId="989237730" sldId="2134804328"/>
            <ac:spMk id="53" creationId="{F9C857D3-C5F6-4D00-8D9C-646D1DA6091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22:31.232" v="17806" actId="478"/>
          <ac:spMkLst>
            <pc:docMk/>
            <pc:sldMk cId="989237730" sldId="2134804328"/>
            <ac:spMk id="54" creationId="{C38A9719-1AF0-4D7F-AF9E-714FBC13357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20:31:46.390" v="6615" actId="478"/>
          <ac:spMkLst>
            <pc:docMk/>
            <pc:sldMk cId="989237730" sldId="2134804328"/>
            <ac:spMk id="55" creationId="{85D53F76-686D-4A72-AADE-29F52C16B9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58" creationId="{E6D03367-02FA-4C09-A1D0-4464E4F7E7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61" creationId="{764D0CBB-54CC-4430-9C4E-1B552509132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62" creationId="{C85845BD-B08A-4D10-8B88-81CDE9DBFBF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64" creationId="{AE15C554-F764-4619-82F7-F10293C663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16:56.235" v="9580" actId="1076"/>
          <ac:spMkLst>
            <pc:docMk/>
            <pc:sldMk cId="989237730" sldId="2134804328"/>
            <ac:spMk id="67" creationId="{F06D4F54-9D6A-4AEA-BF90-3162C0CA1DF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68" creationId="{2923FEA3-7171-49FB-8ADC-F47C8ACBA2C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39.161" v="17817" actId="1035"/>
          <ac:spMkLst>
            <pc:docMk/>
            <pc:sldMk cId="989237730" sldId="2134804328"/>
            <ac:spMk id="72" creationId="{BD1E5C80-3227-46CA-A568-92F51433BA5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39.161" v="17817" actId="1035"/>
          <ac:spMkLst>
            <pc:docMk/>
            <pc:sldMk cId="989237730" sldId="2134804328"/>
            <ac:spMk id="73" creationId="{7A04DAA5-3E59-44FB-9606-3D6B4015B5E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39.161" v="17817" actId="1035"/>
          <ac:spMkLst>
            <pc:docMk/>
            <pc:sldMk cId="989237730" sldId="2134804328"/>
            <ac:spMk id="77" creationId="{9721516C-B27D-4339-904E-3F1D6938297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39.161" v="17817" actId="1035"/>
          <ac:spMkLst>
            <pc:docMk/>
            <pc:sldMk cId="989237730" sldId="2134804328"/>
            <ac:spMk id="78" creationId="{8BC2A296-4C17-4A26-8BB8-5A75F4870C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79" creationId="{3E0B78C6-ABEB-4B0B-882E-9C0544772F94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4T20:46:42.561" v="6692" actId="478"/>
          <ac:spMkLst>
            <pc:docMk/>
            <pc:sldMk cId="989237730" sldId="2134804328"/>
            <ac:spMk id="80" creationId="{91C5F8FF-F497-4EE0-A936-8267ECA07B1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81" creationId="{CD1A0964-34FB-4EA7-8C35-CE65C810D6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82" creationId="{F356276F-95A8-4D9D-A3D9-51171A0292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83" creationId="{9CF15579-D302-4765-9A3D-59D9D326872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21.803" v="9541" actId="1035"/>
          <ac:spMkLst>
            <pc:docMk/>
            <pc:sldMk cId="989237730" sldId="2134804328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85" creationId="{63D8D3CF-6945-47A8-9893-D38BC41C621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87" creationId="{88421DA7-D9AE-4018-B9E5-BD7395AC03B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88" creationId="{4D68A9B0-25D8-4EF1-8A57-0A2AD1C1D74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89" creationId="{6289F00A-3F01-4C9E-B42A-A0571012FE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90" creationId="{4ACE3251-4E46-4B0B-B4A4-0740495BA2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91" creationId="{232CC050-3BFF-4FBB-A326-2B3CF9176A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92" creationId="{34C98F8E-3ADE-42ED-8EB5-8A3C0E1BF7B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93" creationId="{F17624A2-19F6-4CD4-84A8-82988E02FD6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94" creationId="{03C660BC-2A9C-4D5D-9487-318B90C03E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96" creationId="{A964A428-8E47-464A-BE0A-BE27280FDD9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97" creationId="{99300021-C267-43BD-A0F5-B3ECE622345E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4T20:38:42.225" v="6649" actId="478"/>
          <ac:spMkLst>
            <pc:docMk/>
            <pc:sldMk cId="989237730" sldId="2134804328"/>
            <ac:spMk id="98" creationId="{02B6E786-545E-4967-841B-2D4F45B1C3F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0" creationId="{1835F856-5B59-4AFF-86DE-2F0968B76CF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20:38:43.132" v="6650" actId="478"/>
          <ac:spMkLst>
            <pc:docMk/>
            <pc:sldMk cId="989237730" sldId="2134804328"/>
            <ac:spMk id="101" creationId="{E8F5A912-4889-431B-A319-AE81BCDB93F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3" creationId="{BDBCDC72-F935-45A4-AE31-C045019965A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4" creationId="{0326A105-08B6-409E-9596-07BD7645DE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5" creationId="{DC633C75-4D21-4E37-ABEB-B69D06C0A2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6" creationId="{8BF155F6-9EE4-4410-BB22-DEE4B18E9F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7" creationId="{4802A65C-C4BA-49C6-A107-DC404BE5C3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8" creationId="{E7417F2C-4445-4433-AA31-1B1D9A1C89B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20:38:29.738" v="6641" actId="478"/>
          <ac:spMkLst>
            <pc:docMk/>
            <pc:sldMk cId="989237730" sldId="2134804328"/>
            <ac:spMk id="109" creationId="{DFFCA1E6-D909-4840-9CFC-E113E9944FE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41:58.616" v="6686"/>
          <ac:spMkLst>
            <pc:docMk/>
            <pc:sldMk cId="989237730" sldId="2134804328"/>
            <ac:spMk id="111" creationId="{B54F30E5-1C94-4021-B46C-FEDB66D95B4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41:58.616" v="6686"/>
          <ac:spMkLst>
            <pc:docMk/>
            <pc:sldMk cId="989237730" sldId="2134804328"/>
            <ac:spMk id="112" creationId="{E6B99FFD-7EC4-43A2-BFEC-10533D0163D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46:41.420" v="6691"/>
          <ac:spMkLst>
            <pc:docMk/>
            <pc:sldMk cId="989237730" sldId="2134804328"/>
            <ac:spMk id="114" creationId="{32D5FDDB-87B1-4423-B8C6-B8C054475F6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46:41.420" v="6691"/>
          <ac:spMkLst>
            <pc:docMk/>
            <pc:sldMk cId="989237730" sldId="2134804328"/>
            <ac:spMk id="115" creationId="{47FBBE71-8B95-4473-B8D1-F15BEF30E5E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22" creationId="{F92D7973-FA2F-45B1-8D65-1BB666EE24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23" creationId="{7DBB833A-DFE0-4BC0-96CD-50EEB2A468C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24" creationId="{70AA3071-CACE-4F35-8B87-AC8A0604DE7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25" creationId="{A228DE91-C702-4290-AF8E-D7ED7818436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26" creationId="{01563260-A3C9-427B-975A-EFC567A7584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22:34.319" v="17809" actId="478"/>
          <ac:spMkLst>
            <pc:docMk/>
            <pc:sldMk cId="989237730" sldId="2134804328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39.161" v="17817" actId="1035"/>
          <ac:spMkLst>
            <pc:docMk/>
            <pc:sldMk cId="989237730" sldId="2134804328"/>
            <ac:spMk id="146" creationId="{D86974CC-32BF-439F-A6E2-D1E82520294D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6T22:57:57.081" v="9535" actId="1035"/>
          <ac:grpSpMkLst>
            <pc:docMk/>
            <pc:sldMk cId="989237730" sldId="2134804328"/>
            <ac:grpSpMk id="8" creationId="{759C52C5-703D-4870-9137-829E845561BE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22:39.161" v="17817" actId="1035"/>
          <ac:grpSpMkLst>
            <pc:docMk/>
            <pc:sldMk cId="989237730" sldId="2134804328"/>
            <ac:grpSpMk id="9" creationId="{A8EBFE34-3DDE-4B0B-BE9C-1B8C29F9070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6T22:57:57.081" v="9535" actId="1035"/>
          <ac:grpSpMkLst>
            <pc:docMk/>
            <pc:sldMk cId="989237730" sldId="2134804328"/>
            <ac:grpSpMk id="10" creationId="{9DAE2930-4D6F-4898-B60C-A3C43818E59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4T20:42:12.718" v="6689"/>
          <ac:grpSpMkLst>
            <pc:docMk/>
            <pc:sldMk cId="989237730" sldId="2134804328"/>
            <ac:grpSpMk id="110" creationId="{1527F660-7EE6-498B-B793-7D1AE9FF17A8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57:57.081" v="9535" actId="1035"/>
          <ac:grpSpMkLst>
            <pc:docMk/>
            <pc:sldMk cId="989237730" sldId="2134804328"/>
            <ac:grpSpMk id="113" creationId="{61A283E2-5EEB-4B40-8DED-CCA11C71DE0C}"/>
          </ac:grpSpMkLst>
        </pc:grpChg>
        <pc:graphicFrameChg chg="add del mod modGraphic">
          <ac:chgData name="Mariam Daniela Tristancho Pineda (MISION TEMPORAL LTDA)" userId="a45a17f7-7950-4cb5-bfab-f5c894f959a9" providerId="ADAL" clId="{9D150B60-33B5-4A3E-8123-A67E35AA8D44}" dt="2020-07-24T20:40:24.050" v="6682" actId="478"/>
          <ac:graphicFrameMkLst>
            <pc:docMk/>
            <pc:sldMk cId="989237730" sldId="2134804328"/>
            <ac:graphicFrameMk id="11" creationId="{D30093B6-F11A-4CED-9A75-6F4CD56391DC}"/>
          </ac:graphicFrameMkLst>
        </pc:graphicFrameChg>
        <pc:cxnChg chg="del mod">
          <ac:chgData name="Mariam Daniela Tristancho Pineda (MISION TEMPORAL LTDA)" userId="a45a17f7-7950-4cb5-bfab-f5c894f959a9" providerId="ADAL" clId="{9D150B60-33B5-4A3E-8123-A67E35AA8D44}" dt="2020-07-28T01:22:32.113" v="17807" actId="478"/>
          <ac:cxnSpMkLst>
            <pc:docMk/>
            <pc:sldMk cId="989237730" sldId="2134804328"/>
            <ac:cxnSpMk id="95" creationId="{992CCE25-00CE-4C15-881A-068C6B1A3F0E}"/>
          </ac:cxnSpMkLst>
        </pc:cxn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7:15.879" v="20044" actId="2084"/>
        <pc:sldMkLst>
          <pc:docMk/>
          <pc:sldMk cId="1974979659" sldId="2134804329"/>
        </pc:sldMkLst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3" creationId="{31514E04-D9F2-4C9D-BB7C-0BB641AFCD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6:40.414" v="9497" actId="478"/>
          <ac:spMkLst>
            <pc:docMk/>
            <pc:sldMk cId="1974979659" sldId="2134804329"/>
            <ac:spMk id="4" creationId="{9B0CE30D-625A-4CD9-98D4-3AF33243D19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3:14.715" v="9329" actId="478"/>
          <ac:spMkLst>
            <pc:docMk/>
            <pc:sldMk cId="1974979659" sldId="2134804329"/>
            <ac:spMk id="6" creationId="{D2EDED2C-23BD-4BE9-9D70-FEEB4B39AC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8" creationId="{F2988D2D-D64B-45A9-A560-E27D5203E40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9" creationId="{AB65707C-85B8-4BAC-8D94-8AD6A75232B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0" creationId="{810E18BD-2955-4DB2-AEDB-386E84418C6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1" creationId="{AACDF64F-9960-49F6-997C-7E2CE9283EE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2" creationId="{96C9E76C-8C7F-489D-82CB-B2BD0385270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3" creationId="{7DE19D7D-D57B-4BB4-9307-9D6DCB84C83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4" creationId="{42691D1D-DB81-4134-9FAA-E7307E03AFF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5" creationId="{0BE8A931-3B0D-4E75-A819-AFB2C2D6CE0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6" creationId="{785AD5AA-05E3-4CDA-B9F9-5A414517CC2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5:07:12.969" v="20042" actId="478"/>
          <ac:spMkLst>
            <pc:docMk/>
            <pc:sldMk cId="1974979659" sldId="2134804329"/>
            <ac:spMk id="17" creationId="{85104DE4-C401-48CE-A145-585F63D4163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5:07:13.816" v="20043" actId="478"/>
          <ac:spMkLst>
            <pc:docMk/>
            <pc:sldMk cId="1974979659" sldId="2134804329"/>
            <ac:spMk id="18" creationId="{67FCC5F4-0F21-4673-AC93-00D7EEF2835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9" creationId="{CE9667FC-2EDF-4F30-B9FB-41AC4BCA57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2:39.112" v="9326" actId="20577"/>
          <ac:spMkLst>
            <pc:docMk/>
            <pc:sldMk cId="1974979659" sldId="2134804329"/>
            <ac:spMk id="20" creationId="{92C8D133-E6D8-4045-B204-E026C562109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3:22.870" v="9330" actId="478"/>
          <ac:spMkLst>
            <pc:docMk/>
            <pc:sldMk cId="1974979659" sldId="2134804329"/>
            <ac:spMk id="33" creationId="{257A51C8-EB6E-4CAA-8ED7-3E4E7C0B3A8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3:22.870" v="9330" actId="478"/>
          <ac:spMkLst>
            <pc:docMk/>
            <pc:sldMk cId="1974979659" sldId="2134804329"/>
            <ac:spMk id="36" creationId="{25CCB3F9-8A57-42B5-B0AC-56F5E0EDACF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3:22.870" v="9330" actId="478"/>
          <ac:spMkLst>
            <pc:docMk/>
            <pc:sldMk cId="1974979659" sldId="2134804329"/>
            <ac:spMk id="37" creationId="{50BFBD21-058C-4134-A883-5F522F8B0B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38" creationId="{3552541D-17C8-4822-9A1D-90A0C0B5AD8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40" creationId="{25EFF114-9C03-4A67-908C-727B85061D7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3:22.870" v="9330" actId="478"/>
          <ac:spMkLst>
            <pc:docMk/>
            <pc:sldMk cId="1974979659" sldId="2134804329"/>
            <ac:spMk id="41" creationId="{F04142FF-DA42-4442-8692-4F397E7AEF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44" creationId="{4B1A9C8A-FFC0-483B-B825-ED5EF0C388A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3:50.521" v="9380" actId="478"/>
          <ac:spMkLst>
            <pc:docMk/>
            <pc:sldMk cId="1974979659" sldId="2134804329"/>
            <ac:spMk id="45" creationId="{8E8CD834-7B34-47C9-9BE7-09ECA14BFCE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38.970" v="9390" actId="478"/>
          <ac:spMkLst>
            <pc:docMk/>
            <pc:sldMk cId="1974979659" sldId="2134804329"/>
            <ac:spMk id="47" creationId="{137B0C4F-8471-4337-954D-6AECA53DF9C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43.876" v="9393" actId="478"/>
          <ac:spMkLst>
            <pc:docMk/>
            <pc:sldMk cId="1974979659" sldId="2134804329"/>
            <ac:spMk id="50" creationId="{5456FCCF-17A3-4C09-BB8D-FFC3C7379B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51" creationId="{C0A2318E-3E25-4819-8017-0D802266D8B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52" creationId="{FC3592D3-9AB1-446B-A099-2A5C49525B4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38.970" v="9390" actId="478"/>
          <ac:spMkLst>
            <pc:docMk/>
            <pc:sldMk cId="1974979659" sldId="2134804329"/>
            <ac:spMk id="54" creationId="{18FCD16F-84E8-4671-A091-C0264D48052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5:55.680" v="9457" actId="478"/>
          <ac:spMkLst>
            <pc:docMk/>
            <pc:sldMk cId="1974979659" sldId="2134804329"/>
            <ac:spMk id="55" creationId="{24B43721-8F2C-4416-AF8D-9AB7CA3936C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38.970" v="9390" actId="478"/>
          <ac:spMkLst>
            <pc:docMk/>
            <pc:sldMk cId="1974979659" sldId="2134804329"/>
            <ac:spMk id="58" creationId="{87C0C219-147A-4233-AEBD-D8B263DF291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41.817" v="9391" actId="478"/>
          <ac:spMkLst>
            <pc:docMk/>
            <pc:sldMk cId="1974979659" sldId="2134804329"/>
            <ac:spMk id="60" creationId="{416DD046-D9EC-437D-B3C4-49AE6F9E8B1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38.970" v="9390" actId="478"/>
          <ac:spMkLst>
            <pc:docMk/>
            <pc:sldMk cId="1974979659" sldId="2134804329"/>
            <ac:spMk id="61" creationId="{7C69D657-65A5-4E1B-8464-4A04E7AFC33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43.334" v="9392" actId="478"/>
          <ac:spMkLst>
            <pc:docMk/>
            <pc:sldMk cId="1974979659" sldId="2134804329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63" creationId="{FDF3B75C-EF94-43C4-8C4C-4ECAB5FEA69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5:55.680" v="9457" actId="478"/>
          <ac:spMkLst>
            <pc:docMk/>
            <pc:sldMk cId="1974979659" sldId="2134804329"/>
            <ac:spMk id="64" creationId="{61CFA38E-1F3E-49A0-A330-E5F97D5B2A0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6:00.237" v="9458" actId="478"/>
          <ac:spMkLst>
            <pc:docMk/>
            <pc:sldMk cId="1974979659" sldId="2134804329"/>
            <ac:spMk id="65" creationId="{E1D02522-5753-4EFB-951A-5755483EDD9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5:55.680" v="9457" actId="478"/>
          <ac:spMkLst>
            <pc:docMk/>
            <pc:sldMk cId="1974979659" sldId="2134804329"/>
            <ac:spMk id="66" creationId="{6F85F403-E123-4C2D-A378-CDAFE968B9D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6:00.237" v="9458" actId="478"/>
          <ac:spMkLst>
            <pc:docMk/>
            <pc:sldMk cId="1974979659" sldId="2134804329"/>
            <ac:spMk id="67" creationId="{4CC8DF42-E8CE-4AEA-AF20-116C630E45E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5:55.680" v="9457" actId="478"/>
          <ac:spMkLst>
            <pc:docMk/>
            <pc:sldMk cId="1974979659" sldId="2134804329"/>
            <ac:spMk id="68" creationId="{8B5ED806-B54B-4057-B826-24314EC1F9B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6:00.237" v="9458" actId="478"/>
          <ac:spMkLst>
            <pc:docMk/>
            <pc:sldMk cId="1974979659" sldId="2134804329"/>
            <ac:spMk id="69" creationId="{5A5074EC-7041-463A-BA61-7944DB963505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6:43.781" v="9499" actId="478"/>
          <ac:spMkLst>
            <pc:docMk/>
            <pc:sldMk cId="1974979659" sldId="2134804329"/>
            <ac:spMk id="70" creationId="{A549087F-0234-4CF2-AA9A-E2B491A99C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79" creationId="{7A485175-A5E8-48E7-8A26-808AC78F05FA}"/>
          </ac:spMkLst>
        </pc:spChg>
        <pc:graphicFrameChg chg="mod modGraphic">
          <ac:chgData name="Mariam Daniela Tristancho Pineda (MISION TEMPORAL LTDA)" userId="a45a17f7-7950-4cb5-bfab-f5c894f959a9" providerId="ADAL" clId="{9D150B60-33B5-4A3E-8123-A67E35AA8D44}" dt="2020-07-28T01:22:22.642" v="17805" actId="1036"/>
          <ac:graphicFrameMkLst>
            <pc:docMk/>
            <pc:sldMk cId="1974979659" sldId="2134804329"/>
            <ac:graphicFrameMk id="7" creationId="{C866CA4D-9ED5-4A67-9BF0-26C15AE2AA2C}"/>
          </ac:graphicFrameMkLst>
        </pc:graphicFrameChg>
        <pc:graphicFrameChg chg="mod modGraphic">
          <ac:chgData name="Mariam Daniela Tristancho Pineda (MISION TEMPORAL LTDA)" userId="a45a17f7-7950-4cb5-bfab-f5c894f959a9" providerId="ADAL" clId="{9D150B60-33B5-4A3E-8123-A67E35AA8D44}" dt="2020-07-28T15:07:15.879" v="20044" actId="2084"/>
          <ac:graphicFrameMkLst>
            <pc:docMk/>
            <pc:sldMk cId="1974979659" sldId="2134804329"/>
            <ac:graphicFrameMk id="35" creationId="{D6562056-B40E-47F9-9726-6C4C21F304AB}"/>
          </ac:graphicFrameMkLst>
        </pc:graphicFrameChg>
        <pc:cxnChg chg="mod">
          <ac:chgData name="Mariam Daniela Tristancho Pineda (MISION TEMPORAL LTDA)" userId="a45a17f7-7950-4cb5-bfab-f5c894f959a9" providerId="ADAL" clId="{9D150B60-33B5-4A3E-8123-A67E35AA8D44}" dt="2020-07-28T01:22:22.642" v="17805" actId="1036"/>
          <ac:cxnSpMkLst>
            <pc:docMk/>
            <pc:sldMk cId="1974979659" sldId="2134804329"/>
            <ac:cxnSpMk id="5" creationId="{017DAD00-B855-4E39-8DE1-7636A3DDFC9D}"/>
          </ac:cxnSpMkLst>
        </pc:cxn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240968699" sldId="2134804330"/>
        </pc:sldMkLst>
        <pc:spChg chg="mod">
          <ac:chgData name="Mariam Daniela Tristancho Pineda (MISION TEMPORAL LTDA)" userId="a45a17f7-7950-4cb5-bfab-f5c894f959a9" providerId="ADAL" clId="{9D150B60-33B5-4A3E-8123-A67E35AA8D44}" dt="2020-07-27T19:30:29.346" v="11623" actId="693"/>
          <ac:spMkLst>
            <pc:docMk/>
            <pc:sldMk cId="240968699" sldId="2134804330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1:38.663" v="17311" actId="14100"/>
          <ac:spMkLst>
            <pc:docMk/>
            <pc:sldMk cId="240968699" sldId="2134804330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0:29.346" v="11623" actId="693"/>
          <ac:spMkLst>
            <pc:docMk/>
            <pc:sldMk cId="240968699" sldId="2134804330"/>
            <ac:spMk id="147" creationId="{28985963-B271-4E6A-83C5-F3A62A87E6BA}"/>
          </ac:spMkLst>
        </pc:sp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1202002608" sldId="2134804331"/>
        </pc:sldMkLst>
        <pc:spChg chg="mod">
          <ac:chgData name="Mariam Daniela Tristancho Pineda (MISION TEMPORAL LTDA)" userId="a45a17f7-7950-4cb5-bfab-f5c894f959a9" providerId="ADAL" clId="{9D150B60-33B5-4A3E-8123-A67E35AA8D44}" dt="2020-07-27T19:30:59.975" v="11626" actId="208"/>
          <ac:spMkLst>
            <pc:docMk/>
            <pc:sldMk cId="1202002608" sldId="2134804331"/>
            <ac:spMk id="11" creationId="{184C2B9E-D3B9-49BD-8620-C63A684282D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3:27.481" v="17819" actId="1038"/>
          <ac:spMkLst>
            <pc:docMk/>
            <pc:sldMk cId="1202002608" sldId="2134804331"/>
            <ac:spMk id="14" creationId="{88D540A9-A2F6-4BF9-A7FE-8600061D0F6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3:27.481" v="17819" actId="1038"/>
          <ac:spMkLst>
            <pc:docMk/>
            <pc:sldMk cId="1202002608" sldId="2134804331"/>
            <ac:spMk id="15" creationId="{3AE6683F-3E42-4515-BD41-D3AAD3584C8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0:41.760" v="11624" actId="208"/>
          <ac:spMkLst>
            <pc:docMk/>
            <pc:sldMk cId="1202002608" sldId="2134804331"/>
            <ac:spMk id="38" creationId="{13852665-B2E4-439B-9954-9CB9C58718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02.128" v="11637" actId="693"/>
          <ac:spMkLst>
            <pc:docMk/>
            <pc:sldMk cId="1202002608" sldId="2134804331"/>
            <ac:spMk id="47" creationId="{08837AB5-D97B-420C-BCF2-789F4968379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3:27.481" v="17819" actId="1038"/>
          <ac:spMkLst>
            <pc:docMk/>
            <pc:sldMk cId="1202002608" sldId="2134804331"/>
            <ac:spMk id="49" creationId="{A35CEBA9-131C-44AD-A845-A68EC946AF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1:49.479" v="11634" actId="208"/>
          <ac:spMkLst>
            <pc:docMk/>
            <pc:sldMk cId="1202002608" sldId="2134804331"/>
            <ac:spMk id="54" creationId="{CB039B06-B703-45C8-82C0-18631771D81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02.128" v="11637" actId="693"/>
          <ac:spMkLst>
            <pc:docMk/>
            <pc:sldMk cId="1202002608" sldId="2134804331"/>
            <ac:spMk id="62" creationId="{BAD8AC49-F484-4980-AAD5-672795A58D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3:27.481" v="17819" actId="1038"/>
          <ac:spMkLst>
            <pc:docMk/>
            <pc:sldMk cId="1202002608" sldId="2134804331"/>
            <ac:spMk id="71" creationId="{957CBAF9-7655-4A51-9450-50545E04AD4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1:29.666" v="11632" actId="693"/>
          <ac:spMkLst>
            <pc:docMk/>
            <pc:sldMk cId="1202002608" sldId="2134804331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9:33.945" v="11611" actId="20577"/>
          <ac:spMkLst>
            <pc:docMk/>
            <pc:sldMk cId="1202002608" sldId="2134804331"/>
            <ac:spMk id="135" creationId="{C1823568-A421-4254-9106-BAEB76F16B72}"/>
          </ac:spMkLst>
        </pc:sp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4044430387" sldId="2134804332"/>
        </pc:sldMkLst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7" creationId="{A050DA32-C215-4F0A-ACAB-695843B199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49" creationId="{E470E608-DE91-49F1-B012-DE560AC3DF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5.927" v="11640" actId="208"/>
          <ac:spMkLst>
            <pc:docMk/>
            <pc:sldMk cId="4044430387" sldId="2134804332"/>
            <ac:spMk id="89" creationId="{78E51770-F801-49A4-B7E4-98D680A50D5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5.927" v="11640" actId="208"/>
          <ac:spMkLst>
            <pc:docMk/>
            <pc:sldMk cId="4044430387" sldId="2134804332"/>
            <ac:spMk id="103" creationId="{47CDDAFF-8DCC-4B35-9FE7-57D6B6DB23D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109" creationId="{56717B0D-A5CF-4165-984E-31F6C44AA6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112" creationId="{257606EF-5BB9-4EA0-8BD7-F8519A29B1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114" creationId="{18318F6E-FDF5-466F-8FC2-D4038054E52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120" creationId="{8BFF1E86-A1DD-436B-B9A3-CC645BA93C1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122" creationId="{B8505047-1817-461A-9139-B9E5DFE6291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0:09.217" v="11620" actId="207"/>
          <ac:spMkLst>
            <pc:docMk/>
            <pc:sldMk cId="4044430387" sldId="2134804332"/>
            <ac:spMk id="135" creationId="{C1823568-A421-4254-9106-BAEB76F16B72}"/>
          </ac:spMkLst>
        </pc:sp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1832843023" sldId="2134804333"/>
        </pc:sldMkLst>
        <pc:spChg chg="mod">
          <ac:chgData name="Mariam Daniela Tristancho Pineda (MISION TEMPORAL LTDA)" userId="a45a17f7-7950-4cb5-bfab-f5c894f959a9" providerId="ADAL" clId="{9D150B60-33B5-4A3E-8123-A67E35AA8D44}" dt="2020-07-27T19:33:53.387" v="11647" actId="208"/>
          <ac:spMkLst>
            <pc:docMk/>
            <pc:sldMk cId="1832843023" sldId="2134804333"/>
            <ac:spMk id="6" creationId="{86C90260-4432-439E-A036-9D459326492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53.387" v="11647" actId="208"/>
          <ac:spMkLst>
            <pc:docMk/>
            <pc:sldMk cId="1832843023" sldId="2134804333"/>
            <ac:spMk id="7" creationId="{10A9BD64-6D9E-4D54-A8D6-0C3F6E2D89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25.537" v="11644" actId="208"/>
          <ac:spMkLst>
            <pc:docMk/>
            <pc:sldMk cId="1832843023" sldId="2134804333"/>
            <ac:spMk id="49" creationId="{E470E608-DE91-49F1-B012-DE560AC3DF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57.535" v="11648" actId="208"/>
          <ac:spMkLst>
            <pc:docMk/>
            <pc:sldMk cId="1832843023" sldId="2134804333"/>
            <ac:spMk id="54" creationId="{1FF40470-AE5D-40B6-A080-8184B6939C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15.295" v="11642" actId="208"/>
          <ac:spMkLst>
            <pc:docMk/>
            <pc:sldMk cId="1832843023" sldId="2134804333"/>
            <ac:spMk id="60" creationId="{8B92E9C2-67D1-43CB-B344-CE2A72E1D3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4:18.299" v="11651" actId="1582"/>
          <ac:spMkLst>
            <pc:docMk/>
            <pc:sldMk cId="1832843023" sldId="2134804333"/>
            <ac:spMk id="62" creationId="{BAD8AC49-F484-4980-AAD5-672795A58D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15.295" v="11642" actId="208"/>
          <ac:spMkLst>
            <pc:docMk/>
            <pc:sldMk cId="1832843023" sldId="2134804333"/>
            <ac:spMk id="68" creationId="{394C5A4E-A967-4FCC-957D-2A12FA7E318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04.143" v="17312" actId="1076"/>
          <ac:spMkLst>
            <pc:docMk/>
            <pc:sldMk cId="1832843023" sldId="2134804333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04.143" v="17312" actId="1076"/>
          <ac:spMkLst>
            <pc:docMk/>
            <pc:sldMk cId="1832843023" sldId="2134804333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25.537" v="11644" actId="208"/>
          <ac:spMkLst>
            <pc:docMk/>
            <pc:sldMk cId="1832843023" sldId="2134804333"/>
            <ac:spMk id="89" creationId="{78E51770-F801-49A4-B7E4-98D680A50D5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31.599" v="11645" actId="208"/>
          <ac:spMkLst>
            <pc:docMk/>
            <pc:sldMk cId="1832843023" sldId="2134804333"/>
            <ac:spMk id="103" creationId="{47CDDAFF-8DCC-4B35-9FE7-57D6B6DB23D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25.537" v="11644" actId="208"/>
          <ac:spMkLst>
            <pc:docMk/>
            <pc:sldMk cId="1832843023" sldId="2134804333"/>
            <ac:spMk id="109" creationId="{56717B0D-A5CF-4165-984E-31F6C44AA6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04.143" v="17312" actId="1076"/>
          <ac:spMkLst>
            <pc:docMk/>
            <pc:sldMk cId="1832843023" sldId="2134804333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04.143" v="17312" actId="1076"/>
          <ac:spMkLst>
            <pc:docMk/>
            <pc:sldMk cId="1832843023" sldId="2134804333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04.143" v="17312" actId="1076"/>
          <ac:spMkLst>
            <pc:docMk/>
            <pc:sldMk cId="1832843023" sldId="2134804333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28:05.671" v="16232" actId="207"/>
          <ac:spMkLst>
            <pc:docMk/>
            <pc:sldMk cId="1832843023" sldId="2134804333"/>
            <ac:spMk id="135" creationId="{C1823568-A421-4254-9106-BAEB76F16B72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14" creationId="{49391088-76C7-4581-ABD3-84E3FFFD3B30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27" creationId="{FBDB43F5-C0DD-4746-9873-93A29FDB9EFF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50" creationId="{33C5D268-10D8-49D7-8DB6-0A27006658D7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56" creationId="{F4EC4EF0-7190-4E9B-8549-5101761B6B1E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64" creationId="{31798F15-706D-45E0-A3B0-893CC2623D9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75" creationId="{077A4C80-B6E4-40B6-B2DC-9B42ECFBED08}"/>
          </ac:grpSpMkLst>
        </pc:grp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2329099191" sldId="2134804334"/>
        </pc:sldMkLst>
        <pc:spChg chg="mod">
          <ac:chgData name="Mariam Daniela Tristancho Pineda (MISION TEMPORAL LTDA)" userId="a45a17f7-7950-4cb5-bfab-f5c894f959a9" providerId="ADAL" clId="{9D150B60-33B5-4A3E-8123-A67E35AA8D44}" dt="2020-07-28T00:15:23.276" v="15796" actId="113"/>
          <ac:spMkLst>
            <pc:docMk/>
            <pc:sldMk cId="2329099191" sldId="2134804334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4:33.032" v="11655" actId="207"/>
          <ac:spMkLst>
            <pc:docMk/>
            <pc:sldMk cId="2329099191" sldId="2134804334"/>
            <ac:spMk id="135" creationId="{C1823568-A421-4254-9106-BAEB76F16B72}"/>
          </ac:spMkLst>
        </pc:s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997806465" sldId="2134804335"/>
        </pc:sldMkLst>
        <pc:spChg chg="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3" creationId="{815B10B7-60B3-4C63-8431-70CC556387C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2:10.129" v="11880" actId="208"/>
          <ac:spMkLst>
            <pc:docMk/>
            <pc:sldMk cId="997806465" sldId="2134804335"/>
            <ac:spMk id="6" creationId="{0CD98A5D-4754-4786-990D-B12D06A1270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19:38:42.103" v="11773" actId="478"/>
          <ac:spMkLst>
            <pc:docMk/>
            <pc:sldMk cId="997806465" sldId="2134804335"/>
            <ac:spMk id="7" creationId="{2223C98A-7D9B-49AC-925C-F6BD7B75E0A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4T21:00:03.955" v="7042" actId="478"/>
          <ac:spMkLst>
            <pc:docMk/>
            <pc:sldMk cId="997806465" sldId="2134804335"/>
            <ac:spMk id="7" creationId="{5F9B1E71-580F-4E7C-9DF1-2DFC90AFEE3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21:01:28.121" v="7064" actId="478"/>
          <ac:spMkLst>
            <pc:docMk/>
            <pc:sldMk cId="997806465" sldId="2134804335"/>
            <ac:spMk id="12" creationId="{54411719-0D48-4E09-865F-F0B937E53A1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13" creationId="{AEA9A67C-1F4B-4E19-9DBD-B1E12EB3746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2:10.129" v="11880" actId="208"/>
          <ac:spMkLst>
            <pc:docMk/>
            <pc:sldMk cId="997806465" sldId="2134804335"/>
            <ac:spMk id="15" creationId="{3C746AF5-F53B-4C8F-8FE1-9515D2C222F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17" creationId="{E28CF9EE-7057-4671-8471-F5AAB489FC3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21:05:25.836" v="7069" actId="478"/>
          <ac:spMkLst>
            <pc:docMk/>
            <pc:sldMk cId="997806465" sldId="2134804335"/>
            <ac:spMk id="18" creationId="{49DA2260-9FC5-4714-AB44-741BCE13F9E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1:04.917" v="11864" actId="1037"/>
          <ac:spMkLst>
            <pc:docMk/>
            <pc:sldMk cId="997806465" sldId="2134804335"/>
            <ac:spMk id="19" creationId="{29B43B0B-4ADF-4336-B509-25E00EC7C6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1:38.460" v="11878" actId="693"/>
          <ac:spMkLst>
            <pc:docMk/>
            <pc:sldMk cId="997806465" sldId="2134804335"/>
            <ac:spMk id="21" creationId="{6DF582FE-4ED3-41AC-A715-CB130A94E54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1:04.917" v="11864" actId="1037"/>
          <ac:spMkLst>
            <pc:docMk/>
            <pc:sldMk cId="997806465" sldId="2134804335"/>
            <ac:spMk id="22" creationId="{E652DC89-A856-4D57-8E2C-B61602C127E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19:37:00.325" v="11660" actId="478"/>
          <ac:spMkLst>
            <pc:docMk/>
            <pc:sldMk cId="997806465" sldId="2134804335"/>
            <ac:spMk id="40" creationId="{D7318207-3D8A-4BDF-BC74-EB4CB33BC86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19:37:00.325" v="11660" actId="478"/>
          <ac:spMkLst>
            <pc:docMk/>
            <pc:sldMk cId="997806465" sldId="2134804335"/>
            <ac:spMk id="41" creationId="{3B040B91-7AFC-4DF5-87AC-6C12DC474E0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59:02.521" v="6998"/>
          <ac:spMkLst>
            <pc:docMk/>
            <pc:sldMk cId="997806465" sldId="2134804335"/>
            <ac:spMk id="43" creationId="{0EA671BA-C913-40BB-82E3-CB186B4E6A4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59:02.521" v="6998"/>
          <ac:spMkLst>
            <pc:docMk/>
            <pc:sldMk cId="997806465" sldId="2134804335"/>
            <ac:spMk id="44" creationId="{85699342-AE75-4650-AE1E-902F82A9C41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59:02.521" v="6998"/>
          <ac:spMkLst>
            <pc:docMk/>
            <pc:sldMk cId="997806465" sldId="2134804335"/>
            <ac:spMk id="45" creationId="{AE693636-DC98-4E4B-B3C2-A1F34C7AF4A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59:02.521" v="6998"/>
          <ac:spMkLst>
            <pc:docMk/>
            <pc:sldMk cId="997806465" sldId="2134804335"/>
            <ac:spMk id="46" creationId="{27FFBB6D-A941-47A7-89A9-261B9C3E9C5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1:24.912" v="11874" actId="20577"/>
          <ac:spMkLst>
            <pc:docMk/>
            <pc:sldMk cId="997806465" sldId="2134804335"/>
            <ac:spMk id="49" creationId="{C0197DAE-A62A-4F3E-9B20-3A2EF1F5519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59:41.578" v="7023"/>
          <ac:spMkLst>
            <pc:docMk/>
            <pc:sldMk cId="997806465" sldId="2134804335"/>
            <ac:spMk id="50" creationId="{A7057143-C85B-44EE-92F1-EC9A480F74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33.950" v="15800" actId="1035"/>
          <ac:spMkLst>
            <pc:docMk/>
            <pc:sldMk cId="997806465" sldId="2134804335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17.857" v="15795" actId="113"/>
          <ac:spMkLst>
            <pc:docMk/>
            <pc:sldMk cId="997806465" sldId="2134804335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1:22.154" v="11870" actId="20577"/>
          <ac:spMkLst>
            <pc:docMk/>
            <pc:sldMk cId="997806465" sldId="2134804335"/>
            <ac:spMk id="91" creationId="{232CC050-3BFF-4FBB-A326-2B3CF9176A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38.882" v="15805" actId="1036"/>
          <ac:spMkLst>
            <pc:docMk/>
            <pc:sldMk cId="997806465" sldId="2134804335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38.882" v="15805" actId="1036"/>
          <ac:spMkLst>
            <pc:docMk/>
            <pc:sldMk cId="997806465" sldId="2134804335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38.882" v="15805" actId="1036"/>
          <ac:spMkLst>
            <pc:docMk/>
            <pc:sldMk cId="997806465" sldId="2134804335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1:03:21.879" v="7068" actId="14100"/>
          <ac:spMkLst>
            <pc:docMk/>
            <pc:sldMk cId="997806465" sldId="2134804335"/>
            <ac:spMk id="122" creationId="{F92D7973-FA2F-45B1-8D65-1BB666EE24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9:48.066" v="19144" actId="20577"/>
          <ac:spMkLst>
            <pc:docMk/>
            <pc:sldMk cId="997806465" sldId="2134804335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147" creationId="{28985963-B271-4E6A-83C5-F3A62A87E6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156" creationId="{D69C9D48-D741-473B-B9DB-21F11F27980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4T20:59:50.184" v="7027" actId="478"/>
          <ac:spMkLst>
            <pc:docMk/>
            <pc:sldMk cId="997806465" sldId="2134804335"/>
            <ac:spMk id="164" creationId="{017B2A88-B738-413B-82B2-A287FE0FC4EF}"/>
          </ac:spMkLst>
        </pc:spChg>
        <pc:grpChg chg="del mod">
          <ac:chgData name="Mariam Daniela Tristancho Pineda (MISION TEMPORAL LTDA)" userId="a45a17f7-7950-4cb5-bfab-f5c894f959a9" providerId="ADAL" clId="{9D150B60-33B5-4A3E-8123-A67E35AA8D44}" dt="2020-07-24T21:00:10.727" v="7045" actId="478"/>
          <ac:grpSpMkLst>
            <pc:docMk/>
            <pc:sldMk cId="997806465" sldId="2134804335"/>
            <ac:grpSpMk id="14" creationId="{F9B624AC-D760-4747-9E53-02B94BF6FD12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0:15:36.670" v="15803" actId="1036"/>
          <ac:grpSpMkLst>
            <pc:docMk/>
            <pc:sldMk cId="997806465" sldId="2134804335"/>
            <ac:grpSpMk id="16" creationId="{C2A3B512-7A1C-4FAF-A81F-067631C52819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4T21:01:07.141" v="7056" actId="478"/>
          <ac:grpSpMkLst>
            <pc:docMk/>
            <pc:sldMk cId="997806465" sldId="2134804335"/>
            <ac:grpSpMk id="28" creationId="{2AEE4E67-C0FA-4308-BDBD-87AF29BE81B0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4T21:00:42.182" v="7052" actId="478"/>
          <ac:grpSpMkLst>
            <pc:docMk/>
            <pc:sldMk cId="997806465" sldId="2134804335"/>
            <ac:grpSpMk id="32" creationId="{EF33476E-57EC-4B24-BF48-38DA777DD938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19:37:29.072" v="11696" actId="478"/>
          <ac:grpSpMkLst>
            <pc:docMk/>
            <pc:sldMk cId="997806465" sldId="2134804335"/>
            <ac:grpSpMk id="37" creationId="{33A4F641-6F0E-462A-898E-0641B151AA6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4T21:01:00.820" v="7055" actId="478"/>
          <ac:grpSpMkLst>
            <pc:docMk/>
            <pc:sldMk cId="997806465" sldId="2134804335"/>
            <ac:grpSpMk id="42" creationId="{F126DA2F-814A-4759-848D-E95B5BAB8576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5:36.670" v="15803" actId="1036"/>
          <ac:grpSpMkLst>
            <pc:docMk/>
            <pc:sldMk cId="997806465" sldId="2134804335"/>
            <ac:grpSpMk id="48" creationId="{BF9B7369-5424-4681-AAA3-C537D0F863B5}"/>
          </ac:grpSpMkLst>
        </pc:grpChg>
      </pc:sldChg>
      <pc:sldChg chg="modSp add del mod">
        <pc:chgData name="Mariam Daniela Tristancho Pineda (MISION TEMPORAL LTDA)" userId="a45a17f7-7950-4cb5-bfab-f5c894f959a9" providerId="ADAL" clId="{9D150B60-33B5-4A3E-8123-A67E35AA8D44}" dt="2020-07-26T23:16:49.650" v="9572"/>
        <pc:sldMkLst>
          <pc:docMk/>
          <pc:sldMk cId="297803076" sldId="2134804336"/>
        </pc:sldMkLst>
        <pc:spChg chg="mod">
          <ac:chgData name="Mariam Daniela Tristancho Pineda (MISION TEMPORAL LTDA)" userId="a45a17f7-7950-4cb5-bfab-f5c894f959a9" providerId="ADAL" clId="{9D150B60-33B5-4A3E-8123-A67E35AA8D44}" dt="2020-07-26T23:16:49.407" v="9571" actId="20577"/>
          <ac:spMkLst>
            <pc:docMk/>
            <pc:sldMk cId="297803076" sldId="2134804336"/>
            <ac:spMk id="135" creationId="{C1823568-A421-4254-9106-BAEB76F16B72}"/>
          </ac:spMkLst>
        </pc:s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827790441" sldId="2134804336"/>
        </pc:sldMkLst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3" creationId="{815B10B7-60B3-4C63-8431-70CC556387C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3:52.554" v="9640" actId="478"/>
          <ac:spMkLst>
            <pc:docMk/>
            <pc:sldMk cId="827790441" sldId="2134804336"/>
            <ac:spMk id="6" creationId="{0CD98A5D-4754-4786-990D-B12D06A1270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6" creationId="{CFDD94B0-11A5-4B79-A8C5-458B99EBF74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7" creationId="{2DD37304-F780-4D00-8578-4660EB8B73B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8" creationId="{7290B7A8-9A60-4455-B01E-A7B6E8A853F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9" creationId="{A59A6142-78A7-4551-AC12-F1B5BB83E03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10" creationId="{3008CF17-98A5-48F4-8930-25B91D8D10B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4:18.654" v="12019" actId="20577"/>
          <ac:spMkLst>
            <pc:docMk/>
            <pc:sldMk cId="827790441" sldId="2134804336"/>
            <ac:spMk id="11" creationId="{2BDCFDBC-AD6F-45F7-A082-F9EECA92398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13" creationId="{AEA9A67C-1F4B-4E19-9DBD-B1E12EB3746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4:08.712" v="9645" actId="478"/>
          <ac:spMkLst>
            <pc:docMk/>
            <pc:sldMk cId="827790441" sldId="2134804336"/>
            <ac:spMk id="15" creationId="{3C746AF5-F53B-4C8F-8FE1-9515D2C222F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4:08.147" v="9644" actId="478"/>
          <ac:spMkLst>
            <pc:docMk/>
            <pc:sldMk cId="827790441" sldId="2134804336"/>
            <ac:spMk id="17" creationId="{E28CF9EE-7057-4671-8471-F5AAB489FC3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4:49.704" v="9693" actId="478"/>
          <ac:spMkLst>
            <pc:docMk/>
            <pc:sldMk cId="827790441" sldId="2134804336"/>
            <ac:spMk id="19" creationId="{29B43B0B-4ADF-4336-B509-25E00EC7C6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21" creationId="{6DF582FE-4ED3-41AC-A715-CB130A94E54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22" creationId="{E652DC89-A856-4D57-8E2C-B61602C127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4:30.632" v="12027" actId="20577"/>
          <ac:spMkLst>
            <pc:docMk/>
            <pc:sldMk cId="827790441" sldId="2134804336"/>
            <ac:spMk id="39" creationId="{5FAD9D39-0163-48A2-AB90-B7B2E4C2CCC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3:35.816" v="9638" actId="478"/>
          <ac:spMkLst>
            <pc:docMk/>
            <pc:sldMk cId="827790441" sldId="2134804336"/>
            <ac:spMk id="40" creationId="{D7318207-3D8A-4BDF-BC74-EB4CB33BC86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3:35.816" v="9638" actId="478"/>
          <ac:spMkLst>
            <pc:docMk/>
            <pc:sldMk cId="827790441" sldId="2134804336"/>
            <ac:spMk id="41" creationId="{3B040B91-7AFC-4DF5-87AC-6C12DC474E0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4:27.724" v="12023" actId="20577"/>
          <ac:spMkLst>
            <pc:docMk/>
            <pc:sldMk cId="827790441" sldId="2134804336"/>
            <ac:spMk id="49" creationId="{C0197DAE-A62A-4F3E-9B20-3A2EF1F5519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6:14.334" v="9800" actId="1035"/>
          <ac:spMkLst>
            <pc:docMk/>
            <pc:sldMk cId="827790441" sldId="2134804336"/>
            <ac:spMk id="50" creationId="{A7057143-C85B-44EE-92F1-EC9A480F74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6:57.826" v="9860" actId="1076"/>
          <ac:spMkLst>
            <pc:docMk/>
            <pc:sldMk cId="827790441" sldId="2134804336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05.511" v="15791" actId="113"/>
          <ac:spMkLst>
            <pc:docMk/>
            <pc:sldMk cId="827790441" sldId="2134804336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7:30.095" v="9886" actId="1037"/>
          <ac:spMkLst>
            <pc:docMk/>
            <pc:sldMk cId="827790441" sldId="2134804336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7:37.106" v="9888" actId="408"/>
          <ac:spMkLst>
            <pc:docMk/>
            <pc:sldMk cId="827790441" sldId="2134804336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7:34.431" v="9887" actId="465"/>
          <ac:spMkLst>
            <pc:docMk/>
            <pc:sldMk cId="827790441" sldId="2134804336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01.429" v="12054" actId="20577"/>
          <ac:spMkLst>
            <pc:docMk/>
            <pc:sldMk cId="827790441" sldId="2134804336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147" creationId="{28985963-B271-4E6A-83C5-F3A62A87E6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156" creationId="{D69C9D48-D741-473B-B9DB-21F11F279802}"/>
          </ac:spMkLst>
        </pc:spChg>
        <pc:grpChg chg="del">
          <ac:chgData name="Mariam Daniela Tristancho Pineda (MISION TEMPORAL LTDA)" userId="a45a17f7-7950-4cb5-bfab-f5c894f959a9" providerId="ADAL" clId="{9D150B60-33B5-4A3E-8123-A67E35AA8D44}" dt="2020-07-26T23:24:21.740" v="9670" actId="478"/>
          <ac:grpSpMkLst>
            <pc:docMk/>
            <pc:sldMk cId="827790441" sldId="2134804336"/>
            <ac:grpSpMk id="16" creationId="{C2A3B512-7A1C-4FAF-A81F-067631C5281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6T23:27:24.717" v="9882" actId="1036"/>
          <ac:grpSpMkLst>
            <pc:docMk/>
            <pc:sldMk cId="827790441" sldId="2134804336"/>
            <ac:grpSpMk id="37" creationId="{33A4F641-6F0E-462A-898E-0641B151AA6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6T23:27:24.717" v="9882" actId="1036"/>
          <ac:grpSpMkLst>
            <pc:docMk/>
            <pc:sldMk cId="827790441" sldId="2134804336"/>
            <ac:grpSpMk id="48" creationId="{BF9B7369-5424-4681-AAA3-C537D0F863B5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3396100439" sldId="2134804337"/>
        </pc:sldMkLst>
        <pc:spChg chg="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3" creationId="{815B10B7-60B3-4C63-8431-70CC556387C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6" creationId="{4BD45A74-756A-4BD2-A61F-C4804F955B3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29:28.809" v="9930" actId="478"/>
          <ac:spMkLst>
            <pc:docMk/>
            <pc:sldMk cId="3396100439" sldId="2134804337"/>
            <ac:spMk id="7" creationId="{2DD37304-F780-4D00-8578-4660EB8B73BC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7" creationId="{5BB1043D-9A90-43C6-BCE8-E8686C0B75E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7:20.285" v="12502" actId="164"/>
          <ac:spMkLst>
            <pc:docMk/>
            <pc:sldMk cId="3396100439" sldId="2134804337"/>
            <ac:spMk id="8" creationId="{04E03E9B-25E7-4174-8132-CD2E4F3F4EC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29:28.809" v="9930" actId="478"/>
          <ac:spMkLst>
            <pc:docMk/>
            <pc:sldMk cId="3396100439" sldId="2134804337"/>
            <ac:spMk id="8" creationId="{7290B7A8-9A60-4455-B01E-A7B6E8A853F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9" creationId="{C4008514-F4D9-48F0-9D49-2B5F1B4FABA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3:32:41.483" v="10057" actId="478"/>
          <ac:spMkLst>
            <pc:docMk/>
            <pc:sldMk cId="3396100439" sldId="2134804337"/>
            <ac:spMk id="10" creationId="{9917792E-ED60-4446-B293-0BF1449958B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7:20.285" v="12502" actId="164"/>
          <ac:spMkLst>
            <pc:docMk/>
            <pc:sldMk cId="3396100439" sldId="2134804337"/>
            <ac:spMk id="10" creationId="{BAEAA11C-2087-4293-A342-F4037005476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1" creationId="{772CA61D-742C-45F0-BAFA-0F3B90176E9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2" creationId="{7F3CEC4C-7588-4B74-823D-9CF22E2DAD7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44.611" v="12566" actId="14100"/>
          <ac:spMkLst>
            <pc:docMk/>
            <pc:sldMk cId="3396100439" sldId="2134804337"/>
            <ac:spMk id="13" creationId="{6228884F-A0F8-4DF2-85C2-C4B92D5A8A7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29:28.809" v="9930" actId="478"/>
          <ac:spMkLst>
            <pc:docMk/>
            <pc:sldMk cId="3396100439" sldId="2134804337"/>
            <ac:spMk id="13" creationId="{AEA9A67C-1F4B-4E19-9DBD-B1E12EB3746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6:49.321" v="12494" actId="1076"/>
          <ac:spMkLst>
            <pc:docMk/>
            <pc:sldMk cId="3396100439" sldId="2134804337"/>
            <ac:spMk id="14" creationId="{46F7B6A0-E0D5-4D7B-9309-36A54842950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3:32:32.962" v="10056" actId="478"/>
          <ac:spMkLst>
            <pc:docMk/>
            <pc:sldMk cId="3396100439" sldId="2134804337"/>
            <ac:spMk id="14" creationId="{BBE6952F-5CAF-4C9C-B945-5ED4CDECC7A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5" creationId="{62B74417-9DDC-43EE-A726-A2B51719A76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6" creationId="{BBFAD0BD-54FF-43F3-B1BD-AD87C3FE718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7" creationId="{86A1E7C4-4E11-4F2F-8053-7E78A6509E4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8" creationId="{2CBADE6D-1357-4956-98FE-882CB8F1AE1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3:33:49.070" v="10126" actId="478"/>
          <ac:spMkLst>
            <pc:docMk/>
            <pc:sldMk cId="3396100439" sldId="2134804337"/>
            <ac:spMk id="19" creationId="{4D2D331F-B972-401C-9C0A-23075A4685E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20" creationId="{5B6FAFEF-D75A-41DE-AC4B-45789181D62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21" creationId="{6DF582FE-4ED3-41AC-A715-CB130A94E54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19:50:33.344" v="12242" actId="478"/>
          <ac:spMkLst>
            <pc:docMk/>
            <pc:sldMk cId="3396100439" sldId="2134804337"/>
            <ac:spMk id="22" creationId="{E652DC89-A856-4D57-8E2C-B61602C127E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23" creationId="{A396F205-286C-47F5-B29D-C5952F03BF6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38.182" v="12565" actId="164"/>
          <ac:spMkLst>
            <pc:docMk/>
            <pc:sldMk cId="3396100439" sldId="2134804337"/>
            <ac:spMk id="24" creationId="{D596017A-217C-4030-AA0C-1C29D35BFF6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19.721" v="15809" actId="1038"/>
          <ac:spMkLst>
            <pc:docMk/>
            <pc:sldMk cId="3396100439" sldId="2134804337"/>
            <ac:spMk id="27" creationId="{910DCB24-1C9B-45BE-9592-B8EC86E558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9:24.456" v="9929"/>
          <ac:spMkLst>
            <pc:docMk/>
            <pc:sldMk cId="3396100439" sldId="2134804337"/>
            <ac:spMk id="28" creationId="{4A0F0E28-A961-4260-8BB9-16809CE2E1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30:35.997" v="9938" actId="20577"/>
          <ac:spMkLst>
            <pc:docMk/>
            <pc:sldMk cId="3396100439" sldId="2134804337"/>
            <ac:spMk id="32" creationId="{112CF6BB-B57E-4E30-BDB8-A663AA382E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28.069" v="15818" actId="1038"/>
          <ac:spMkLst>
            <pc:docMk/>
            <pc:sldMk cId="3396100439" sldId="2134804337"/>
            <ac:spMk id="33" creationId="{99A98136-5ADE-4ACF-97B1-9869591C874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33:11.747" v="10082" actId="20577"/>
          <ac:spMkLst>
            <pc:docMk/>
            <pc:sldMk cId="3396100439" sldId="2134804337"/>
            <ac:spMk id="38" creationId="{A70D06D3-12BC-4CDA-B9D7-EEF1588242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25.286" v="15815" actId="1038"/>
          <ac:spMkLst>
            <pc:docMk/>
            <pc:sldMk cId="3396100439" sldId="2134804337"/>
            <ac:spMk id="39" creationId="{5FAD9D39-0163-48A2-AB90-B7B2E4C2CC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22.498" v="15812" actId="1038"/>
          <ac:spMkLst>
            <pc:docMk/>
            <pc:sldMk cId="3396100439" sldId="2134804337"/>
            <ac:spMk id="47" creationId="{F3DF7E95-E8CD-4D4B-91D9-C76F523677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31:19.470" v="10030" actId="1035"/>
          <ac:spMkLst>
            <pc:docMk/>
            <pc:sldMk cId="3396100439" sldId="2134804337"/>
            <ac:spMk id="49" creationId="{C0197DAE-A62A-4F3E-9B20-3A2EF1F5519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31:05.146" v="9973" actId="20577"/>
          <ac:spMkLst>
            <pc:docMk/>
            <pc:sldMk cId="3396100439" sldId="2134804337"/>
            <ac:spMk id="50" creationId="{A7057143-C85B-44EE-92F1-EC9A480F74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32:50.122" v="10059"/>
          <ac:spMkLst>
            <pc:docMk/>
            <pc:sldMk cId="3396100439" sldId="2134804337"/>
            <ac:spMk id="51" creationId="{434F470C-E23A-4F38-ABE9-7C1C6300E6C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50:47.348" v="12246" actId="1076"/>
          <ac:spMkLst>
            <pc:docMk/>
            <pc:sldMk cId="3396100439" sldId="2134804337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28:21.678" v="16261" actId="20577"/>
          <ac:spMkLst>
            <pc:docMk/>
            <pc:sldMk cId="3396100439" sldId="2134804337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33.096" v="15821" actId="1036"/>
          <ac:spMkLst>
            <pc:docMk/>
            <pc:sldMk cId="3396100439" sldId="2134804337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33.096" v="15821" actId="1036"/>
          <ac:spMkLst>
            <pc:docMk/>
            <pc:sldMk cId="3396100439" sldId="2134804337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33.096" v="15821" actId="1036"/>
          <ac:spMkLst>
            <pc:docMk/>
            <pc:sldMk cId="3396100439" sldId="2134804337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51.659" v="17314" actId="20577"/>
          <ac:spMkLst>
            <pc:docMk/>
            <pc:sldMk cId="3396100439" sldId="2134804337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47" creationId="{28985963-B271-4E6A-83C5-F3A62A87E6B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19:50:33.344" v="12242" actId="478"/>
          <ac:spMkLst>
            <pc:docMk/>
            <pc:sldMk cId="3396100439" sldId="2134804337"/>
            <ac:spMk id="156" creationId="{D69C9D48-D741-473B-B9DB-21F11F279802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27T19:57:37.354" v="12544" actId="1076"/>
          <ac:grpSpMkLst>
            <pc:docMk/>
            <pc:sldMk cId="3396100439" sldId="2134804337"/>
            <ac:grpSpMk id="19" creationId="{61C64EE8-FBB3-47C1-B4B0-BE60C5801CC2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19:58:38.182" v="12565" actId="164"/>
          <ac:grpSpMkLst>
            <pc:docMk/>
            <pc:sldMk cId="3396100439" sldId="2134804337"/>
            <ac:grpSpMk id="25" creationId="{7BD04A0F-6044-44FB-A15C-87C578771698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19:57:29.422" v="12520" actId="1037"/>
          <ac:grpSpMkLst>
            <pc:docMk/>
            <pc:sldMk cId="3396100439" sldId="2134804337"/>
            <ac:grpSpMk id="26" creationId="{5B1CDA9C-37CE-441A-94E7-5A5F3850361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19:57:33.855" v="12543" actId="1038"/>
          <ac:grpSpMkLst>
            <pc:docMk/>
            <pc:sldMk cId="3396100439" sldId="2134804337"/>
            <ac:grpSpMk id="31" creationId="{A0B07E6C-42EA-42D4-BF18-74CF8467911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57:33.855" v="12543" actId="1038"/>
          <ac:grpSpMkLst>
            <pc:docMk/>
            <pc:sldMk cId="3396100439" sldId="2134804337"/>
            <ac:grpSpMk id="37" creationId="{33A4F641-6F0E-462A-898E-0641B151AA6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19:57:29.422" v="12520" actId="1037"/>
          <ac:grpSpMkLst>
            <pc:docMk/>
            <pc:sldMk cId="3396100439" sldId="2134804337"/>
            <ac:grpSpMk id="46" creationId="{650AB62D-A12A-45DF-8E31-BF8EC5C56E7C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6T23:32:42.280" v="10058" actId="478"/>
          <ac:grpSpMkLst>
            <pc:docMk/>
            <pc:sldMk cId="3396100439" sldId="2134804337"/>
            <ac:grpSpMk id="48" creationId="{BF9B7369-5424-4681-AAA3-C537D0F863B5}"/>
          </ac:grpSpMkLst>
        </pc:grpChg>
      </pc:sldChg>
      <pc:sldChg chg="modSp add mod ord">
        <pc:chgData name="Mariam Daniela Tristancho Pineda (MISION TEMPORAL LTDA)" userId="a45a17f7-7950-4cb5-bfab-f5c894f959a9" providerId="ADAL" clId="{9D150B60-33B5-4A3E-8123-A67E35AA8D44}" dt="2020-07-28T15:04:53.786" v="20024" actId="20577"/>
        <pc:sldMkLst>
          <pc:docMk/>
          <pc:sldMk cId="1847407210" sldId="2134804338"/>
        </pc:sldMkLst>
        <pc:spChg chg="mod">
          <ac:chgData name="Mariam Daniela Tristancho Pineda (MISION TEMPORAL LTDA)" userId="a45a17f7-7950-4cb5-bfab-f5c894f959a9" providerId="ADAL" clId="{9D150B60-33B5-4A3E-8123-A67E35AA8D44}" dt="2020-07-28T15:04:53.786" v="20024" actId="20577"/>
          <ac:spMkLst>
            <pc:docMk/>
            <pc:sldMk cId="1847407210" sldId="2134804338"/>
            <ac:spMk id="2" creationId="{6431BBCF-96E5-45A7-B7E5-D44090D06329}"/>
          </ac:spMkLst>
        </pc:s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20:02:57.794" v="20080" actId="207"/>
        <pc:sldMkLst>
          <pc:docMk/>
          <pc:sldMk cId="1922339588" sldId="2134804339"/>
        </pc:sldMkLst>
        <pc:spChg chg="mod">
          <ac:chgData name="Mariam Daniela Tristancho Pineda (MISION TEMPORAL LTDA)" userId="a45a17f7-7950-4cb5-bfab-f5c894f959a9" providerId="ADAL" clId="{9D150B60-33B5-4A3E-8123-A67E35AA8D44}" dt="2020-07-26T23:45:41.638" v="10610" actId="1076"/>
          <ac:spMkLst>
            <pc:docMk/>
            <pc:sldMk cId="1922339588" sldId="2134804339"/>
            <ac:spMk id="3" creationId="{31514E04-D9F2-4C9D-BB7C-0BB641AFCD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1:00.619" v="10716" actId="1076"/>
          <ac:spMkLst>
            <pc:docMk/>
            <pc:sldMk cId="1922339588" sldId="2134804339"/>
            <ac:spMk id="4" creationId="{9B0CE30D-625A-4CD9-98D4-3AF33243D19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00:01:16.024" v="10721" actId="478"/>
          <ac:spMkLst>
            <pc:docMk/>
            <pc:sldMk cId="1922339588" sldId="2134804339"/>
            <ac:spMk id="8" creationId="{8297F929-C1B1-480C-B41F-11DADC46CD0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5:44.059" v="10650" actId="20577"/>
          <ac:spMkLst>
            <pc:docMk/>
            <pc:sldMk cId="1922339588" sldId="2134804339"/>
            <ac:spMk id="11" creationId="{369347C8-E390-4234-A000-2BD5D7F47A0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5:14.749" v="10646" actId="20577"/>
          <ac:spMkLst>
            <pc:docMk/>
            <pc:sldMk cId="1922339588" sldId="2134804339"/>
            <ac:spMk id="12" creationId="{96C9E76C-8C7F-489D-82CB-B2BD0385270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9:58.859" v="10704" actId="478"/>
          <ac:spMkLst>
            <pc:docMk/>
            <pc:sldMk cId="1922339588" sldId="2134804339"/>
            <ac:spMk id="14" creationId="{D1DAE228-949A-4D89-BEA5-C97D123F5CC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6:10.612" v="10654" actId="1076"/>
          <ac:spMkLst>
            <pc:docMk/>
            <pc:sldMk cId="1922339588" sldId="2134804339"/>
            <ac:spMk id="15" creationId="{2D957BE4-455A-4A77-BB3D-B544CDFE4CE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6:19.331" v="10655" actId="20577"/>
          <ac:spMkLst>
            <pc:docMk/>
            <pc:sldMk cId="1922339588" sldId="2134804339"/>
            <ac:spMk id="16" creationId="{39920083-3661-4B17-BD82-A7C567EAC10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7:17.416" v="10676" actId="1076"/>
          <ac:spMkLst>
            <pc:docMk/>
            <pc:sldMk cId="1922339588" sldId="2134804339"/>
            <ac:spMk id="17" creationId="{D90DAF45-BBA9-4FE0-889F-2B61DCDCAFD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8:07.149" v="10682" actId="1076"/>
          <ac:spMkLst>
            <pc:docMk/>
            <pc:sldMk cId="1922339588" sldId="2134804339"/>
            <ac:spMk id="18" creationId="{6B4295C0-BACB-421F-9250-D16FB2AE03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7:48.834" v="10860" actId="20577"/>
          <ac:spMkLst>
            <pc:docMk/>
            <pc:sldMk cId="1922339588" sldId="2134804339"/>
            <ac:spMk id="20" creationId="{92C8D133-E6D8-4045-B204-E026C562109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8:07.149" v="10682" actId="1076"/>
          <ac:spMkLst>
            <pc:docMk/>
            <pc:sldMk cId="1922339588" sldId="2134804339"/>
            <ac:spMk id="22" creationId="{3C9B90E0-D56E-406C-86C5-9047F0CF725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8:32.203" v="10689" actId="1076"/>
          <ac:spMkLst>
            <pc:docMk/>
            <pc:sldMk cId="1922339588" sldId="2134804339"/>
            <ac:spMk id="23" creationId="{DC7A8F7C-C0FB-409A-A2BF-E6C8DE621AB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9:00.932" v="10692" actId="1076"/>
          <ac:spMkLst>
            <pc:docMk/>
            <pc:sldMk cId="1922339588" sldId="2134804339"/>
            <ac:spMk id="24" creationId="{0F469F31-E58F-42FF-AC27-8A11BEC21E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9:20.678" v="10696" actId="1076"/>
          <ac:spMkLst>
            <pc:docMk/>
            <pc:sldMk cId="1922339588" sldId="2134804339"/>
            <ac:spMk id="25" creationId="{BBAEF50B-2618-44D3-B61E-C295E72EF8E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9:27.327" v="10697" actId="20577"/>
          <ac:spMkLst>
            <pc:docMk/>
            <pc:sldMk cId="1922339588" sldId="2134804339"/>
            <ac:spMk id="26" creationId="{DB8C8FEE-D364-473B-990C-8D0B3A2AFE2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9:41.581" v="10700" actId="1076"/>
          <ac:spMkLst>
            <pc:docMk/>
            <pc:sldMk cId="1922339588" sldId="2134804339"/>
            <ac:spMk id="27" creationId="{FEFB62FD-9D39-4B50-AF59-543E1F673FE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0:03.220" v="10706" actId="1076"/>
          <ac:spMkLst>
            <pc:docMk/>
            <pc:sldMk cId="1922339588" sldId="2134804339"/>
            <ac:spMk id="28" creationId="{0CDAE9E7-CD85-4317-A660-8F35EC85969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1:11.853" v="10719" actId="1076"/>
          <ac:spMkLst>
            <pc:docMk/>
            <pc:sldMk cId="1922339588" sldId="2134804339"/>
            <ac:spMk id="29" creationId="{D3BCCD8F-3AD4-43D4-B822-044615DD1C54}"/>
          </ac:spMkLst>
        </pc:spChg>
        <pc:spChg chg="add del mod topLvl">
          <ac:chgData name="Mariam Daniela Tristancho Pineda (MISION TEMPORAL LTDA)" userId="a45a17f7-7950-4cb5-bfab-f5c894f959a9" providerId="ADAL" clId="{9D150B60-33B5-4A3E-8123-A67E35AA8D44}" dt="2020-07-28T15:05:31.419" v="20033" actId="478"/>
          <ac:spMkLst>
            <pc:docMk/>
            <pc:sldMk cId="1922339588" sldId="2134804339"/>
            <ac:spMk id="31" creationId="{33815D25-A2E7-49EE-9E0D-F73DC7260CB1}"/>
          </ac:spMkLst>
        </pc:spChg>
        <pc:spChg chg="add del mod topLvl">
          <ac:chgData name="Mariam Daniela Tristancho Pineda (MISION TEMPORAL LTDA)" userId="a45a17f7-7950-4cb5-bfab-f5c894f959a9" providerId="ADAL" clId="{9D150B60-33B5-4A3E-8123-A67E35AA8D44}" dt="2020-07-28T15:05:25.412" v="20029" actId="478"/>
          <ac:spMkLst>
            <pc:docMk/>
            <pc:sldMk cId="1922339588" sldId="2134804339"/>
            <ac:spMk id="32" creationId="{9A29FA08-D6F1-4C83-8BD8-FB503F5B123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2:38.646" v="10749" actId="22"/>
          <ac:spMkLst>
            <pc:docMk/>
            <pc:sldMk cId="1922339588" sldId="2134804339"/>
            <ac:spMk id="34" creationId="{BBD92782-FABA-40B1-BB07-2529D3228D4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2:38.646" v="10749" actId="22"/>
          <ac:spMkLst>
            <pc:docMk/>
            <pc:sldMk cId="1922339588" sldId="2134804339"/>
            <ac:spMk id="35" creationId="{DDF0291A-83D6-4EF7-8003-E489CE4A7F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6:29.947" v="10656" actId="20577"/>
          <ac:spMkLst>
            <pc:docMk/>
            <pc:sldMk cId="1922339588" sldId="2134804339"/>
            <ac:spMk id="36" creationId="{25CCB3F9-8A57-42B5-B0AC-56F5E0EDACF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6:05.791" v="10653" actId="478"/>
          <ac:spMkLst>
            <pc:docMk/>
            <pc:sldMk cId="1922339588" sldId="2134804339"/>
            <ac:spMk id="38" creationId="{3552541D-17C8-4822-9A1D-90A0C0B5AD8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6:42.298" v="10659" actId="20577"/>
          <ac:spMkLst>
            <pc:docMk/>
            <pc:sldMk cId="1922339588" sldId="2134804339"/>
            <ac:spMk id="41" creationId="{F04142FF-DA42-4442-8692-4F397E7AEFE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3:44.443" v="10787" actId="22"/>
          <ac:spMkLst>
            <pc:docMk/>
            <pc:sldMk cId="1922339588" sldId="2134804339"/>
            <ac:spMk id="42" creationId="{5C6DE543-8368-4B7C-B6AB-D11F36B2987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7:01.118" v="10671" actId="20577"/>
          <ac:spMkLst>
            <pc:docMk/>
            <pc:sldMk cId="1922339588" sldId="2134804339"/>
            <ac:spMk id="44" creationId="{4B1A9C8A-FFC0-483B-B825-ED5EF0C388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8:18.287" v="10684" actId="20577"/>
          <ac:spMkLst>
            <pc:docMk/>
            <pc:sldMk cId="1922339588" sldId="2134804339"/>
            <ac:spMk id="47" creationId="{137B0C4F-8471-4337-954D-6AECA53DF9C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5:38.180" v="10647" actId="478"/>
          <ac:spMkLst>
            <pc:docMk/>
            <pc:sldMk cId="1922339588" sldId="2134804339"/>
            <ac:spMk id="49" creationId="{428A637F-3262-4326-AF06-59FAD81C88B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00:00:44.435" v="10710" actId="478"/>
          <ac:spMkLst>
            <pc:docMk/>
            <pc:sldMk cId="1922339588" sldId="2134804339"/>
            <ac:spMk id="55" creationId="{BC0C9A28-E300-47A2-9068-752C5AD9631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7:12.327" v="10674" actId="478"/>
          <ac:spMkLst>
            <pc:docMk/>
            <pc:sldMk cId="1922339588" sldId="2134804339"/>
            <ac:spMk id="56" creationId="{C16E047E-B58C-48A8-8CD8-BB364156BA5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57:10.338" v="10673" actId="478"/>
          <ac:spMkLst>
            <pc:docMk/>
            <pc:sldMk cId="1922339588" sldId="2134804339"/>
            <ac:spMk id="57" creationId="{C756E3B5-B399-42BA-852F-3E3A8C5719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8:10.299" v="10683" actId="20577"/>
          <ac:spMkLst>
            <pc:docMk/>
            <pc:sldMk cId="1922339588" sldId="2134804339"/>
            <ac:spMk id="58" creationId="{87C0C219-147A-4233-AEBD-D8B263DF291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00:01:15.346" v="10720" actId="478"/>
          <ac:spMkLst>
            <pc:docMk/>
            <pc:sldMk cId="1922339588" sldId="2134804339"/>
            <ac:spMk id="59" creationId="{92D28049-3D26-4F44-A770-F5BB7E3C0D5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8:02.988" v="10681" actId="478"/>
          <ac:spMkLst>
            <pc:docMk/>
            <pc:sldMk cId="1922339588" sldId="2134804339"/>
            <ac:spMk id="60" creationId="{416DD046-D9EC-437D-B3C4-49AE6F9E8B1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8:19.881" v="10686" actId="20577"/>
          <ac:spMkLst>
            <pc:docMk/>
            <pc:sldMk cId="1922339588" sldId="2134804339"/>
            <ac:spMk id="61" creationId="{7C69D657-65A5-4E1B-8464-4A04E7AFC33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58:25.683" v="10687" actId="478"/>
          <ac:spMkLst>
            <pc:docMk/>
            <pc:sldMk cId="1922339588" sldId="2134804339"/>
            <ac:spMk id="84" creationId="{CD411578-B9DA-48C1-9675-B83281B38E1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58:25.683" v="10687" actId="478"/>
          <ac:spMkLst>
            <pc:docMk/>
            <pc:sldMk cId="1922339588" sldId="2134804339"/>
            <ac:spMk id="85" creationId="{3B83D539-5506-49C8-B434-B0636935C2E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9:15.247" v="10694" actId="20577"/>
          <ac:spMkLst>
            <pc:docMk/>
            <pc:sldMk cId="1922339588" sldId="2134804339"/>
            <ac:spMk id="88" creationId="{25320169-DFF2-4A5A-BA08-D78D5F6600A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8:56.137" v="10690" actId="478"/>
          <ac:spMkLst>
            <pc:docMk/>
            <pc:sldMk cId="1922339588" sldId="2134804339"/>
            <ac:spMk id="90" creationId="{0E28198E-89D7-4349-9D46-33D843ACBC2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3:59:56.591" v="10703" actId="20577"/>
          <ac:spMkLst>
            <pc:docMk/>
            <pc:sldMk cId="1922339588" sldId="2134804339"/>
            <ac:spMk id="93" creationId="{8BB92AF4-BAC7-400A-9FE5-29EE61E1489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9:09.917" v="10693" actId="478"/>
          <ac:spMkLst>
            <pc:docMk/>
            <pc:sldMk cId="1922339588" sldId="2134804339"/>
            <ac:spMk id="95" creationId="{A732B0EB-1993-47FB-BF91-1012D8D5B83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9:35.670" v="10698" actId="478"/>
          <ac:spMkLst>
            <pc:docMk/>
            <pc:sldMk cId="1922339588" sldId="2134804339"/>
            <ac:spMk id="99" creationId="{0DFF0EB6-13FB-4A14-BAA5-40502C26DE9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9:35.670" v="10698" actId="478"/>
          <ac:spMkLst>
            <pc:docMk/>
            <pc:sldMk cId="1922339588" sldId="2134804339"/>
            <ac:spMk id="100" creationId="{CB82F4AE-6131-4AC9-882E-ED11EE7B73CE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5:05:31.419" v="20033" actId="478"/>
          <ac:spMkLst>
            <pc:docMk/>
            <pc:sldMk cId="1922339588" sldId="2134804339"/>
            <ac:spMk id="103" creationId="{7343743D-CA35-4478-B169-D2B5E17DFF4C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5:05:31.419" v="20033" actId="478"/>
          <ac:spMkLst>
            <pc:docMk/>
            <pc:sldMk cId="1922339588" sldId="2134804339"/>
            <ac:spMk id="104" creationId="{3F3C693D-E21B-4B80-B7ED-F44D55754E96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7T00:05:34.928" v="10809" actId="164"/>
          <ac:spMkLst>
            <pc:docMk/>
            <pc:sldMk cId="1922339588" sldId="2134804339"/>
            <ac:spMk id="106" creationId="{E035A392-D2FE-42ED-A77E-F790E9068ADC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7T00:05:34.928" v="10809" actId="164"/>
          <ac:spMkLst>
            <pc:docMk/>
            <pc:sldMk cId="1922339588" sldId="2134804339"/>
            <ac:spMk id="107" creationId="{2E2D6748-9C7C-4727-AAF2-4ABB89A1052D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15:05:40.729" v="20035" actId="1076"/>
          <ac:spMkLst>
            <pc:docMk/>
            <pc:sldMk cId="1922339588" sldId="2134804339"/>
            <ac:spMk id="110" creationId="{EA8DE01B-9DBA-4FFD-8F33-5E3C211E0235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15:05:40.729" v="20035" actId="1076"/>
          <ac:spMkLst>
            <pc:docMk/>
            <pc:sldMk cId="1922339588" sldId="2134804339"/>
            <ac:spMk id="111" creationId="{0584C2A1-F208-4EF4-B35E-A13F567E7748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20:02:57.794" v="20080" actId="207"/>
          <ac:spMkLst>
            <pc:docMk/>
            <pc:sldMk cId="1922339588" sldId="2134804339"/>
            <ac:spMk id="113" creationId="{68C79E44-944B-4ED7-B5A1-6558BBCE4EC6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15:05:40.729" v="20035" actId="1076"/>
          <ac:spMkLst>
            <pc:docMk/>
            <pc:sldMk cId="1922339588" sldId="2134804339"/>
            <ac:spMk id="114" creationId="{80BC0FD4-937D-475D-ABCF-698168B2BE8D}"/>
          </ac:spMkLst>
        </pc:spChg>
        <pc:grpChg chg="add del mod">
          <ac:chgData name="Mariam Daniela Tristancho Pineda (MISION TEMPORAL LTDA)" userId="a45a17f7-7950-4cb5-bfab-f5c894f959a9" providerId="ADAL" clId="{9D150B60-33B5-4A3E-8123-A67E35AA8D44}" dt="2020-07-27T00:05:15.204" v="10806" actId="165"/>
          <ac:grpSpMkLst>
            <pc:docMk/>
            <pc:sldMk cId="1922339588" sldId="2134804339"/>
            <ac:grpSpMk id="39" creationId="{C339A8E5-F972-4A11-B152-B67E1DF43203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5:05:29.267" v="20032" actId="165"/>
          <ac:grpSpMkLst>
            <pc:docMk/>
            <pc:sldMk cId="1922339588" sldId="2134804339"/>
            <ac:grpSpMk id="50" creationId="{4253AEFC-C817-486B-9CB2-F7DEC038971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00:05:15.204" v="10806" actId="165"/>
          <ac:grpSpMkLst>
            <pc:docMk/>
            <pc:sldMk cId="1922339588" sldId="2134804339"/>
            <ac:grpSpMk id="102" creationId="{C13AE359-FABB-4DD6-8259-294C86F5E59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00:05:15.204" v="10806" actId="165"/>
          <ac:grpSpMkLst>
            <pc:docMk/>
            <pc:sldMk cId="1922339588" sldId="2134804339"/>
            <ac:grpSpMk id="105" creationId="{F350B119-7090-487A-B671-C11DC05E1CFE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00:05:15.204" v="10806" actId="165"/>
          <ac:grpSpMkLst>
            <pc:docMk/>
            <pc:sldMk cId="1922339588" sldId="2134804339"/>
            <ac:grpSpMk id="109" creationId="{D6FFA1EC-E066-4A3B-A4DE-F057E61C315C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00:05:15.204" v="10806" actId="165"/>
          <ac:grpSpMkLst>
            <pc:docMk/>
            <pc:sldMk cId="1922339588" sldId="2134804339"/>
            <ac:grpSpMk id="112" creationId="{425BE3BF-59D6-44A9-B858-8343D3D084E9}"/>
          </ac:grpSpMkLst>
        </pc:grpChg>
        <pc:graphicFrameChg chg="add mod modGraphic">
          <ac:chgData name="Mariam Daniela Tristancho Pineda (MISION TEMPORAL LTDA)" userId="a45a17f7-7950-4cb5-bfab-f5c894f959a9" providerId="ADAL" clId="{9D150B60-33B5-4A3E-8123-A67E35AA8D44}" dt="2020-07-28T20:02:53.647" v="20079" actId="207"/>
          <ac:graphicFrameMkLst>
            <pc:docMk/>
            <pc:sldMk cId="1922339588" sldId="2134804339"/>
            <ac:graphicFrameMk id="6" creationId="{55A3C4F2-9AF1-4081-BD13-26D94B00509A}"/>
          </ac:graphicFrameMkLst>
        </pc:graphicFrameChg>
        <pc:graphicFrameChg chg="del">
          <ac:chgData name="Mariam Daniela Tristancho Pineda (MISION TEMPORAL LTDA)" userId="a45a17f7-7950-4cb5-bfab-f5c894f959a9" providerId="ADAL" clId="{9D150B60-33B5-4A3E-8123-A67E35AA8D44}" dt="2020-07-26T23:45:47.080" v="10611" actId="478"/>
          <ac:graphicFrameMkLst>
            <pc:docMk/>
            <pc:sldMk cId="1922339588" sldId="2134804339"/>
            <ac:graphicFrameMk id="7" creationId="{C866CA4D-9ED5-4A67-9BF0-26C15AE2AA2C}"/>
          </ac:graphicFrameMkLst>
        </pc:graphicFrameChg>
        <pc:graphicFrameChg chg="add mod modGraphic">
          <ac:chgData name="Mariam Daniela Tristancho Pineda (MISION TEMPORAL LTDA)" userId="a45a17f7-7950-4cb5-bfab-f5c894f959a9" providerId="ADAL" clId="{9D150B60-33B5-4A3E-8123-A67E35AA8D44}" dt="2020-07-28T15:05:22.225" v="20028" actId="207"/>
          <ac:graphicFrameMkLst>
            <pc:docMk/>
            <pc:sldMk cId="1922339588" sldId="2134804339"/>
            <ac:graphicFrameMk id="9" creationId="{6080D7D3-5082-435E-BDF1-D2115CE124C8}"/>
          </ac:graphicFrameMkLst>
        </pc:graphicFrameChg>
        <pc:graphicFrameChg chg="add del mod modGraphic">
          <ac:chgData name="Mariam Daniela Tristancho Pineda (MISION TEMPORAL LTDA)" userId="a45a17f7-7950-4cb5-bfab-f5c894f959a9" providerId="ADAL" clId="{9D150B60-33B5-4A3E-8123-A67E35AA8D44}" dt="2020-07-27T00:04:17.665" v="10798" actId="478"/>
          <ac:graphicFrameMkLst>
            <pc:docMk/>
            <pc:sldMk cId="1922339588" sldId="2134804339"/>
            <ac:graphicFrameMk id="30" creationId="{F3A8294B-FA47-494D-80B3-A76E8D340B2E}"/>
          </ac:graphicFrameMkLst>
        </pc:graphicFrameChg>
        <pc:graphicFrameChg chg="del">
          <ac:chgData name="Mariam Daniela Tristancho Pineda (MISION TEMPORAL LTDA)" userId="a45a17f7-7950-4cb5-bfab-f5c894f959a9" providerId="ADAL" clId="{9D150B60-33B5-4A3E-8123-A67E35AA8D44}" dt="2020-07-26T23:46:12.975" v="10626" actId="478"/>
          <ac:graphicFrameMkLst>
            <pc:docMk/>
            <pc:sldMk cId="1922339588" sldId="2134804339"/>
            <ac:graphicFrameMk id="46" creationId="{0D626CD9-F4FF-45E4-88CE-52500C2C1600}"/>
          </ac:graphicFrameMkLst>
        </pc:graphicFrame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3318311001" sldId="2134804340"/>
        </pc:sldMkLst>
        <pc:spChg chg="mod">
          <ac:chgData name="Mariam Daniela Tristancho Pineda (MISION TEMPORAL LTDA)" userId="a45a17f7-7950-4cb5-bfab-f5c894f959a9" providerId="ADAL" clId="{9D150B60-33B5-4A3E-8123-A67E35AA8D44}" dt="2020-07-27T20:10:10.373" v="12788" actId="1038"/>
          <ac:spMkLst>
            <pc:docMk/>
            <pc:sldMk cId="3318311001" sldId="2134804340"/>
            <ac:spMk id="3" creationId="{815B10B7-60B3-4C63-8431-70CC556387C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6" creationId="{4BD45A74-756A-4BD2-A61F-C4804F955B3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7" creationId="{5BB1043D-9A90-43C6-BCE8-E8686C0B75E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9" creationId="{C4008514-F4D9-48F0-9D49-2B5F1B4FAB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10:20.720" v="12789" actId="12788"/>
          <ac:spMkLst>
            <pc:docMk/>
            <pc:sldMk cId="3318311001" sldId="2134804340"/>
            <ac:spMk id="11" creationId="{772CA61D-742C-45F0-BAFA-0F3B90176E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10:30.119" v="12793" actId="1038"/>
          <ac:spMkLst>
            <pc:docMk/>
            <pc:sldMk cId="3318311001" sldId="2134804340"/>
            <ac:spMk id="12" creationId="{7F3CEC4C-7588-4B74-823D-9CF22E2DAD7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05:16.050" v="12755" actId="478"/>
          <ac:spMkLst>
            <pc:docMk/>
            <pc:sldMk cId="3318311001" sldId="2134804340"/>
            <ac:spMk id="14" creationId="{46F7B6A0-E0D5-4D7B-9309-36A54842950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10.248" v="12618" actId="478"/>
          <ac:spMkLst>
            <pc:docMk/>
            <pc:sldMk cId="3318311001" sldId="2134804340"/>
            <ac:spMk id="15" creationId="{62B74417-9DDC-43EE-A726-A2B51719A76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10.248" v="12618" actId="478"/>
          <ac:spMkLst>
            <pc:docMk/>
            <pc:sldMk cId="3318311001" sldId="2134804340"/>
            <ac:spMk id="16" creationId="{BBFAD0BD-54FF-43F3-B1BD-AD87C3FE718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17" creationId="{86A1E7C4-4E11-4F2F-8053-7E78A6509E45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10.248" v="12618" actId="478"/>
          <ac:spMkLst>
            <pc:docMk/>
            <pc:sldMk cId="3318311001" sldId="2134804340"/>
            <ac:spMk id="18" creationId="{2CBADE6D-1357-4956-98FE-882CB8F1AE15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10.248" v="12618" actId="478"/>
          <ac:spMkLst>
            <pc:docMk/>
            <pc:sldMk cId="3318311001" sldId="2134804340"/>
            <ac:spMk id="20" creationId="{5B6FAFEF-D75A-41DE-AC4B-45789181D62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21" creationId="{6DF582FE-4ED3-41AC-A715-CB130A94E54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04.988" v="12787" actId="12788"/>
          <ac:spMkLst>
            <pc:docMk/>
            <pc:sldMk cId="3318311001" sldId="2134804340"/>
            <ac:spMk id="22" creationId="{53E538FE-3283-40FB-A5F0-3E57246B6EF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3:04.325" v="12665" actId="478"/>
          <ac:spMkLst>
            <pc:docMk/>
            <pc:sldMk cId="3318311001" sldId="2134804340"/>
            <ac:spMk id="23" creationId="{A396F205-286C-47F5-B29D-C5952F03BF6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6:28.228" v="12768" actId="20577"/>
          <ac:spMkLst>
            <pc:docMk/>
            <pc:sldMk cId="3318311001" sldId="2134804340"/>
            <ac:spMk id="27" creationId="{910DCB24-1C9B-45BE-9592-B8EC86E558A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20.720" v="12789" actId="12788"/>
          <ac:spMkLst>
            <pc:docMk/>
            <pc:sldMk cId="3318311001" sldId="2134804340"/>
            <ac:spMk id="29" creationId="{46F67329-EAA2-4B09-AD5B-91FE70391A8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09:50.735" v="12783" actId="1038"/>
          <ac:spMkLst>
            <pc:docMk/>
            <pc:sldMk cId="3318311001" sldId="2134804340"/>
            <ac:spMk id="30" creationId="{5BF08848-45AE-451C-A99D-7322CF7967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4:02.764" v="12681" actId="20577"/>
          <ac:spMkLst>
            <pc:docMk/>
            <pc:sldMk cId="3318311001" sldId="2134804340"/>
            <ac:spMk id="32" creationId="{112CF6BB-B57E-4E30-BDB8-A663AA382E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6:31.411" v="12772" actId="20577"/>
          <ac:spMkLst>
            <pc:docMk/>
            <pc:sldMk cId="3318311001" sldId="2134804340"/>
            <ac:spMk id="33" creationId="{99A98136-5ADE-4ACF-97B1-9869591C874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09:50.735" v="12783" actId="1038"/>
          <ac:spMkLst>
            <pc:docMk/>
            <pc:sldMk cId="3318311001" sldId="2134804340"/>
            <ac:spMk id="34" creationId="{2858742F-5FD0-4B7E-9334-0D1DB2CF525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09:50.735" v="12783" actId="1038"/>
          <ac:spMkLst>
            <pc:docMk/>
            <pc:sldMk cId="3318311001" sldId="2134804340"/>
            <ac:spMk id="35" creationId="{5F2982C9-1317-4114-BC67-9EA6763899B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20.720" v="12789" actId="12788"/>
          <ac:spMkLst>
            <pc:docMk/>
            <pc:sldMk cId="3318311001" sldId="2134804340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1:44.960" v="12624" actId="20577"/>
          <ac:spMkLst>
            <pc:docMk/>
            <pc:sldMk cId="3318311001" sldId="2134804340"/>
            <ac:spMk id="38" creationId="{A70D06D3-12BC-4CDA-B9D7-EEF1588242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6:21.840" v="12764" actId="20577"/>
          <ac:spMkLst>
            <pc:docMk/>
            <pc:sldMk cId="3318311001" sldId="2134804340"/>
            <ac:spMk id="39" creationId="{5FAD9D39-0163-48A2-AB90-B7B2E4C2CCC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03:20.569" v="12669" actId="20577"/>
          <ac:spMkLst>
            <pc:docMk/>
            <pc:sldMk cId="3318311001" sldId="2134804340"/>
            <ac:spMk id="40" creationId="{F9005A44-E530-4972-BBE0-B3ED015A6ED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05:36.282" v="12756" actId="478"/>
          <ac:spMkLst>
            <pc:docMk/>
            <pc:sldMk cId="3318311001" sldId="2134804340"/>
            <ac:spMk id="41" creationId="{A78DBF38-C91D-4B90-AC5D-AF06B58F1AF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04.988" v="12787" actId="12788"/>
          <ac:spMkLst>
            <pc:docMk/>
            <pc:sldMk cId="3318311001" sldId="2134804340"/>
            <ac:spMk id="42" creationId="{4101169F-B3FD-425D-90F0-D9CCBE1BF3D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09:54.106" v="12786" actId="1038"/>
          <ac:spMkLst>
            <pc:docMk/>
            <pc:sldMk cId="3318311001" sldId="2134804340"/>
            <ac:spMk id="43" creationId="{34452114-CA9E-44D1-9755-DF275F1BF2A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03:48.280" v="12676" actId="478"/>
          <ac:spMkLst>
            <pc:docMk/>
            <pc:sldMk cId="3318311001" sldId="2134804340"/>
            <ac:spMk id="44" creationId="{9A5286B1-F473-494E-8D94-14D56BF8B9D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04.988" v="12787" actId="12788"/>
          <ac:spMkLst>
            <pc:docMk/>
            <pc:sldMk cId="3318311001" sldId="2134804340"/>
            <ac:spMk id="50" creationId="{EFEDA77C-7665-4725-A074-A36D4F4400A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20.720" v="12789" actId="12788"/>
          <ac:spMkLst>
            <pc:docMk/>
            <pc:sldMk cId="3318311001" sldId="2134804340"/>
            <ac:spMk id="54" creationId="{2A6509E3-0893-4B3A-9781-02B5F593807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4:38.003" v="12734" actId="1076"/>
          <ac:spMkLst>
            <pc:docMk/>
            <pc:sldMk cId="3318311001" sldId="2134804340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5:09.841" v="12752" actId="20577"/>
          <ac:spMkLst>
            <pc:docMk/>
            <pc:sldMk cId="3318311001" sldId="2134804340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10:04.988" v="12787" actId="12788"/>
          <ac:spMkLst>
            <pc:docMk/>
            <pc:sldMk cId="3318311001" sldId="2134804340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4:38.003" v="12734" actId="1076"/>
          <ac:spMkLst>
            <pc:docMk/>
            <pc:sldMk cId="3318311001" sldId="2134804340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4:38.003" v="12734" actId="1076"/>
          <ac:spMkLst>
            <pc:docMk/>
            <pc:sldMk cId="3318311001" sldId="2134804340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4:38.003" v="12734" actId="1076"/>
          <ac:spMkLst>
            <pc:docMk/>
            <pc:sldMk cId="3318311001" sldId="2134804340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5:12.437" v="12754" actId="20577"/>
          <ac:spMkLst>
            <pc:docMk/>
            <pc:sldMk cId="3318311001" sldId="2134804340"/>
            <ac:spMk id="135" creationId="{C1823568-A421-4254-9106-BAEB76F16B7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147" creationId="{28985963-B271-4E6A-83C5-F3A62A87E6BA}"/>
          </ac:spMkLst>
        </pc:spChg>
        <pc:grpChg chg="del mod">
          <ac:chgData name="Mariam Daniela Tristancho Pineda (MISION TEMPORAL LTDA)" userId="a45a17f7-7950-4cb5-bfab-f5c894f959a9" providerId="ADAL" clId="{9D150B60-33B5-4A3E-8123-A67E35AA8D44}" dt="2020-07-27T20:04:21.482" v="12733" actId="478"/>
          <ac:grpSpMkLst>
            <pc:docMk/>
            <pc:sldMk cId="3318311001" sldId="2134804340"/>
            <ac:grpSpMk id="19" creationId="{61C64EE8-FBB3-47C1-B4B0-BE60C5801CC2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0:03:04.325" v="12665" actId="478"/>
          <ac:grpSpMkLst>
            <pc:docMk/>
            <pc:sldMk cId="3318311001" sldId="2134804340"/>
            <ac:grpSpMk id="25" creationId="{7BD04A0F-6044-44FB-A15C-87C578771698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20:05:02.633" v="12748" actId="1037"/>
          <ac:grpSpMkLst>
            <pc:docMk/>
            <pc:sldMk cId="3318311001" sldId="2134804340"/>
            <ac:grpSpMk id="26" creationId="{5B1CDA9C-37CE-441A-94E7-5A5F38503613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20:04:59.745" v="12742" actId="1076"/>
          <ac:grpSpMkLst>
            <pc:docMk/>
            <pc:sldMk cId="3318311001" sldId="2134804340"/>
            <ac:grpSpMk id="31" creationId="{A0B07E6C-42EA-42D4-BF18-74CF8467911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20:04:50.713" v="12737" actId="1076"/>
          <ac:grpSpMkLst>
            <pc:docMk/>
            <pc:sldMk cId="3318311001" sldId="2134804340"/>
            <ac:grpSpMk id="37" creationId="{33A4F641-6F0E-462A-898E-0641B151AA65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0:03:57.527" v="12678" actId="478"/>
          <ac:grpSpMkLst>
            <pc:docMk/>
            <pc:sldMk cId="3318311001" sldId="2134804340"/>
            <ac:grpSpMk id="46" creationId="{650AB62D-A12A-45DF-8E31-BF8EC5C56E7C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2532921639" sldId="2134804341"/>
        </pc:sldMkLst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2" creationId="{3A93B487-116E-4767-AA0D-CAE2A460FBE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3" creationId="{815B10B7-60B3-4C63-8431-70CC556387C9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6" creationId="{26EF451C-53F1-4D38-8304-40A934E147B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7" creationId="{6EA46AB2-D46D-465D-9B99-C8FCD330B56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28:46.167" v="12880" actId="478"/>
          <ac:spMkLst>
            <pc:docMk/>
            <pc:sldMk cId="2532921639" sldId="2134804341"/>
            <ac:spMk id="8" creationId="{5FB9331D-96FC-499D-801D-C87DB7CC4AC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9" creationId="{0D2D0AC5-B7D8-497B-ABD3-7AE73B6363F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" creationId="{8CBE0999-A3DB-4ABC-B7A0-9F684B332B8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1" creationId="{772CA61D-742C-45F0-BAFA-0F3B90176E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18:36.563" v="14627" actId="555"/>
          <ac:spMkLst>
            <pc:docMk/>
            <pc:sldMk cId="2532921639" sldId="2134804341"/>
            <ac:spMk id="12" creationId="{7F3CEC4C-7588-4B74-823D-9CF22E2DAD7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3:18:36.563" v="14627" actId="555"/>
          <ac:spMkLst>
            <pc:docMk/>
            <pc:sldMk cId="2532921639" sldId="2134804341"/>
            <ac:spMk id="13" creationId="{78F97E90-AFC7-4D4D-A94D-7BA5464F668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4" creationId="{76F42040-B3A4-4E28-A977-80873F0B5FC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15" creationId="{F5F6020F-918E-4261-B79A-8D7C5966BB0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16" creationId="{ECDAB3D1-5BE4-45F7-BE33-9D8F6035295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17" creationId="{27EF5D95-3B07-44E6-B011-1AC68AA3644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0:43.104" v="12934" actId="478"/>
          <ac:spMkLst>
            <pc:docMk/>
            <pc:sldMk cId="2532921639" sldId="2134804341"/>
            <ac:spMk id="18" creationId="{D632FF64-4036-4F92-8056-5F36B5BC03A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19" creationId="{F04331EA-3C34-4632-A33B-964C955FEA5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1:13.259" v="12960" actId="478"/>
          <ac:spMkLst>
            <pc:docMk/>
            <pc:sldMk cId="2532921639" sldId="2134804341"/>
            <ac:spMk id="20" creationId="{1C53D5F6-4ABB-4F3E-825F-B266B8B51A6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21" creationId="{D56367BF-110C-466E-A427-18C278C7827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22" creationId="{53E538FE-3283-40FB-A5F0-3E57246B6EF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23" creationId="{53BFD633-DD81-4820-8BB0-84F3F711C50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6:00.424" v="14562" actId="21"/>
          <ac:spMkLst>
            <pc:docMk/>
            <pc:sldMk cId="2532921639" sldId="2134804341"/>
            <ac:spMk id="24" creationId="{8AE85010-BBC8-4351-9047-F1273B2C910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6:00.424" v="14562" actId="21"/>
          <ac:spMkLst>
            <pc:docMk/>
            <pc:sldMk cId="2532921639" sldId="2134804341"/>
            <ac:spMk id="25" creationId="{CA51816E-29C0-4D54-B006-5CE224FEF0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27" creationId="{910DCB24-1C9B-45BE-9592-B8EC86E558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28" creationId="{4A0F0E28-A961-4260-8BB9-16809CE2E1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29" creationId="{46F67329-EAA2-4B09-AD5B-91FE70391A8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30" creationId="{5BF08848-45AE-451C-A99D-7322CF7967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32" creationId="{112CF6BB-B57E-4E30-BDB8-A663AA382E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33" creationId="{99A98136-5ADE-4ACF-97B1-9869591C874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34" creationId="{2858742F-5FD0-4B7E-9334-0D1DB2CF52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35" creationId="{5F2982C9-1317-4114-BC67-9EA6763899B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38" creationId="{A70D06D3-12BC-4CDA-B9D7-EEF1588242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39" creationId="{5FAD9D39-0163-48A2-AB90-B7B2E4C2CCC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40" creationId="{F9005A44-E530-4972-BBE0-B3ED015A6ED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42" creationId="{4101169F-B3FD-425D-90F0-D9CCBE1BF3D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43" creationId="{34452114-CA9E-44D1-9755-DF275F1BF2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47" creationId="{EFA49506-2534-42A7-80DC-155A5CF0A7F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48" creationId="{8C75352D-0E5E-4A6A-AD3B-F1CC559DB11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50" creationId="{EFEDA77C-7665-4725-A074-A36D4F4400A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54" creationId="{2A6509E3-0893-4B3A-9781-02B5F593807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55" creationId="{890E6358-E7F1-4BAE-B3A3-26D27855B4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56" creationId="{30228C31-EF71-4412-B19C-CEFAE9DC60E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6:00.424" v="14562" actId="21"/>
          <ac:spMkLst>
            <pc:docMk/>
            <pc:sldMk cId="2532921639" sldId="2134804341"/>
            <ac:spMk id="62" creationId="{D4C31640-C516-427C-9994-CF2652513527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7T20:33:54.907" v="13010" actId="22"/>
          <ac:spMkLst>
            <pc:docMk/>
            <pc:sldMk cId="2532921639" sldId="2134804341"/>
            <ac:spMk id="64" creationId="{124D97CA-CF53-4891-8B62-0D03E5DDD9C9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7T20:33:54.907" v="13010" actId="22"/>
          <ac:spMkLst>
            <pc:docMk/>
            <pc:sldMk cId="2532921639" sldId="2134804341"/>
            <ac:spMk id="66" creationId="{677025CA-7D87-4395-BCC0-45E9CBF23125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7T20:33:54.907" v="13010" actId="22"/>
          <ac:spMkLst>
            <pc:docMk/>
            <pc:sldMk cId="2532921639" sldId="2134804341"/>
            <ac:spMk id="68" creationId="{CB97E6B5-0196-4E7A-B830-663F8098DD7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70" creationId="{4C2BB393-8F3A-4793-B4F9-99B289273F7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3:18:55.006" v="14632" actId="1037"/>
          <ac:spMkLst>
            <pc:docMk/>
            <pc:sldMk cId="2532921639" sldId="2134804341"/>
            <ac:spMk id="72" creationId="{12DFD4E0-B30F-4AA4-92EC-1B5D501F7F2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4:12.320" v="13016" actId="478"/>
          <ac:spMkLst>
            <pc:docMk/>
            <pc:sldMk cId="2532921639" sldId="2134804341"/>
            <ac:spMk id="74" creationId="{50CFBD4F-CCCE-4D79-97F2-84770BFB67A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76" creationId="{40DFE32F-CAB8-49D6-A7AD-D6BF8E59BE9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4:27.888" v="13022" actId="478"/>
          <ac:spMkLst>
            <pc:docMk/>
            <pc:sldMk cId="2532921639" sldId="2134804341"/>
            <ac:spMk id="78" creationId="{8DA08CC0-B480-433D-9578-4E4C13971FD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4:27.118" v="13021" actId="478"/>
          <ac:spMkLst>
            <pc:docMk/>
            <pc:sldMk cId="2532921639" sldId="2134804341"/>
            <ac:spMk id="80" creationId="{DE49B1F3-B281-4B1D-B788-E8D77EE8ECB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4:27.118" v="13021" actId="478"/>
          <ac:spMkLst>
            <pc:docMk/>
            <pc:sldMk cId="2532921639" sldId="2134804341"/>
            <ac:spMk id="82" creationId="{83BAD01D-1679-43DD-A37A-0F25CD6CCC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56.913" v="15790" actId="14100"/>
          <ac:spMkLst>
            <pc:docMk/>
            <pc:sldMk cId="2532921639" sldId="2134804341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7:16.123" v="15858" actId="20577"/>
          <ac:spMkLst>
            <pc:docMk/>
            <pc:sldMk cId="2532921639" sldId="2134804341"/>
            <ac:spMk id="86" creationId="{7696A978-4362-4DE3-8C58-0F58608C4AA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88" creationId="{5287C6BB-7462-47AA-82FC-0995E12885D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90" creationId="{9CA5C34E-F534-4DBB-8CB2-C4A73E40BE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92" creationId="{3C2594EF-C944-4301-B969-227960A0B17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94" creationId="{A3043AD2-8100-4019-8A49-7AA41719F6D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96" creationId="{E8463BFA-5949-4D95-9B51-6F1E89D0DF7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97" creationId="{99300021-C267-43BD-A0F5-B3ECE622345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0" creationId="{E8484252-6E98-4F7D-9394-AD684F126CB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2" creationId="{7812F223-75D3-476A-89FF-B22C9D312EA6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4" creationId="{1B6EB9B8-45E2-4F88-8131-9C401AEBBBC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6" creationId="{FCC08065-7019-4222-B77B-FB007CEA442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8" creationId="{6F2232EE-FB4E-4DD9-AD82-A570467F39D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10" creationId="{7D09FF47-4E46-4C38-80B0-B607480382E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9:43.884" v="13083" actId="478"/>
          <ac:spMkLst>
            <pc:docMk/>
            <pc:sldMk cId="2532921639" sldId="2134804341"/>
            <ac:spMk id="112" creationId="{26C25DCB-764A-48F3-8E73-EFA1CC2BEE0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9:40.937" v="13081" actId="478"/>
          <ac:spMkLst>
            <pc:docMk/>
            <pc:sldMk cId="2532921639" sldId="2134804341"/>
            <ac:spMk id="114" creationId="{9361D2F0-715C-4819-A8BD-5183B20E480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9:39.899" v="13080" actId="478"/>
          <ac:spMkLst>
            <pc:docMk/>
            <pc:sldMk cId="2532921639" sldId="2134804341"/>
            <ac:spMk id="116" creationId="{AA6CCFD1-52BA-43ED-896C-CC813F98A8C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19" creationId="{A66DDFF6-8990-4632-9B16-3852035C81B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9:38.863" v="13079" actId="478"/>
          <ac:spMkLst>
            <pc:docMk/>
            <pc:sldMk cId="2532921639" sldId="2134804341"/>
            <ac:spMk id="124" creationId="{9FF97DDE-A3DC-4806-A059-5B313825172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26" creationId="{AD4ED8B4-B12A-4144-927B-9A51E646655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9:38.089" v="13078" actId="478"/>
          <ac:spMkLst>
            <pc:docMk/>
            <pc:sldMk cId="2532921639" sldId="2134804341"/>
            <ac:spMk id="128" creationId="{E12D10F7-1612-4EC9-8D79-C891EF898A6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30" creationId="{4B371648-981F-4F04-B54B-17ED9277E5E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32" creationId="{F2FA82D5-94D3-4AB3-A3CE-1F9A90BA11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34" creationId="{F84823E7-913E-47FA-86F5-4B4BDFBA1E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0:05.436" v="16272" actId="20577"/>
          <ac:spMkLst>
            <pc:docMk/>
            <pc:sldMk cId="2532921639" sldId="2134804341"/>
            <ac:spMk id="135" creationId="{C1823568-A421-4254-9106-BAEB76F16B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38" creationId="{3C5F2085-6F06-447D-B929-A77300FE887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40" creationId="{A0784CC9-2A17-4126-B3F2-462D49C105F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42" creationId="{D39CDA84-7131-4DBC-87CE-38CEAA79AB4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44" creationId="{90BA0115-64E2-4DF6-B718-035B37850FB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46" creationId="{B3BB3076-1D21-43F9-8C2F-1244A032F03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3:18:56.712" v="14635" actId="1037"/>
          <ac:spMkLst>
            <pc:docMk/>
            <pc:sldMk cId="2532921639" sldId="2134804341"/>
            <ac:spMk id="148" creationId="{133CBE66-89BD-47D1-AF66-2E6A36C8D66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0:56.961" v="13391" actId="478"/>
          <ac:spMkLst>
            <pc:docMk/>
            <pc:sldMk cId="2532921639" sldId="2134804341"/>
            <ac:spMk id="150" creationId="{94CBA4D6-CF57-4E5E-A414-C478F61CB2D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52" creationId="{BABCCD2D-BE76-4FC2-ADA5-9D144AA6B4B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54" creationId="{023A45C0-4000-48FB-9E82-3BD6579F07E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56" creationId="{4B1B618B-F4A7-453D-8DBC-1B58A68C9F8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1:33.166" v="13415" actId="478"/>
          <ac:spMkLst>
            <pc:docMk/>
            <pc:sldMk cId="2532921639" sldId="2134804341"/>
            <ac:spMk id="158" creationId="{A7AFB825-5B21-4ED5-8D0C-025EDD21FFA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60" creationId="{DBE1EC54-D4BD-4052-902D-3C8C6BEB841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62" creationId="{F90D48DD-6D46-46CC-B160-D915402FD8F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64" creationId="{515E4648-9B8D-462B-BC7B-13914451D0CB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26" creationId="{5B1CDA9C-37CE-441A-94E7-5A5F38503613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31" creationId="{A0B07E6C-42EA-42D4-BF18-74CF8467911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37" creationId="{33A4F641-6F0E-462A-898E-0641B151AA6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46" creationId="{4DCAF9D3-E260-43CE-8958-9F0BA7AFCD3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53" creationId="{3873BDF9-02E9-44FD-9510-89955A3B3E89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165" creationId="{3E88F80D-5F8F-4B0A-A23A-B734C2EE0391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20:49:57.749" v="20086" actId="14100"/>
        <pc:sldMkLst>
          <pc:docMk/>
          <pc:sldMk cId="2183210988" sldId="2134804342"/>
        </pc:sldMkLst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" creationId="{3A93B487-116E-4767-AA0D-CAE2A460FBE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3" creationId="{DDD289A7-0369-45FE-98EE-B73187DDD6B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6" creationId="{26EF451C-53F1-4D38-8304-40A934E147B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7" creationId="{6EA46AB2-D46D-465D-9B99-C8FCD330B56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8" creationId="{0C366AD2-426E-4B9E-9347-2E20FFA2E6E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9" creationId="{0D2D0AC5-B7D8-497B-ABD3-7AE73B6363F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" creationId="{8CBE0999-A3DB-4ABC-B7A0-9F684B332B8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1" creationId="{772CA61D-742C-45F0-BAFA-0F3B90176E9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2" creationId="{7F3CEC4C-7588-4B74-823D-9CF22E2DAD7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20.826" v="13499" actId="478"/>
          <ac:spMkLst>
            <pc:docMk/>
            <pc:sldMk cId="2183210988" sldId="2134804342"/>
            <ac:spMk id="13" creationId="{78F97E90-AFC7-4D4D-A94D-7BA5464F668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4" creationId="{76F42040-B3A4-4E28-A977-80873F0B5FC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15" creationId="{F5F6020F-918E-4261-B79A-8D7C5966BB0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16" creationId="{ECDAB3D1-5BE4-45F7-BE33-9D8F603529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17" creationId="{27EF5D95-3B07-44E6-B011-1AC68AA3644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18" creationId="{76E6C307-14D6-4CAF-BA46-BDFBBCCF6F2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19" creationId="{F04331EA-3C34-4632-A33B-964C955FEA5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0" creationId="{61B4F436-B882-46F2-9213-21298E84A78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1" creationId="{D56367BF-110C-466E-A427-18C278C782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3" creationId="{53BFD633-DD81-4820-8BB0-84F3F711C50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24" creationId="{8AE85010-BBC8-4351-9047-F1273B2C910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20.826" v="13499" actId="478"/>
          <ac:spMkLst>
            <pc:docMk/>
            <pc:sldMk cId="2183210988" sldId="2134804342"/>
            <ac:spMk id="25" creationId="{CA51816E-29C0-4D54-B006-5CE224FEF0A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29" creationId="{46F67329-EAA2-4B09-AD5B-91FE70391A8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30" creationId="{5F7E5016-DD23-4661-804E-B6C4BAE33B3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03:21.507" v="13627" actId="478"/>
          <ac:spMkLst>
            <pc:docMk/>
            <pc:sldMk cId="2183210988" sldId="2134804342"/>
            <ac:spMk id="34" creationId="{EF168348-7E95-4214-9C03-6FCB9252402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35" creationId="{DFED8390-B0BE-47C4-A314-7B9F72D0F9E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36" creationId="{EDA60A94-0872-407F-85FC-F3F9C3EF25A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1:04:24.172" v="13667" actId="164"/>
          <ac:spMkLst>
            <pc:docMk/>
            <pc:sldMk cId="2183210988" sldId="2134804342"/>
            <ac:spMk id="40" creationId="{8B83E5A3-CD14-471E-A2A2-69C27A08DE8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1:04:24.172" v="13667" actId="164"/>
          <ac:spMkLst>
            <pc:docMk/>
            <pc:sldMk cId="2183210988" sldId="2134804342"/>
            <ac:spMk id="41" creationId="{064F22B7-719F-4DB7-AE4F-0C24E6C6F36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1:05:46.279" v="13746" actId="164"/>
          <ac:spMkLst>
            <pc:docMk/>
            <pc:sldMk cId="2183210988" sldId="2134804342"/>
            <ac:spMk id="43" creationId="{CF8D54CC-0788-462E-8D02-8E7F902A9C3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1:05:46.279" v="13746" actId="164"/>
          <ac:spMkLst>
            <pc:docMk/>
            <pc:sldMk cId="2183210988" sldId="2134804342"/>
            <ac:spMk id="44" creationId="{46E9D7FD-BF26-46B8-B7E3-9CB37E4D07A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49" creationId="{5A708229-9B28-490D-903F-5AB937B8DCC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08:11.684" v="13802" actId="478"/>
          <ac:spMkLst>
            <pc:docMk/>
            <pc:sldMk cId="2183210988" sldId="2134804342"/>
            <ac:spMk id="50" creationId="{8D84AFFC-F3A3-499D-B0B9-B273E5D6309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51" creationId="{350F2DB1-0F66-4C61-809B-C437241509A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52" creationId="{4407EECE-98B4-40AB-96BB-77D7A61DA8B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54" creationId="{1DF61A54-2AFD-421C-81E7-70B64E75F3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55" creationId="{890E6358-E7F1-4BAE-B3A3-26D27855B4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56" creationId="{30228C31-EF71-4412-B19C-CEFAE9DC60E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57" creationId="{E424978D-3298-4D61-9C24-342DF5218E9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8.655" v="14555" actId="478"/>
          <ac:spMkLst>
            <pc:docMk/>
            <pc:sldMk cId="2183210988" sldId="2134804342"/>
            <ac:spMk id="58" creationId="{51D97962-D1FD-45CE-94F7-68488BED606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59" creationId="{CA0293E5-6CDE-4F7F-B7BB-01753F923E2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0" creationId="{AAE09F5F-0A44-413D-B46E-3708871A0C9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1" creationId="{FDAFCC60-7C16-48C3-839A-2546E8A9832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62" creationId="{D4C31640-C516-427C-9994-CF265251352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3" creationId="{183A3FB7-4D5F-4E25-954E-1CB39C43D36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4" creationId="{3B1A5D6F-8203-4E15-B30A-BAAAAB00FBD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5" creationId="{D3761158-1427-4892-A593-EFA9206EAC4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6" creationId="{66C4A00A-4D64-4945-9A1E-1FBEC3B1F06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7" creationId="{3E63B4EF-B0E9-4C7F-817D-51259CFEBAB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8" creationId="{EC4A468B-7CE8-45B5-96D6-08A54CE27F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69" creationId="{19A1630B-DA92-4FE5-8C69-AFF7139B1FF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70" creationId="{4C2BB393-8F3A-4793-B4F9-99B289273F7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71" creationId="{1781D2B9-25A1-4883-B3CF-CA0BB0C946D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72" creationId="{12DFD4E0-B30F-4AA4-92EC-1B5D501F7F2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73" creationId="{B6699A73-EDB1-419B-ADD3-D71E0B177E0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74" creationId="{02238FA8-CD97-4ED0-9834-B628DBE001F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75" creationId="{2661451E-D5D5-4E61-ACCE-D44BDCEFB3E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76" creationId="{40DFE32F-CAB8-49D6-A7AD-D6BF8E59BE9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77" creationId="{19024DAF-FA7E-4978-AEF2-0968B2C95CE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78" creationId="{3FE00C0D-6CDF-4D38-B47C-3FF5FFF1F14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79" creationId="{760F56BD-3709-40D0-B01B-5BB74DB2FB5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80" creationId="{69A65156-BB61-4872-83C3-69BE7DB7007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81" creationId="{9C01BBC6-8784-4E73-A8BF-AE202025C6D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82" creationId="{C5375D55-EE07-45CA-A50E-922019878A1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83" creationId="{28DFA064-9E64-4423-B3C5-2A14F07D8D5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3:29:16.056" v="14943" actId="478"/>
          <ac:spMkLst>
            <pc:docMk/>
            <pc:sldMk cId="2183210988" sldId="2134804342"/>
            <ac:spMk id="84" creationId="{293DBAF3-3942-4C58-8A63-D4484E215E2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85" creationId="{D55F3B9B-90DA-4430-B2D2-60FEE58B1A4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spMkLst>
            <pc:docMk/>
            <pc:sldMk cId="2183210988" sldId="2134804342"/>
            <ac:spMk id="86" creationId="{7696A978-4362-4DE3-8C58-0F58608C4AA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87" creationId="{F991C183-F691-42BB-986A-1D4B3D0103E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88" creationId="{5287C6BB-7462-47AA-82FC-0995E12885D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89" creationId="{863FBAA7-046B-47C0-BF15-F3AF9C5E47C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90" creationId="{9CA5C34E-F534-4DBB-8CB2-C4A73E40BE1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91" creationId="{18F9C7D0-B217-4434-8D0C-695D97120E3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92" creationId="{3C2594EF-C944-4301-B969-227960A0B17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94" creationId="{A3043AD2-8100-4019-8A49-7AA41719F6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95" creationId="{4980B306-C530-4DD5-ACDA-B44321B05D0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96" creationId="{E8463BFA-5949-4D95-9B51-6F1E89D0DF7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97" creationId="{0E88A52B-735B-4D02-8ED9-C732F92E6AD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98" creationId="{D7FEAE21-9F37-4A63-909A-1A7AC2BC041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99" creationId="{5A048E18-AAF9-4A29-87AE-AC781BA8E43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0" creationId="{E8484252-6E98-4F7D-9394-AD684F126CB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01" creationId="{79B59DCD-FE2A-4CB0-A0BF-16552D365CC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2" creationId="{7812F223-75D3-476A-89FF-B22C9D312EA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03" creationId="{7CBC9122-A10B-4758-8489-B0DA7189600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4" creationId="{1B6EB9B8-45E2-4F88-8131-9C401AEBBBC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07:16.321" v="13772" actId="478"/>
          <ac:spMkLst>
            <pc:docMk/>
            <pc:sldMk cId="2183210988" sldId="2134804342"/>
            <ac:spMk id="105" creationId="{36DD2712-9AB1-4585-819F-21AB8826170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6" creationId="{FCC08065-7019-4222-B77B-FB007CEA442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07" creationId="{DCDB75E1-F08D-48E6-BD8F-C8C43CF0E9E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8" creationId="{6F2232EE-FB4E-4DD9-AD82-A570467F39D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09" creationId="{E666389C-BEB7-4D9D-92C3-07E5434CA00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10" creationId="{7D09FF47-4E46-4C38-80B0-B607480382E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11" creationId="{95AE868C-7F6F-413B-9C94-0F9F281B940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12" creationId="{D3449E55-D9E7-48E9-9077-F060D307C21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13" creationId="{F23ED729-3677-42FF-A4D9-F74AADEEAC4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14" creationId="{DAB2F9B5-A408-483C-BB0C-541C04A6460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15" creationId="{225A2694-2CC1-4365-B4B7-4531CA8EE80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16" creationId="{D4E36380-E18E-4359-85CD-187F286B4F4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spMkLst>
            <pc:docMk/>
            <pc:sldMk cId="2183210988" sldId="2134804342"/>
            <ac:spMk id="117" creationId="{8960734A-1053-42D2-BD72-6674DCCE6A9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spMkLst>
            <pc:docMk/>
            <pc:sldMk cId="2183210988" sldId="2134804342"/>
            <ac:spMk id="118" creationId="{C77431EE-A761-4323-B75F-692D4CAEC46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spMkLst>
            <pc:docMk/>
            <pc:sldMk cId="2183210988" sldId="2134804342"/>
            <ac:spMk id="119" creationId="{A66DDFF6-8990-4632-9B16-3852035C81B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20" creationId="{3F0FDB3F-65AD-417B-9336-DEE78B87132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21" creationId="{DCD85B41-E0F2-49DE-BE7E-2285DCE4306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22" creationId="{302E465D-D031-4686-9F11-C382819F3BA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23" creationId="{96309232-3CEA-4DD6-AFA6-EB7949BDC5D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125" creationId="{AF1FDEEB-274A-41D8-B395-ACCDAFF8CB1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26" creationId="{AD4ED8B4-B12A-4144-927B-9A51E646655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127" creationId="{8B535AFE-511B-4201-8281-3D5AA4D983C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28" creationId="{8C357E4C-4A5B-4328-8E90-B9521B819DA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29" creationId="{24CA492A-FC13-4941-B289-964D9D2C059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30" creationId="{4B371648-981F-4F04-B54B-17ED9277E5E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31" creationId="{659F8239-3772-4B5D-84D9-B6820973AB7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32" creationId="{F2FA82D5-94D3-4AB3-A3CE-1F9A90BA111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33" creationId="{7CE97922-6719-4893-80DF-DFCFAFFDC2D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7.605" v="13498" actId="478"/>
          <ac:spMkLst>
            <pc:docMk/>
            <pc:sldMk cId="2183210988" sldId="2134804342"/>
            <ac:spMk id="134" creationId="{F84823E7-913E-47FA-86F5-4B4BDFBA1E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0:08.940" v="16274" actId="20577"/>
          <ac:spMkLst>
            <pc:docMk/>
            <pc:sldMk cId="2183210988" sldId="2134804342"/>
            <ac:spMk id="135" creationId="{C1823568-A421-4254-9106-BAEB76F16B7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36" creationId="{A3FA0FAC-CE93-486F-9465-04B57A61AF4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37" creationId="{3E08626F-AA67-4F4B-A958-98F8E403514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7.605" v="13498" actId="478"/>
          <ac:spMkLst>
            <pc:docMk/>
            <pc:sldMk cId="2183210988" sldId="2134804342"/>
            <ac:spMk id="138" creationId="{3C5F2085-6F06-447D-B929-A77300FE887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39" creationId="{9F2C6947-6656-4F12-920F-7F25FE0E0A7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41" creationId="{B4C15846-F4C9-4548-B734-938F5E1AC7D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7.605" v="13498" actId="478"/>
          <ac:spMkLst>
            <pc:docMk/>
            <pc:sldMk cId="2183210988" sldId="2134804342"/>
            <ac:spMk id="142" creationId="{D39CDA84-7131-4DBC-87CE-38CEAA79AB4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43" creationId="{D6B161C2-FF96-468A-8368-81C555D3426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45" creationId="{4D81DFFD-5746-4DCC-95C5-48E5E593FBD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46" creationId="{B3BB3076-1D21-43F9-8C2F-1244A032F03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47" creationId="{8FC626D1-AD07-46DB-AFA3-D61C5418D59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48" creationId="{133CBE66-89BD-47D1-AF66-2E6A36C8D66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49" creationId="{B817A852-0EC4-4E66-8FBD-DBFDC0B8702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50" creationId="{C28A80CF-1701-4EF2-8A2B-1130DC0D68B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51" creationId="{29FDCE7D-57B2-4634-B9CB-DF6D7D4DF21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52" creationId="{BABCCD2D-BE76-4FC2-ADA5-9D144AA6B4B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54" creationId="{023A45C0-4000-48FB-9E82-3BD6579F07E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155" creationId="{FE76AC8F-D97E-47CE-BED9-B7092D0CB7B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56" creationId="{4B1B618B-F4A7-453D-8DBC-1B58A68C9F8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157" creationId="{825B4315-B28B-499F-ABF7-77B636AE619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60" creationId="{DBE1EC54-D4BD-4052-902D-3C8C6BEB841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62" creationId="{F90D48DD-6D46-46CC-B160-D915402FD8F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64" creationId="{515E4648-9B8D-462B-BC7B-13914451D0C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3:14.036" v="13624" actId="20577"/>
          <ac:spMkLst>
            <pc:docMk/>
            <pc:sldMk cId="2183210988" sldId="2134804342"/>
            <ac:spMk id="168" creationId="{5EB59FC4-E3CB-4F9C-B021-888F9A3421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2:39.698" v="13617" actId="1035"/>
          <ac:spMkLst>
            <pc:docMk/>
            <pc:sldMk cId="2183210988" sldId="2134804342"/>
            <ac:spMk id="169" creationId="{41B9922E-6AB6-4BE2-8AB9-1E9616B45BC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5:29.417" v="13740" actId="208"/>
          <ac:spMkLst>
            <pc:docMk/>
            <pc:sldMk cId="2183210988" sldId="2134804342"/>
            <ac:spMk id="175" creationId="{7E82DF07-00BE-4EA4-A7A8-E5128F73489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5:09.731" v="13735" actId="20577"/>
          <ac:spMkLst>
            <pc:docMk/>
            <pc:sldMk cId="2183210988" sldId="2134804342"/>
            <ac:spMk id="176" creationId="{46FC7FF0-770D-4257-9C65-A46DAC1DCCC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4:45.439" v="13670"/>
          <ac:spMkLst>
            <pc:docMk/>
            <pc:sldMk cId="2183210988" sldId="2134804342"/>
            <ac:spMk id="179" creationId="{AE5611F5-6836-4BC2-B43F-ECE0F191498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4:45.439" v="13670"/>
          <ac:spMkLst>
            <pc:docMk/>
            <pc:sldMk cId="2183210988" sldId="2134804342"/>
            <ac:spMk id="180" creationId="{0117387A-7B68-42A3-92C5-25DEBE10BBD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5:22.288" v="13739" actId="208"/>
          <ac:spMkLst>
            <pc:docMk/>
            <pc:sldMk cId="2183210988" sldId="2134804342"/>
            <ac:spMk id="182" creationId="{0AD24A2F-C332-42F8-B173-82D944AB85C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5:01.378" v="13703" actId="20577"/>
          <ac:spMkLst>
            <pc:docMk/>
            <pc:sldMk cId="2183210988" sldId="2134804342"/>
            <ac:spMk id="183" creationId="{95C868E9-B916-48E1-8918-4365584CC9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12:05.030" v="13928"/>
          <ac:spMkLst>
            <pc:docMk/>
            <pc:sldMk cId="2183210988" sldId="2134804342"/>
            <ac:spMk id="187" creationId="{069CA444-05CD-482C-B30A-C4BEBA368F4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6:19.927" v="13764" actId="1036"/>
          <ac:spMkLst>
            <pc:docMk/>
            <pc:sldMk cId="2183210988" sldId="2134804342"/>
            <ac:spMk id="188" creationId="{B335F6AC-E23B-4A63-8385-CEF715A737A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8:38.235" v="13835" actId="208"/>
          <ac:spMkLst>
            <pc:docMk/>
            <pc:sldMk cId="2183210988" sldId="2134804342"/>
            <ac:spMk id="192" creationId="{FCD0ED34-7464-4F40-84F6-43C972192C8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8:30.033" v="13834" actId="1035"/>
          <ac:spMkLst>
            <pc:docMk/>
            <pc:sldMk cId="2183210988" sldId="2134804342"/>
            <ac:spMk id="193" creationId="{36F94EA4-7FF0-4A77-9EC7-82EF66D611D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10:45.970" v="13899" actId="208"/>
          <ac:spMkLst>
            <pc:docMk/>
            <pc:sldMk cId="2183210988" sldId="2134804342"/>
            <ac:spMk id="201" creationId="{8ABD5436-8310-4DFB-BE92-B8F511E55FF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10:35.758" v="13897" actId="20577"/>
          <ac:spMkLst>
            <pc:docMk/>
            <pc:sldMk cId="2183210988" sldId="2134804342"/>
            <ac:spMk id="202" creationId="{46E3048B-B6A6-40B9-B5FF-1DE37E3D0A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13:00.562" v="13995" actId="20577"/>
          <ac:spMkLst>
            <pc:docMk/>
            <pc:sldMk cId="2183210988" sldId="2134804342"/>
            <ac:spMk id="211" creationId="{A491A23E-E13E-4C10-AC95-107F9DA558A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12:43.933" v="13986" actId="1035"/>
          <ac:spMkLst>
            <pc:docMk/>
            <pc:sldMk cId="2183210988" sldId="2134804342"/>
            <ac:spMk id="212" creationId="{A7173743-7B0D-42C7-AD5F-F8C137BBD2E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0:49:57.749" v="20086" actId="14100"/>
          <ac:spMkLst>
            <pc:docMk/>
            <pc:sldMk cId="2183210988" sldId="2134804342"/>
            <ac:spMk id="219" creationId="{62FC86D8-1E1F-477E-A8C1-DE0EA4C4AB1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21" creationId="{C23958D9-8D2A-476C-A650-5C584206812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23" creationId="{99E0F853-4FD1-46B7-8A75-EA8670F01C9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25" creationId="{F9A684D7-9D7B-4F2C-95EA-312D2496A20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27" creationId="{A631AF72-0B18-419A-8AE2-1B673239DBF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29" creationId="{C0D44EB0-03FA-480F-9FED-A075B4D0FE0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31" creationId="{E44D8F02-24A1-477A-BA91-5ABD4E96C54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33" creationId="{A9C794B6-CC7C-44F8-BC30-A0E42B3A6EA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35" creationId="{67397329-06CB-4EAD-BB20-9DB9C847A3B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37" creationId="{51598549-7FE1-4A9E-8F40-B2099285B66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39" creationId="{37C2BB7D-77F0-4052-82F0-E5435648CFE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41" creationId="{2A792433-0E46-41B6-BB9D-BB01FD3CFB6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43" creationId="{CA93A8B3-0EE1-49A1-8033-0817CAFE4CD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45" creationId="{949AE6BC-C4BD-42D8-A565-AB7EDB4317E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47" creationId="{B8484EBA-632F-468B-8A55-DF6D492912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48" creationId="{341C5711-6039-4120-9EF9-63F5E71B512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0:49:45.945" v="20084" actId="1076"/>
          <ac:spMkLst>
            <pc:docMk/>
            <pc:sldMk cId="2183210988" sldId="2134804342"/>
            <ac:spMk id="250" creationId="{283034AC-573E-4107-9EF2-89F51EF2A20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52" creationId="{0069B35A-C24F-4A0A-9A31-0FFD81D00CC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53" creationId="{45FCA639-0D47-47C8-B1D3-8D8990C817EE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7T21:26:49.865" v="14235" actId="22"/>
          <ac:spMkLst>
            <pc:docMk/>
            <pc:sldMk cId="2183210988" sldId="2134804342"/>
            <ac:spMk id="255" creationId="{30B5AE04-315F-4865-8C9B-52869CF652BE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7T21:26:55.324" v="14237" actId="22"/>
          <ac:spMkLst>
            <pc:docMk/>
            <pc:sldMk cId="2183210988" sldId="2134804342"/>
            <ac:spMk id="257" creationId="{C0CD91E8-1B03-4E28-BB4B-727AE2FA4E5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59" creationId="{06833351-5094-45E5-BD2C-6B56549573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61" creationId="{08D97BAE-17E1-45F6-9117-4038993B308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62" creationId="{C9754506-870B-4CD8-8AE9-F1B3BA7B6C9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64" creationId="{38FBE262-4DE2-4BFB-92ED-2D8B628EA74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66" creationId="{3F5EB619-321B-4051-ADC8-A5FF99ED0CE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68" creationId="{BA6697D6-3D1D-4926-859F-D1F6118C71E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0" creationId="{E0A77003-E797-44F0-AA39-E958F4CCF4F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2" creationId="{EBD1B0C5-8E1A-4AB2-A905-5E75134BE2F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3" creationId="{EA361EF9-01F1-454A-A9C1-4547F290290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5" creationId="{AA44D995-3733-4034-9C79-2150FB82BEA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7" creationId="{8C179BE5-9C31-4DC6-92CF-18666A46155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9" creationId="{D2382CA9-8FE7-409F-94B6-FC3C93B2E2C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81" creationId="{BFE021B3-7541-4086-AE13-E0AEBDB16A7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83" creationId="{5B397935-C4A0-45CD-9F44-64AC2D6438E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0:35.286" v="14404" actId="478"/>
          <ac:spMkLst>
            <pc:docMk/>
            <pc:sldMk cId="2183210988" sldId="2134804342"/>
            <ac:spMk id="285" creationId="{691B2455-3E87-4ACC-92D7-C702A2CF018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0:53.406" v="14405" actId="478"/>
          <ac:spMkLst>
            <pc:docMk/>
            <pc:sldMk cId="2183210988" sldId="2134804342"/>
            <ac:spMk id="287" creationId="{AD48EAED-09D1-4113-B85A-CD11AE956EE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89" creationId="{31F7DDF3-B54D-4052-9A28-CCF92FB2E3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91" creationId="{C01273E8-B11F-462E-94CB-72065A6C11F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92" creationId="{834BE181-51D9-44B2-93C1-604A03DBB48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94" creationId="{79DB0C09-F46C-41B0-9923-1FFB6676262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96" creationId="{6EB1D654-7D2E-4C5A-A742-EC00673A449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98" creationId="{E63674CF-E64A-4722-BF49-DC977CD3117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300" creationId="{ADB7BF7A-1AB1-4E8E-9A63-84ACED84A019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00:17:45.401" v="15870" actId="1038"/>
          <ac:spMkLst>
            <pc:docMk/>
            <pc:sldMk cId="2183210988" sldId="2134804342"/>
            <ac:spMk id="301" creationId="{0E573AE5-DF92-430B-AF2D-D0BFB9CB96C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spMkLst>
            <pc:docMk/>
            <pc:sldMk cId="2183210988" sldId="2134804342"/>
            <ac:spMk id="302" creationId="{C642D50B-C6B3-4A0C-87B7-132C6B2DE4A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spMkLst>
            <pc:docMk/>
            <pc:sldMk cId="2183210988" sldId="2134804342"/>
            <ac:spMk id="303" creationId="{7A8C0DAD-15A1-4E21-9EEF-3BB84FFF523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spMkLst>
            <pc:docMk/>
            <pc:sldMk cId="2183210988" sldId="2134804342"/>
            <ac:spMk id="304" creationId="{AD12CFBE-FF54-48D4-BB80-C905202AD6B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spMkLst>
            <pc:docMk/>
            <pc:sldMk cId="2183210988" sldId="2134804342"/>
            <ac:spMk id="305" creationId="{8D8A1F30-9BAF-4913-891F-152F9D904D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07" creationId="{4979E7DC-491E-4159-B044-DFD804DF48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08" creationId="{612581F4-8388-4805-8A84-6A20E1FF0C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10" creationId="{68683E66-6598-406F-AAD2-892840BF8B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11" creationId="{793047F2-0BCD-41AE-B2D3-5D5F8FF7908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313" creationId="{57E0C7F2-F5C4-4FAC-AE0A-BA1A476476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314" creationId="{6319FAA4-2A4E-44B2-9CF1-2004083974B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16" creationId="{675AE2BE-A99E-4176-9C86-2EC98F036C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17" creationId="{C6863730-8D56-48CF-88B1-1B4DA116BCC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19" creationId="{C780F546-AC22-4C47-8EEE-E08A15AFA1B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20" creationId="{B4EF3503-58CC-4F18-B791-F75D858AF12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322" creationId="{E9AB33CF-3A2F-42F1-BAAF-DCC3184F3D9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323" creationId="{2131263B-D3B4-4AD4-A6DD-A27169006B37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2" creationId="{2B98B6A7-7227-4CB8-80CE-DF246B94E3DA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26" creationId="{5B1CDA9C-37CE-441A-94E7-5A5F38503613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31" creationId="{A0B07E6C-42EA-42D4-BF18-74CF8467911A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37" creationId="{33A4F641-6F0E-462A-898E-0641B151AA6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grpSpMkLst>
            <pc:docMk/>
            <pc:sldMk cId="2183210988" sldId="2134804342"/>
            <ac:grpSpMk id="42" creationId="{C86E4A92-2D9B-4D15-AFAF-2C673F30F81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grpSpMkLst>
            <pc:docMk/>
            <pc:sldMk cId="2183210988" sldId="2134804342"/>
            <ac:grpSpMk id="45" creationId="{EF7C10BB-35CE-43C5-B743-38C4E6BD74F1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46" creationId="{4DCAF9D3-E260-43CE-8958-9F0BA7AFCD3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53" creationId="{3873BDF9-02E9-44FD-9510-89955A3B3E8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grpSpMkLst>
            <pc:docMk/>
            <pc:sldMk cId="2183210988" sldId="2134804342"/>
            <ac:grpSpMk id="93" creationId="{4FB0DE56-7BF8-47E4-8B35-7783E085A970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grpSpMkLst>
            <pc:docMk/>
            <pc:sldMk cId="2183210988" sldId="2134804342"/>
            <ac:grpSpMk id="124" creationId="{5117E29D-DBEB-4BE8-B255-FCA39A28D818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grpSpMkLst>
            <pc:docMk/>
            <pc:sldMk cId="2183210988" sldId="2134804342"/>
            <ac:grpSpMk id="153" creationId="{ECC1079A-ACFE-47F5-B237-44739C19BC96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65" creationId="{3E88F80D-5F8F-4B0A-A23A-B734C2EE039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67" creationId="{63AEDB8E-9F96-4691-A9CB-A70EAAEF70B8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74" creationId="{C6C04382-85B7-4D3F-B803-EA4D1267F0B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78" creationId="{E673AC4C-B912-4B00-A07E-F353630C7D2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81" creationId="{F41557D1-2FC7-4DE5-8691-EAF2A4C637E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86" creationId="{16DA9333-7032-45CE-9E3A-01409C1E6A0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91" creationId="{FA20B0AB-4006-4C51-82AE-68A90BD7617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200" creationId="{5EC7640D-CC76-46E2-91FB-5BC2A36E2B7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210" creationId="{F31D1FA4-2A54-44F7-BB5E-B6B753EC0E14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46" creationId="{33576133-5A00-4266-B126-B2653B04E13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51" creationId="{02EFA6D4-9012-466E-B2A2-328E003E9AE2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60" creationId="{5094BFE4-6DFA-4A2B-A74D-946C007D225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71" creationId="{766436A5-C27B-4952-9D9F-B481DE6E179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90" creationId="{C77DBACA-5EAA-4731-9D52-2BFF5E1F4F24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6:49.952" v="14854" actId="478"/>
          <ac:grpSpMkLst>
            <pc:docMk/>
            <pc:sldMk cId="2183210988" sldId="2134804342"/>
            <ac:grpSpMk id="306" creationId="{869BAC65-2C75-4BCD-9A86-96BFA18F3297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6:53.894" v="14856" actId="478"/>
          <ac:grpSpMkLst>
            <pc:docMk/>
            <pc:sldMk cId="2183210988" sldId="2134804342"/>
            <ac:grpSpMk id="309" creationId="{BA372C06-01AB-47A5-B1A6-9D1ED335C39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312" creationId="{F50A07A5-682F-42EC-ABCB-06A749AADF93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6:51.371" v="14855" actId="478"/>
          <ac:grpSpMkLst>
            <pc:docMk/>
            <pc:sldMk cId="2183210988" sldId="2134804342"/>
            <ac:grpSpMk id="315" creationId="{532E320E-2EF6-4B85-B098-4C106EECEBF6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6:55.451" v="14857" actId="478"/>
          <ac:grpSpMkLst>
            <pc:docMk/>
            <pc:sldMk cId="2183210988" sldId="2134804342"/>
            <ac:grpSpMk id="318" creationId="{735D06CE-96DB-4CDE-A3E2-E7868430A6A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321" creationId="{3FD3FABB-CBBB-409E-8690-2F43981E83A6}"/>
          </ac:grpSpMkLst>
        </pc:grp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4:46.774" v="20020"/>
        <pc:sldMkLst>
          <pc:docMk/>
          <pc:sldMk cId="1108072925" sldId="2134804343"/>
        </pc:sldMkLst>
        <pc:spChg chg="mod">
          <ac:chgData name="Mariam Daniela Tristancho Pineda (MISION TEMPORAL LTDA)" userId="a45a17f7-7950-4cb5-bfab-f5c894f959a9" providerId="ADAL" clId="{9D150B60-33B5-4A3E-8123-A67E35AA8D44}" dt="2020-07-28T13:34:14.033" v="19146" actId="13926"/>
          <ac:spMkLst>
            <pc:docMk/>
            <pc:sldMk cId="1108072925" sldId="2134804343"/>
            <ac:spMk id="3" creationId="{164DF9F9-0719-4943-934C-41A1DA9BF0D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20.229" v="17755" actId="1076"/>
          <ac:spMkLst>
            <pc:docMk/>
            <pc:sldMk cId="1108072925" sldId="2134804343"/>
            <ac:spMk id="4" creationId="{25C67AAE-195C-4BD0-89AC-637004543F7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20.229" v="17755" actId="1076"/>
          <ac:spMkLst>
            <pc:docMk/>
            <pc:sldMk cId="1108072925" sldId="2134804343"/>
            <ac:spMk id="5" creationId="{DD5A3B7D-7DBE-4898-A489-8AE5D934483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50.693" v="17762" actId="14100"/>
          <ac:spMkLst>
            <pc:docMk/>
            <pc:sldMk cId="1108072925" sldId="2134804343"/>
            <ac:spMk id="6" creationId="{F890A780-0AE9-4BF0-8CB4-292BA41F0D4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0:03.629" v="17765" actId="1076"/>
          <ac:spMkLst>
            <pc:docMk/>
            <pc:sldMk cId="1108072925" sldId="2134804343"/>
            <ac:spMk id="7" creationId="{8A2BBF5B-87FF-4A67-94F6-B149160C910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58.828" v="17764" actId="1076"/>
          <ac:spMkLst>
            <pc:docMk/>
            <pc:sldMk cId="1108072925" sldId="2134804343"/>
            <ac:spMk id="8" creationId="{B43FC437-82E8-4198-8B4B-072E5DB4852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3:49.068" v="17647" actId="20577"/>
          <ac:spMkLst>
            <pc:docMk/>
            <pc:sldMk cId="1108072925" sldId="2134804343"/>
            <ac:spMk id="9" creationId="{4B2629AB-0194-4429-B721-D46F1AE1DD2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11.710" v="17364" actId="478"/>
          <ac:spMkLst>
            <pc:docMk/>
            <pc:sldMk cId="1108072925" sldId="2134804343"/>
            <ac:spMk id="14" creationId="{FE03BCAB-75A5-44EE-8BDC-032F6CEBA0D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00.835" v="17355" actId="478"/>
          <ac:spMkLst>
            <pc:docMk/>
            <pc:sldMk cId="1108072925" sldId="2134804343"/>
            <ac:spMk id="15" creationId="{EA00BF16-70C8-4E77-BCFE-26B7A24F5A4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13.061" v="17365" actId="478"/>
          <ac:spMkLst>
            <pc:docMk/>
            <pc:sldMk cId="1108072925" sldId="2134804343"/>
            <ac:spMk id="16" creationId="{3B6388DF-8204-4D49-A700-558B0FC89E2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13.061" v="17365" actId="478"/>
          <ac:spMkLst>
            <pc:docMk/>
            <pc:sldMk cId="1108072925" sldId="2134804343"/>
            <ac:spMk id="17" creationId="{72E841CB-C40B-4127-9904-0A211217300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11.710" v="17364" actId="478"/>
          <ac:spMkLst>
            <pc:docMk/>
            <pc:sldMk cId="1108072925" sldId="2134804343"/>
            <ac:spMk id="18" creationId="{1E8B7C51-F2DC-4BF4-9153-322E3E232CB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13.061" v="17365" actId="478"/>
          <ac:spMkLst>
            <pc:docMk/>
            <pc:sldMk cId="1108072925" sldId="2134804343"/>
            <ac:spMk id="19" creationId="{417BFA43-D1EC-4C66-AF9D-19CAC9D70AB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20.229" v="17755" actId="1076"/>
          <ac:spMkLst>
            <pc:docMk/>
            <pc:sldMk cId="1108072925" sldId="2134804343"/>
            <ac:spMk id="20" creationId="{E65910E4-A096-40D0-B0E3-D9CCC9F11F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20.229" v="17755" actId="1076"/>
          <ac:spMkLst>
            <pc:docMk/>
            <pc:sldMk cId="1108072925" sldId="2134804343"/>
            <ac:spMk id="21" creationId="{EB999A37-346B-4C56-9214-B4DDB0DC41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20.229" v="17755" actId="1076"/>
          <ac:spMkLst>
            <pc:docMk/>
            <pc:sldMk cId="1108072925" sldId="2134804343"/>
            <ac:spMk id="24" creationId="{ACD3A537-2FEC-4895-A698-734B2A19898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52.092" v="17763" actId="1076"/>
          <ac:spMkLst>
            <pc:docMk/>
            <pc:sldMk cId="1108072925" sldId="2134804343"/>
            <ac:spMk id="25" creationId="{54D9DE30-764E-4960-A02B-656F455ACC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0:03.629" v="17765" actId="1076"/>
          <ac:spMkLst>
            <pc:docMk/>
            <pc:sldMk cId="1108072925" sldId="2134804343"/>
            <ac:spMk id="26" creationId="{73903E7D-5976-4068-872C-534A412616F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58.828" v="17764" actId="1076"/>
          <ac:spMkLst>
            <pc:docMk/>
            <pc:sldMk cId="1108072925" sldId="2134804343"/>
            <ac:spMk id="27" creationId="{8BA59867-5BA3-42BA-BFED-FBEB4191A8C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84" creationId="{886FB85F-4045-49C0-B9EC-FEBB97BC84D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85" creationId="{6C4D690C-0DB4-41A6-A8EE-0D706384989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86" creationId="{67F18975-54EA-4187-B6DC-1E49D8E3794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87" creationId="{455C26A8-EBAD-4421-B4F0-87FC292780F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88" creationId="{58E7088F-6565-4477-A2B9-065944FF04E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98" creationId="{2874F4A7-BA31-42F8-8B44-D2B5FBA0E2F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99" creationId="{998B0A73-274C-481A-A4B8-8A1CBF5C7BC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0" creationId="{C18B66AE-9817-483D-AAE7-505E4F691E5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1" creationId="{DA655B72-124C-4293-8F6E-D524B87ECFC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2" creationId="{D67A4E90-F0D2-4EE2-98BE-5F82E84023F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3" creationId="{F2FC0816-B83C-46C8-9FA1-F426211DB61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4" creationId="{FBA1521A-5C1D-4407-905C-71C307B27F9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5" creationId="{B56171C3-6BB7-49EC-BD2D-F2473F3C4E2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6" creationId="{47144B9C-3AB4-4608-898D-E5D227B5400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7" creationId="{C5E9DB97-7794-4A4A-A523-A103AD0517E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8" creationId="{0DC7BE94-6BD5-46D4-BC49-2B712E9DEB9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9" creationId="{E2C836AB-E138-454F-A410-54DB37F4232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10" creationId="{E9975283-C6EA-4D0A-929B-59144ED5D0C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11" creationId="{332D485A-369B-4473-A3F1-550E372F3A4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01.144" v="17356"/>
          <ac:spMkLst>
            <pc:docMk/>
            <pc:sldMk cId="1108072925" sldId="2134804343"/>
            <ac:spMk id="113" creationId="{65426CA7-DF13-4166-B929-391A6B479E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09.079" v="17363" actId="20577"/>
          <ac:spMkLst>
            <pc:docMk/>
            <pc:sldMk cId="1108072925" sldId="2134804343"/>
            <ac:spMk id="114" creationId="{34834366-0759-4E89-9A3A-288B6DA6C8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14.815" v="17366"/>
          <ac:spMkLst>
            <pc:docMk/>
            <pc:sldMk cId="1108072925" sldId="2134804343"/>
            <ac:spMk id="116" creationId="{C6DD9ECD-C92D-4704-97B3-B4C3AEE1864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18.117" v="17369" actId="20577"/>
          <ac:spMkLst>
            <pc:docMk/>
            <pc:sldMk cId="1108072925" sldId="2134804343"/>
            <ac:spMk id="117" creationId="{7F6BC1DB-4E40-4A47-850A-79B462E1AE2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21.570" v="17374"/>
          <ac:spMkLst>
            <pc:docMk/>
            <pc:sldMk cId="1108072925" sldId="2134804343"/>
            <ac:spMk id="119" creationId="{E44EFD7C-986C-4068-96FF-2799E98C60B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28.774" v="17389" actId="20577"/>
          <ac:spMkLst>
            <pc:docMk/>
            <pc:sldMk cId="1108072925" sldId="2134804343"/>
            <ac:spMk id="120" creationId="{E73BF53D-5C4E-4100-BC6B-1DFC8B8FC73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30.372" v="17390"/>
          <ac:spMkLst>
            <pc:docMk/>
            <pc:sldMk cId="1108072925" sldId="2134804343"/>
            <ac:spMk id="122" creationId="{4BB3CAC2-15FB-4F1D-B702-9BD7ADC8A69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37.916" v="17872" actId="1038"/>
          <ac:spMkLst>
            <pc:docMk/>
            <pc:sldMk cId="1108072925" sldId="2134804343"/>
            <ac:spMk id="123" creationId="{AF32E794-4F50-4939-826B-17544165148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38.202" v="17397"/>
          <ac:spMkLst>
            <pc:docMk/>
            <pc:sldMk cId="1108072925" sldId="2134804343"/>
            <ac:spMk id="125" creationId="{B6A9FC5B-4C07-4FED-BEA6-F63B467108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43.929" v="17409" actId="20577"/>
          <ac:spMkLst>
            <pc:docMk/>
            <pc:sldMk cId="1108072925" sldId="2134804343"/>
            <ac:spMk id="126" creationId="{8F1ADAC7-4725-4A8E-8E01-07F422E0CE8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47.319" v="17410"/>
          <ac:spMkLst>
            <pc:docMk/>
            <pc:sldMk cId="1108072925" sldId="2134804343"/>
            <ac:spMk id="128" creationId="{3F91303F-DB37-48BC-85A3-C5D1573343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52.590" v="17416" actId="20577"/>
          <ac:spMkLst>
            <pc:docMk/>
            <pc:sldMk cId="1108072925" sldId="2134804343"/>
            <ac:spMk id="129" creationId="{547FDFA9-DFAE-49C9-8DB6-12CF8AF865B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3:34:29.311" v="19147" actId="13926"/>
          <ac:spMkLst>
            <pc:docMk/>
            <pc:sldMk cId="1108072925" sldId="2134804343"/>
            <ac:spMk id="130" creationId="{E6F7A92A-2E90-4E0A-AE82-D285E1B836C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19:34.388" v="17759" actId="1076"/>
          <ac:spMkLst>
            <pc:docMk/>
            <pc:sldMk cId="1108072925" sldId="2134804343"/>
            <ac:spMk id="131" creationId="{C35964BB-AF62-490A-95C9-F74F0297887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01.701" v="17653"/>
          <ac:spMkLst>
            <pc:docMk/>
            <pc:sldMk cId="1108072925" sldId="2134804343"/>
            <ac:spMk id="133" creationId="{5825428C-4A68-4645-82E8-CDD413126F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01.701" v="17653"/>
          <ac:spMkLst>
            <pc:docMk/>
            <pc:sldMk cId="1108072925" sldId="2134804343"/>
            <ac:spMk id="134" creationId="{9DA84409-E78D-4C09-BD7D-3213865A732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spMkLst>
            <pc:docMk/>
            <pc:sldMk cId="1108072925" sldId="2134804343"/>
            <ac:spMk id="135" creationId="{5B87A7D7-77D6-4944-AB47-116D5E89008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spMkLst>
            <pc:docMk/>
            <pc:sldMk cId="1108072925" sldId="2134804343"/>
            <ac:spMk id="136" creationId="{13F74801-AB82-4189-BC8F-0348CA5227F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spMkLst>
            <pc:docMk/>
            <pc:sldMk cId="1108072925" sldId="2134804343"/>
            <ac:spMk id="137" creationId="{3AE04B40-815A-413B-B670-12356A19D58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spMkLst>
            <pc:docMk/>
            <pc:sldMk cId="1108072925" sldId="2134804343"/>
            <ac:spMk id="138" creationId="{12D8E2D4-5693-4CB4-AE12-D13C5339BC6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spMkLst>
            <pc:docMk/>
            <pc:sldMk cId="1108072925" sldId="2134804343"/>
            <ac:spMk id="139" creationId="{8DCDDA4D-0FF0-4E24-A6D0-41A5291E7F7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1" creationId="{49B19C06-3562-4ECA-80E0-D14EC006A9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2" creationId="{2B9D1DDC-E53C-4AB4-8F8C-79CC1055A3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4" creationId="{97ED48DD-C568-4CA6-9624-E0A2935AAFA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5" creationId="{392E4BD2-90A4-44CA-A9A1-462D5295388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7" creationId="{E2693C04-5CC9-4A90-9134-55633540A7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8" creationId="{B4158DA3-191C-409A-B6B4-B81F27E6514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0" creationId="{CA1AF441-14FD-472C-9532-C8E9C87E1B3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1" creationId="{A3E53D3E-2217-41F5-BDE1-EFEB7219EE1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3" creationId="{D33DA854-DE3F-4CDD-A942-F3598A99B7C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4" creationId="{933A4F2D-09AF-40AD-B1B5-EDC571938BC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6" creationId="{A547B499-A1CE-4C2C-826C-097D82E481E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7" creationId="{B09E8BC7-6112-462D-8358-7B930C3BA5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9" creationId="{036CEEB4-9765-4FD2-81E7-15DF55E12BF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60" creationId="{034004F9-8836-4920-82B1-4AAEA5D2523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62" creationId="{3D7C1691-8B1C-4913-8FE0-AA92667A65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63" creationId="{5F7E38C8-282C-4864-A9B2-29D889C186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65" creationId="{69DC1B70-34B7-44DD-A639-219062E7C65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66" creationId="{7FAAA0F9-F102-4527-9A45-89719603F49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57.602" v="17875"/>
          <ac:spMkLst>
            <pc:docMk/>
            <pc:sldMk cId="1108072925" sldId="2134804343"/>
            <ac:spMk id="168" creationId="{04D614FC-2437-400C-A3D0-495845624B0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57.602" v="17875"/>
          <ac:spMkLst>
            <pc:docMk/>
            <pc:sldMk cId="1108072925" sldId="2134804343"/>
            <ac:spMk id="169" creationId="{6B2D35E1-B5E9-46DD-A806-C156C49A498B}"/>
          </ac:spMkLst>
        </pc:spChg>
        <pc:gr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grpSpMkLst>
            <pc:docMk/>
            <pc:sldMk cId="1108072925" sldId="2134804343"/>
            <ac:grpSpMk id="89" creationId="{59020B7F-5C00-46D8-B954-0E8DE83F8545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grpSpMkLst>
            <pc:docMk/>
            <pc:sldMk cId="1108072925" sldId="2134804343"/>
            <ac:grpSpMk id="92" creationId="{BD6C9D72-C63D-408A-8C68-F7A4DAA4B27E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grpSpMkLst>
            <pc:docMk/>
            <pc:sldMk cId="1108072925" sldId="2134804343"/>
            <ac:grpSpMk id="95" creationId="{008F843C-7249-4CAC-877B-CFA2F16F922E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20.266" v="17865" actId="12789"/>
          <ac:grpSpMkLst>
            <pc:docMk/>
            <pc:sldMk cId="1108072925" sldId="2134804343"/>
            <ac:grpSpMk id="112" creationId="{972FCF2A-FD03-49D3-8C0B-1BBE38305C46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25.768" v="17866" actId="1037"/>
          <ac:grpSpMkLst>
            <pc:docMk/>
            <pc:sldMk cId="1108072925" sldId="2134804343"/>
            <ac:grpSpMk id="115" creationId="{3701B5F0-81AD-443A-81EB-5C556EAFA1F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27.724" v="17867" actId="1038"/>
          <ac:grpSpMkLst>
            <pc:docMk/>
            <pc:sldMk cId="1108072925" sldId="2134804343"/>
            <ac:grpSpMk id="118" creationId="{D377B78F-D375-47B1-8568-E06662B6DAAD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40.105" v="17873" actId="1038"/>
          <ac:grpSpMkLst>
            <pc:docMk/>
            <pc:sldMk cId="1108072925" sldId="2134804343"/>
            <ac:grpSpMk id="121" creationId="{86C4B84B-4233-4B9E-8F90-D5FC97FAAF7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9:58.828" v="17764" actId="1076"/>
          <ac:grpSpMkLst>
            <pc:docMk/>
            <pc:sldMk cId="1108072925" sldId="2134804343"/>
            <ac:grpSpMk id="124" creationId="{4656D884-6034-4D33-BF43-DC4E22A753AE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45.061" v="17874" actId="1037"/>
          <ac:grpSpMkLst>
            <pc:docMk/>
            <pc:sldMk cId="1108072925" sldId="2134804343"/>
            <ac:grpSpMk id="127" creationId="{DB97B9B3-2FDB-4409-9069-0039CCBD418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31.126" v="17870" actId="1038"/>
          <ac:grpSpMkLst>
            <pc:docMk/>
            <pc:sldMk cId="1108072925" sldId="2134804343"/>
            <ac:grpSpMk id="132" creationId="{3E3138A7-24EC-46A8-B30C-B2D100D4FD78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40" creationId="{89A29AE7-7F6C-4890-9B88-06A3EC85355F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43" creationId="{5AD05D54-864C-480F-B3BE-8EDE665F45C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46" creationId="{A770A3D7-E6A7-47E9-ABA9-593F59AC6696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49" creationId="{9D223151-F879-4232-A05F-7E3EB49AD54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52" creationId="{24001A25-A388-439B-8076-320B9AA91D1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55" creationId="{178061AA-E9DE-4A6D-B70F-AE54A2672D8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58" creationId="{5FF04808-F2E0-485D-B717-9A6F1A111139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61" creationId="{44C5581E-E63E-497F-9C23-347DD876B469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64" creationId="{8B37E1FD-7126-44DA-952C-66C1412536A2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7:01.215" v="17880" actId="1035"/>
          <ac:grpSpMkLst>
            <pc:docMk/>
            <pc:sldMk cId="1108072925" sldId="2134804343"/>
            <ac:grpSpMk id="167" creationId="{20C5926F-D7AF-40E1-8377-6A9B462E8907}"/>
          </ac:grpSpMkLst>
        </pc:grp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4:46.774" v="20020"/>
        <pc:sldMkLst>
          <pc:docMk/>
          <pc:sldMk cId="1734415321" sldId="2134804344"/>
        </pc:sldMkLst>
        <pc:spChg chg="mod">
          <ac:chgData name="Mariam Daniela Tristancho Pineda (MISION TEMPORAL LTDA)" userId="a45a17f7-7950-4cb5-bfab-f5c894f959a9" providerId="ADAL" clId="{9D150B60-33B5-4A3E-8123-A67E35AA8D44}" dt="2020-07-28T01:08:24.166" v="17430" actId="1076"/>
          <ac:spMkLst>
            <pc:docMk/>
            <pc:sldMk cId="1734415321" sldId="2134804344"/>
            <ac:spMk id="2" creationId="{3A93B487-116E-4767-AA0D-CAE2A460FB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58.755" v="17856" actId="1038"/>
          <ac:spMkLst>
            <pc:docMk/>
            <pc:sldMk cId="1734415321" sldId="2134804344"/>
            <ac:spMk id="3" creationId="{815B10B7-60B3-4C63-8431-70CC556387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32:47.422" v="19145" actId="20577"/>
          <ac:spMkLst>
            <pc:docMk/>
            <pc:sldMk cId="1734415321" sldId="2134804344"/>
            <ac:spMk id="11" creationId="{772CA61D-742C-45F0-BAFA-0F3B90176E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55.779" v="17851" actId="554"/>
          <ac:spMkLst>
            <pc:docMk/>
            <pc:sldMk cId="1734415321" sldId="2134804344"/>
            <ac:spMk id="12" creationId="{7F3CEC4C-7588-4B74-823D-9CF22E2DAD7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9:33.515" v="19891" actId="1076"/>
          <ac:spMkLst>
            <pc:docMk/>
            <pc:sldMk cId="1734415321" sldId="2134804344"/>
            <ac:spMk id="15" creationId="{2344D56D-6203-47F9-98E9-EC7D6783C45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4.194" v="17827" actId="12788"/>
          <ac:spMkLst>
            <pc:docMk/>
            <pc:sldMk cId="1734415321" sldId="2134804344"/>
            <ac:spMk id="22" creationId="{53E538FE-3283-40FB-A5F0-3E57246B6EF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7:42.837" v="17736" actId="20577"/>
          <ac:spMkLst>
            <pc:docMk/>
            <pc:sldMk cId="1734415321" sldId="2134804344"/>
            <ac:spMk id="27" creationId="{910DCB24-1C9B-45BE-9592-B8EC86E558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29" creationId="{46F67329-EAA2-4B09-AD5B-91FE70391A8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9.058" v="17828" actId="12788"/>
          <ac:spMkLst>
            <pc:docMk/>
            <pc:sldMk cId="1734415321" sldId="2134804344"/>
            <ac:spMk id="30" creationId="{5BF08848-45AE-451C-A99D-7322CF7967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6:21.816" v="17722" actId="20577"/>
          <ac:spMkLst>
            <pc:docMk/>
            <pc:sldMk cId="1734415321" sldId="2134804344"/>
            <ac:spMk id="33" creationId="{99A98136-5ADE-4ACF-97B1-9869591C874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55.779" v="17851" actId="554"/>
          <ac:spMkLst>
            <pc:docMk/>
            <pc:sldMk cId="1734415321" sldId="2134804344"/>
            <ac:spMk id="34" creationId="{2858742F-5FD0-4B7E-9334-0D1DB2CF52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9.058" v="17828" actId="12788"/>
          <ac:spMkLst>
            <pc:docMk/>
            <pc:sldMk cId="1734415321" sldId="2134804344"/>
            <ac:spMk id="35" creationId="{5F2982C9-1317-4114-BC67-9EA6763899B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8:54.986" v="17752" actId="20577"/>
          <ac:spMkLst>
            <pc:docMk/>
            <pc:sldMk cId="1734415321" sldId="2134804344"/>
            <ac:spMk id="39" creationId="{5FAD9D39-0163-48A2-AB90-B7B2E4C2CC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55.779" v="17851" actId="554"/>
          <ac:spMkLst>
            <pc:docMk/>
            <pc:sldMk cId="1734415321" sldId="2134804344"/>
            <ac:spMk id="40" creationId="{F9005A44-E530-4972-BBE0-B3ED015A6ED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26.426" v="17829" actId="12788"/>
          <ac:spMkLst>
            <pc:docMk/>
            <pc:sldMk cId="1734415321" sldId="2134804344"/>
            <ac:spMk id="41" creationId="{A6323A01-8860-4B1B-BDAF-6B75ABC06BE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4.194" v="17827" actId="12788"/>
          <ac:spMkLst>
            <pc:docMk/>
            <pc:sldMk cId="1734415321" sldId="2134804344"/>
            <ac:spMk id="42" creationId="{4101169F-B3FD-425D-90F0-D9CCBE1BF3D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40.635" v="17843" actId="1038"/>
          <ac:spMkLst>
            <pc:docMk/>
            <pc:sldMk cId="1734415321" sldId="2134804344"/>
            <ac:spMk id="43" creationId="{34452114-CA9E-44D1-9755-DF275F1BF2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26.426" v="17829" actId="12788"/>
          <ac:spMkLst>
            <pc:docMk/>
            <pc:sldMk cId="1734415321" sldId="2134804344"/>
            <ac:spMk id="45" creationId="{476FBBD3-1877-4B8E-A2BA-965C36FBD73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1:51.342" v="17581" actId="164"/>
          <ac:spMkLst>
            <pc:docMk/>
            <pc:sldMk cId="1734415321" sldId="2134804344"/>
            <ac:spMk id="46" creationId="{BA5C247C-3C05-46FC-95C2-E68EAA1029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7:52.057" v="17739" actId="20577"/>
          <ac:spMkLst>
            <pc:docMk/>
            <pc:sldMk cId="1734415321" sldId="2134804344"/>
            <ac:spMk id="47" creationId="{D222A558-E5A3-43A6-B640-1B3D767D7C7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48" creationId="{F926AC88-2103-4B74-A485-8F98AF37FAB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2:21.607" v="17594" actId="164"/>
          <ac:spMkLst>
            <pc:docMk/>
            <pc:sldMk cId="1734415321" sldId="2134804344"/>
            <ac:spMk id="51" creationId="{4BD00AB8-6F7E-42D4-B8A4-B81C5CA9035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8:22.638" v="17746" actId="20577"/>
          <ac:spMkLst>
            <pc:docMk/>
            <pc:sldMk cId="1734415321" sldId="2134804344"/>
            <ac:spMk id="52" creationId="{611E23A2-0A02-4674-AE45-5CFC346B830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4:53.283" v="17824" actId="554"/>
          <ac:spMkLst>
            <pc:docMk/>
            <pc:sldMk cId="1734415321" sldId="2134804344"/>
            <ac:spMk id="53" creationId="{436F7F2A-D56C-4686-B82F-7A2F944056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9.058" v="17828" actId="12788"/>
          <ac:spMkLst>
            <pc:docMk/>
            <pc:sldMk cId="1734415321" sldId="2134804344"/>
            <ac:spMk id="55" creationId="{1546B975-3205-4120-A98D-4F899F2673F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9.058" v="17828" actId="12788"/>
          <ac:spMkLst>
            <pc:docMk/>
            <pc:sldMk cId="1734415321" sldId="2134804344"/>
            <ac:spMk id="56" creationId="{82D32ECE-5CE8-4D30-8F1A-35940B0E5DD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26.426" v="17829" actId="12788"/>
          <ac:spMkLst>
            <pc:docMk/>
            <pc:sldMk cId="1734415321" sldId="2134804344"/>
            <ac:spMk id="57" creationId="{CFA918CB-0C7A-44FC-87D2-055F0DB1CDD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59:26.341" v="19889" actId="478"/>
          <ac:spMkLst>
            <pc:docMk/>
            <pc:sldMk cId="1734415321" sldId="2134804344"/>
            <ac:spMk id="58" creationId="{6E03E4D5-20E7-48D3-98B7-8550F62788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59" creationId="{B329FB9A-BB66-4CA1-9AB8-4B6B45E560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60" creationId="{FC98CCA7-DE6B-4116-84B8-A8982F08BE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0:30.694" v="17530" actId="14100"/>
          <ac:spMkLst>
            <pc:docMk/>
            <pc:sldMk cId="1734415321" sldId="2134804344"/>
            <ac:spMk id="62" creationId="{506BC446-5A02-4152-97D7-89C60F96855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6:18.150" v="17720" actId="20577"/>
          <ac:spMkLst>
            <pc:docMk/>
            <pc:sldMk cId="1734415321" sldId="2134804344"/>
            <ac:spMk id="63" creationId="{6D9EC6A6-1FA2-4F30-BA9C-2B821CC4A84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65" creationId="{E9C72F17-5D8F-41F6-8661-3E5DE2A9E04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66" creationId="{DB75697E-BD6D-4004-8F4B-2171046FC12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1:19.670" v="17562" actId="164"/>
          <ac:spMkLst>
            <pc:docMk/>
            <pc:sldMk cId="1734415321" sldId="2134804344"/>
            <ac:spMk id="67" creationId="{A77EC91D-C757-4362-A9C3-20B454FDE06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8:44.174" v="17748" actId="20577"/>
          <ac:spMkLst>
            <pc:docMk/>
            <pc:sldMk cId="1734415321" sldId="2134804344"/>
            <ac:spMk id="68" creationId="{EF92D747-175E-4B05-B6C3-800CF871AE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69" creationId="{42876D3F-F05B-4B3C-9DCB-629A3FE4113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70" creationId="{F9D75CA7-6C16-4058-92CF-BCCF9664CB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71" creationId="{63CA118B-4517-4A8E-85F9-65AF0995F5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14.358" v="17657" actId="14100"/>
          <ac:spMkLst>
            <pc:docMk/>
            <pc:sldMk cId="1734415321" sldId="2134804344"/>
            <ac:spMk id="72" creationId="{F0A9C2F1-1FA1-4C6D-980F-C42B048458E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18.269" v="17658" actId="1076"/>
          <ac:spMkLst>
            <pc:docMk/>
            <pc:sldMk cId="1734415321" sldId="2134804344"/>
            <ac:spMk id="73" creationId="{504B0AB9-46DB-479D-A0DE-430E1C84357C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8T01:14:00.303" v="17652" actId="21"/>
          <ac:spMkLst>
            <pc:docMk/>
            <pc:sldMk cId="1734415321" sldId="2134804344"/>
            <ac:spMk id="74" creationId="{823F8528-F51D-40E1-BBFF-56F5317E926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7:14.257" v="17727" actId="20577"/>
          <ac:spMkLst>
            <pc:docMk/>
            <pc:sldMk cId="1734415321" sldId="2134804344"/>
            <ac:spMk id="76" creationId="{6EFB90FC-5137-4335-BAA6-1A3BFA176C3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7:25.736" v="17731" actId="20577"/>
          <ac:spMkLst>
            <pc:docMk/>
            <pc:sldMk cId="1734415321" sldId="2134804344"/>
            <ac:spMk id="77" creationId="{F622E621-DEC2-4514-B5D9-8A187B645B0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9:53.088" v="17487" actId="164"/>
          <ac:spMkLst>
            <pc:docMk/>
            <pc:sldMk cId="1734415321" sldId="2134804344"/>
            <ac:spMk id="78" creationId="{257C9C2D-7860-44A8-95DB-27F452F82C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6:20.914" v="17721" actId="20577"/>
          <ac:spMkLst>
            <pc:docMk/>
            <pc:sldMk cId="1734415321" sldId="2134804344"/>
            <ac:spMk id="79" creationId="{2F67B6BF-C36B-40CA-9E2B-C013EE1EC19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07.023" v="17864" actId="1036"/>
          <ac:spMkLst>
            <pc:docMk/>
            <pc:sldMk cId="1734415321" sldId="2134804344"/>
            <ac:spMk id="81" creationId="{9EAEECC0-C607-4346-A4F1-115AAD4C76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07.023" v="17864" actId="1036"/>
          <ac:spMkLst>
            <pc:docMk/>
            <pc:sldMk cId="1734415321" sldId="2134804344"/>
            <ac:spMk id="82" creationId="{AE9FA5CC-5AF8-4A39-808A-A55759A1078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07.023" v="17864" actId="1036"/>
          <ac:spMkLst>
            <pc:docMk/>
            <pc:sldMk cId="1734415321" sldId="2134804344"/>
            <ac:spMk id="83" creationId="{697AE0C9-8E3D-47A0-B88B-51F62D5E5F8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5:56.261" v="17714" actId="14100"/>
          <ac:spMkLst>
            <pc:docMk/>
            <pc:sldMk cId="1734415321" sldId="2134804344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47.330" v="17848" actId="1036"/>
          <ac:spMkLst>
            <pc:docMk/>
            <pc:sldMk cId="1734415321" sldId="2134804344"/>
            <ac:spMk id="85" creationId="{0AEECF97-B04A-4741-8EAF-E1C19707EC7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5:54.278" v="17713" actId="14100"/>
          <ac:spMkLst>
            <pc:docMk/>
            <pc:sldMk cId="1734415321" sldId="2134804344"/>
            <ac:spMk id="86" creationId="{7696A978-4362-4DE3-8C58-0F58608C4AA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6:29.103" v="17344" actId="478"/>
          <ac:spMkLst>
            <pc:docMk/>
            <pc:sldMk cId="1734415321" sldId="2134804344"/>
            <ac:spMk id="87" creationId="{269CF6B1-0EA3-4FE9-9DEC-9330E4CB8B2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6:34.606" v="17347" actId="478"/>
          <ac:spMkLst>
            <pc:docMk/>
            <pc:sldMk cId="1734415321" sldId="2134804344"/>
            <ac:spMk id="89" creationId="{5465872D-E414-4B84-A080-1F2F5C27B615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8T01:14:00.303" v="17652" actId="21"/>
          <ac:spMkLst>
            <pc:docMk/>
            <pc:sldMk cId="1734415321" sldId="2134804344"/>
            <ac:spMk id="90" creationId="{B9160EF2-B7C0-4E67-93D1-72B561F4C52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6:26.954" v="17343"/>
          <ac:spMkLst>
            <pc:docMk/>
            <pc:sldMk cId="1734415321" sldId="2134804344"/>
            <ac:spMk id="91" creationId="{F9071948-6E83-4BD2-9DC7-5B467B91324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2:01.238" v="17583" actId="164"/>
          <ac:spMkLst>
            <pc:docMk/>
            <pc:sldMk cId="1734415321" sldId="2134804344"/>
            <ac:spMk id="92" creationId="{BA5DCEF1-A51C-4DC1-A9B1-7C59485A709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8:46.815" v="17750" actId="20577"/>
          <ac:spMkLst>
            <pc:docMk/>
            <pc:sldMk cId="1734415321" sldId="2134804344"/>
            <ac:spMk id="93" creationId="{25FE90EB-9812-4D21-B0BA-73B6896B2E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6:26.954" v="17343"/>
          <ac:spMkLst>
            <pc:docMk/>
            <pc:sldMk cId="1734415321" sldId="2134804344"/>
            <ac:spMk id="94" creationId="{0010AD8B-A5B4-4F43-81B9-230ED313298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6:33.384" v="17346"/>
          <ac:spMkLst>
            <pc:docMk/>
            <pc:sldMk cId="1734415321" sldId="2134804344"/>
            <ac:spMk id="96" creationId="{1C0906D1-BEBD-425A-9E41-4699D1A18D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4.194" v="17827" actId="12788"/>
          <ac:spMkLst>
            <pc:docMk/>
            <pc:sldMk cId="1734415321" sldId="2134804344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6:39.633" v="17350" actId="20577"/>
          <ac:spMkLst>
            <pc:docMk/>
            <pc:sldMk cId="1734415321" sldId="2134804344"/>
            <ac:spMk id="98" creationId="{B4B3726D-9921-4E69-9A4D-1E6B7DA440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30.025" v="17666" actId="1035"/>
          <ac:spMkLst>
            <pc:docMk/>
            <pc:sldMk cId="1734415321" sldId="2134804344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30.025" v="17666" actId="1035"/>
          <ac:spMkLst>
            <pc:docMk/>
            <pc:sldMk cId="1734415321" sldId="2134804344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30.025" v="17666" actId="1035"/>
          <ac:spMkLst>
            <pc:docMk/>
            <pc:sldMk cId="1734415321" sldId="2134804344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3:15.782" v="17640" actId="20577"/>
          <ac:spMkLst>
            <pc:docMk/>
            <pc:sldMk cId="1734415321" sldId="2134804344"/>
            <ac:spMk id="135" creationId="{C1823568-A421-4254-9106-BAEB76F16B72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28T01:15:50.354" v="17712" actId="1038"/>
          <ac:grpSpMkLst>
            <pc:docMk/>
            <pc:sldMk cId="1734415321" sldId="2134804344"/>
            <ac:grpSpMk id="6" creationId="{57633FC3-8ECB-41C1-ACEF-59A15EE6A029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5:50.354" v="17712" actId="1038"/>
          <ac:grpSpMkLst>
            <pc:docMk/>
            <pc:sldMk cId="1734415321" sldId="2134804344"/>
            <ac:grpSpMk id="7" creationId="{7089E4A7-F564-4BFC-BE70-0BCE0187790F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5:42.982" v="17700" actId="1038"/>
          <ac:grpSpMkLst>
            <pc:docMk/>
            <pc:sldMk cId="1734415321" sldId="2134804344"/>
            <ac:grpSpMk id="8" creationId="{B7E6EBFA-7B93-4A7B-8D4B-0FDC667C557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5:42.982" v="17700" actId="1038"/>
          <ac:grpSpMkLst>
            <pc:docMk/>
            <pc:sldMk cId="1734415321" sldId="2134804344"/>
            <ac:grpSpMk id="9" creationId="{A784003E-43C3-4425-8885-B764ECECF40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6:03.008" v="17716" actId="1037"/>
          <ac:grpSpMkLst>
            <pc:docMk/>
            <pc:sldMk cId="1734415321" sldId="2134804344"/>
            <ac:grpSpMk id="10" creationId="{CD3D57A0-B151-4451-AAF5-AB1985DBF547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6:03.008" v="17716" actId="1037"/>
          <ac:grpSpMkLst>
            <pc:docMk/>
            <pc:sldMk cId="1734415321" sldId="2134804344"/>
            <ac:grpSpMk id="13" creationId="{48CC5081-B4C2-4F95-8CDE-C807CEB67E2C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5:23.221" v="17687" actId="1076"/>
          <ac:grpSpMkLst>
            <pc:docMk/>
            <pc:sldMk cId="1734415321" sldId="2134804344"/>
            <ac:grpSpMk id="14" creationId="{B35D5631-62C0-44DA-BEB9-F6D1D4614CD6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16:03.008" v="17716" actId="1037"/>
          <ac:grpSpMkLst>
            <pc:docMk/>
            <pc:sldMk cId="1734415321" sldId="2134804344"/>
            <ac:grpSpMk id="26" creationId="{5B1CDA9C-37CE-441A-94E7-5A5F38503613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15:50.354" v="17712" actId="1038"/>
          <ac:grpSpMkLst>
            <pc:docMk/>
            <pc:sldMk cId="1734415321" sldId="2134804344"/>
            <ac:grpSpMk id="31" creationId="{A0B07E6C-42EA-42D4-BF18-74CF8467911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15:42.982" v="17700" actId="1038"/>
          <ac:grpSpMkLst>
            <pc:docMk/>
            <pc:sldMk cId="1734415321" sldId="2134804344"/>
            <ac:grpSpMk id="37" creationId="{33A4F641-6F0E-462A-898E-0641B151AA6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06:32.494" v="17345" actId="1076"/>
          <ac:grpSpMkLst>
            <pc:docMk/>
            <pc:sldMk cId="1734415321" sldId="2134804344"/>
            <ac:grpSpMk id="88" creationId="{F7EF4CD1-C03D-4025-9F1B-068CA3577EE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14:00.303" v="17652" actId="21"/>
          <ac:grpSpMkLst>
            <pc:docMk/>
            <pc:sldMk cId="1734415321" sldId="2134804344"/>
            <ac:grpSpMk id="95" creationId="{FCFBC193-8C8F-4667-9F2F-E3EEFA5C7FEA}"/>
          </ac:grpSpMkLst>
        </pc:grpChg>
      </pc:sldChg>
      <pc:sldChg chg="modSp mod ord">
        <pc:chgData name="Mariam Daniela Tristancho Pineda (MISION TEMPORAL LTDA)" userId="a45a17f7-7950-4cb5-bfab-f5c894f959a9" providerId="ADAL" clId="{9D150B60-33B5-4A3E-8123-A67E35AA8D44}" dt="2020-07-28T15:04:14.618" v="20014" actId="20577"/>
        <pc:sldMkLst>
          <pc:docMk/>
          <pc:sldMk cId="3642796184" sldId="2134804345"/>
        </pc:sldMkLst>
        <pc:spChg chg="mod">
          <ac:chgData name="Mariam Daniela Tristancho Pineda (MISION TEMPORAL LTDA)" userId="a45a17f7-7950-4cb5-bfab-f5c894f959a9" providerId="ADAL" clId="{9D150B60-33B5-4A3E-8123-A67E35AA8D44}" dt="2020-07-28T15:04:14.618" v="20014" actId="20577"/>
          <ac:spMkLst>
            <pc:docMk/>
            <pc:sldMk cId="3642796184" sldId="2134804345"/>
            <ac:spMk id="2" creationId="{6431BBCF-96E5-45A7-B7E5-D44090D06329}"/>
          </ac:spMkLst>
        </pc:sp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4:00.902" v="20010" actId="478"/>
        <pc:sldMkLst>
          <pc:docMk/>
          <pc:sldMk cId="330914068" sldId="2134804346"/>
        </pc:sldMkLst>
        <pc:spChg chg="mod">
          <ac:chgData name="Mariam Daniela Tristancho Pineda (MISION TEMPORAL LTDA)" userId="a45a17f7-7950-4cb5-bfab-f5c894f959a9" providerId="ADAL" clId="{9D150B60-33B5-4A3E-8123-A67E35AA8D44}" dt="2020-07-28T12:39:55.835" v="18324" actId="1036"/>
          <ac:spMkLst>
            <pc:docMk/>
            <pc:sldMk cId="330914068" sldId="2134804346"/>
            <ac:spMk id="3" creationId="{31514E04-D9F2-4C9D-BB7C-0BB641AFCD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9:41.690" v="18300" actId="478"/>
          <ac:spMkLst>
            <pc:docMk/>
            <pc:sldMk cId="330914068" sldId="2134804346"/>
            <ac:spMk id="4" creationId="{9B0CE30D-625A-4CD9-98D4-3AF33243D19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9:33.943" v="18298" actId="478"/>
          <ac:spMkLst>
            <pc:docMk/>
            <pc:sldMk cId="330914068" sldId="2134804346"/>
            <ac:spMk id="8" creationId="{4DEC050B-5478-40A6-96EA-C713E7B4F92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10" creationId="{810E18BD-2955-4DB2-AEDB-386E84418C6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25.971" v="18162" actId="478"/>
          <ac:spMkLst>
            <pc:docMk/>
            <pc:sldMk cId="330914068" sldId="2134804346"/>
            <ac:spMk id="11" creationId="{369347C8-E390-4234-A000-2BD5D7F47A0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55.835" v="18324" actId="1036"/>
          <ac:spMkLst>
            <pc:docMk/>
            <pc:sldMk cId="330914068" sldId="2134804346"/>
            <ac:spMk id="12" creationId="{96C9E76C-8C7F-489D-82CB-B2BD0385270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0.352" v="18177" actId="478"/>
          <ac:spMkLst>
            <pc:docMk/>
            <pc:sldMk cId="330914068" sldId="2134804346"/>
            <ac:spMk id="13" creationId="{3014ABA7-CFC8-4DE9-B63D-0E20E8E6D59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14" creationId="{CB6E902A-3037-4424-8244-1140BA28681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19.308" v="18158" actId="478"/>
          <ac:spMkLst>
            <pc:docMk/>
            <pc:sldMk cId="330914068" sldId="2134804346"/>
            <ac:spMk id="15" creationId="{2D957BE4-455A-4A77-BB3D-B544CDFE4CE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18.657" v="18157" actId="478"/>
          <ac:spMkLst>
            <pc:docMk/>
            <pc:sldMk cId="330914068" sldId="2134804346"/>
            <ac:spMk id="16" creationId="{39920083-3661-4B17-BD82-A7C567EAC10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5.357" v="18167" actId="478"/>
          <ac:spMkLst>
            <pc:docMk/>
            <pc:sldMk cId="330914068" sldId="2134804346"/>
            <ac:spMk id="17" creationId="{D90DAF45-BBA9-4FE0-889F-2B61DCDCAFD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08.818" v="18175" actId="478"/>
          <ac:spMkLst>
            <pc:docMk/>
            <pc:sldMk cId="330914068" sldId="2134804346"/>
            <ac:spMk id="18" creationId="{6B4295C0-BACB-421F-9250-D16FB2AE03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19" creationId="{CE9667FC-2EDF-4F30-B9FB-41AC4BCA57C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08.818" v="18175" actId="478"/>
          <ac:spMkLst>
            <pc:docMk/>
            <pc:sldMk cId="330914068" sldId="2134804346"/>
            <ac:spMk id="22" creationId="{3C9B90E0-D56E-406C-86C5-9047F0CF725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08.818" v="18175" actId="478"/>
          <ac:spMkLst>
            <pc:docMk/>
            <pc:sldMk cId="330914068" sldId="2134804346"/>
            <ac:spMk id="23" creationId="{DC7A8F7C-C0FB-409A-A2BF-E6C8DE621AB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18.490" v="18176" actId="478"/>
          <ac:spMkLst>
            <pc:docMk/>
            <pc:sldMk cId="330914068" sldId="2134804346"/>
            <ac:spMk id="24" creationId="{0F469F31-E58F-42FF-AC27-8A11BEC21E1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18.490" v="18176" actId="478"/>
          <ac:spMkLst>
            <pc:docMk/>
            <pc:sldMk cId="330914068" sldId="2134804346"/>
            <ac:spMk id="25" creationId="{BBAEF50B-2618-44D3-B61E-C295E72EF8E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18.490" v="18176" actId="478"/>
          <ac:spMkLst>
            <pc:docMk/>
            <pc:sldMk cId="330914068" sldId="2134804346"/>
            <ac:spMk id="26" creationId="{DB8C8FEE-D364-473B-990C-8D0B3A2AFE2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3.682" v="18180" actId="478"/>
          <ac:spMkLst>
            <pc:docMk/>
            <pc:sldMk cId="330914068" sldId="2134804346"/>
            <ac:spMk id="27" creationId="{FEFB62FD-9D39-4B50-AF59-543E1F673FE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0.352" v="18177" actId="478"/>
          <ac:spMkLst>
            <pc:docMk/>
            <pc:sldMk cId="330914068" sldId="2134804346"/>
            <ac:spMk id="28" creationId="{0CDAE9E7-CD85-4317-A660-8F35EC85969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9:42.587" v="18301" actId="478"/>
          <ac:spMkLst>
            <pc:docMk/>
            <pc:sldMk cId="330914068" sldId="2134804346"/>
            <ac:spMk id="29" creationId="{D3BCCD8F-3AD4-43D4-B822-044615DD1C54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8T12:37:59.145" v="18171" actId="22"/>
          <ac:spMkLst>
            <pc:docMk/>
            <pc:sldMk cId="330914068" sldId="2134804346"/>
            <ac:spMk id="30" creationId="{BA224E05-18FD-47CE-AFFE-FA7D80E5F099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12:37:05.351" v="18155" actId="164"/>
          <ac:spMkLst>
            <pc:docMk/>
            <pc:sldMk cId="330914068" sldId="2134804346"/>
            <ac:spMk id="31" creationId="{33815D25-A2E7-49EE-9E0D-F73DC7260CB1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12:40:06.190" v="18329" actId="14100"/>
          <ac:spMkLst>
            <pc:docMk/>
            <pc:sldMk cId="330914068" sldId="2134804346"/>
            <ac:spMk id="32" creationId="{9A29FA08-D6F1-4C83-8BD8-FB503F5B123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0.328" v="18166" actId="478"/>
          <ac:spMkLst>
            <pc:docMk/>
            <pc:sldMk cId="330914068" sldId="2134804346"/>
            <ac:spMk id="33" creationId="{257A51C8-EB6E-4CAA-8ED7-3E4E7C0B3A8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34" creationId="{8563ABA6-CB73-498B-A032-07417EFEC24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35" creationId="{261FE420-0646-42FB-B587-DEC51AE767F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25.413" v="18161" actId="478"/>
          <ac:spMkLst>
            <pc:docMk/>
            <pc:sldMk cId="330914068" sldId="2134804346"/>
            <ac:spMk id="36" creationId="{25CCB3F9-8A57-42B5-B0AC-56F5E0EDACF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0.328" v="18166" actId="478"/>
          <ac:spMkLst>
            <pc:docMk/>
            <pc:sldMk cId="330914068" sldId="2134804346"/>
            <ac:spMk id="37" creationId="{50BFBD21-058C-4134-A883-5F522F8B0B7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38" creationId="{21114744-B35E-4496-A372-911B2394576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08.818" v="18175" actId="478"/>
          <ac:spMkLst>
            <pc:docMk/>
            <pc:sldMk cId="330914068" sldId="2134804346"/>
            <ac:spMk id="40" creationId="{25EFF114-9C03-4A67-908C-727B85061D7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0.328" v="18166" actId="478"/>
          <ac:spMkLst>
            <pc:docMk/>
            <pc:sldMk cId="330914068" sldId="2134804346"/>
            <ac:spMk id="41" creationId="{F04142FF-DA42-4442-8692-4F397E7AEF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43" creationId="{EEC3A31D-356D-41DB-A156-97872532EB8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44" creationId="{4B1A9C8A-FFC0-483B-B825-ED5EF0C388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45" creationId="{8E8CD834-7B34-47C9-9BE7-09ECA14BFCE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47" creationId="{137B0C4F-8471-4337-954D-6AECA53DF9C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5.357" v="18167" actId="478"/>
          <ac:spMkLst>
            <pc:docMk/>
            <pc:sldMk cId="330914068" sldId="2134804346"/>
            <ac:spMk id="48" creationId="{35A19989-D8F4-434C-A107-FEE4491A62E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51" creationId="{C0A2318E-3E25-4819-8017-0D802266D8B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5.357" v="18167" actId="478"/>
          <ac:spMkLst>
            <pc:docMk/>
            <pc:sldMk cId="330914068" sldId="2134804346"/>
            <ac:spMk id="53" creationId="{86FB72C7-C1CA-4677-9B10-F459107B42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54" creationId="{18FCD16F-84E8-4671-A091-C0264D48052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58" creationId="{87C0C219-147A-4233-AEBD-D8B263DF29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61" creationId="{7C69D657-65A5-4E1B-8464-4A04E7AFC33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08.818" v="18175" actId="478"/>
          <ac:spMkLst>
            <pc:docMk/>
            <pc:sldMk cId="330914068" sldId="2134804346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63" creationId="{FDF3B75C-EF94-43C4-8C4C-4ECAB5FEA69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79" creationId="{7A485175-A5E8-48E7-8A26-808AC78F05F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86" creationId="{C0D8071E-E660-48AA-B1A5-D3608FE927E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3.068" v="18179" actId="478"/>
          <ac:spMkLst>
            <pc:docMk/>
            <pc:sldMk cId="330914068" sldId="2134804346"/>
            <ac:spMk id="87" creationId="{7CF57F42-1AA5-43FA-8A49-0BA5001C210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18.490" v="18176" actId="478"/>
          <ac:spMkLst>
            <pc:docMk/>
            <pc:sldMk cId="330914068" sldId="2134804346"/>
            <ac:spMk id="88" creationId="{25320169-DFF2-4A5A-BA08-D78D5F6600A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5.650" v="18181" actId="478"/>
          <ac:spMkLst>
            <pc:docMk/>
            <pc:sldMk cId="330914068" sldId="2134804346"/>
            <ac:spMk id="89" creationId="{F8119AC5-40E5-43CE-8080-3768092827D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1.690" v="18178" actId="478"/>
          <ac:spMkLst>
            <pc:docMk/>
            <pc:sldMk cId="330914068" sldId="2134804346"/>
            <ac:spMk id="92" creationId="{B7EA080A-EDD5-466D-9D38-95CA4EC3BCF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0.352" v="18177" actId="478"/>
          <ac:spMkLst>
            <pc:docMk/>
            <pc:sldMk cId="330914068" sldId="2134804346"/>
            <ac:spMk id="93" creationId="{8BB92AF4-BAC7-400A-9FE5-29EE61E1489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6.606" v="18182" actId="478"/>
          <ac:spMkLst>
            <pc:docMk/>
            <pc:sldMk cId="330914068" sldId="2134804346"/>
            <ac:spMk id="94" creationId="{00945104-3316-4EB6-B908-F5C147C17414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03" creationId="{7343743D-CA35-4478-B169-D2B5E17DFF4C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7:03.045" v="18154" actId="478"/>
          <ac:spMkLst>
            <pc:docMk/>
            <pc:sldMk cId="330914068" sldId="2134804346"/>
            <ac:spMk id="104" creationId="{3F3C693D-E21B-4B80-B7ED-F44D55754E96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06" creationId="{E035A392-D2FE-42ED-A77E-F790E9068ADC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07" creationId="{2E2D6748-9C7C-4727-AAF2-4ABB89A1052D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10" creationId="{EA8DE01B-9DBA-4FFD-8F33-5E3C211E0235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11" creationId="{0584C2A1-F208-4EF4-B35E-A13F567E7748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13" creationId="{68C79E44-944B-4ED7-B5A1-6558BBCE4EC6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14" creationId="{80BC0FD4-937D-475D-ABCF-698168B2BE8D}"/>
          </ac:spMkLst>
        </pc:spChg>
        <pc:grpChg chg="add del mod">
          <ac:chgData name="Mariam Daniela Tristancho Pineda (MISION TEMPORAL LTDA)" userId="a45a17f7-7950-4cb5-bfab-f5c894f959a9" providerId="ADAL" clId="{9D150B60-33B5-4A3E-8123-A67E35AA8D44}" dt="2020-07-28T15:04:00.902" v="20010" actId="478"/>
          <ac:grpSpMkLst>
            <pc:docMk/>
            <pc:sldMk cId="330914068" sldId="2134804346"/>
            <ac:grpSpMk id="7" creationId="{CBC4A3BB-AF6B-47DA-BF44-003B7C5150A1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8T12:36:57.184" v="18152" actId="165"/>
          <ac:grpSpMkLst>
            <pc:docMk/>
            <pc:sldMk cId="330914068" sldId="2134804346"/>
            <ac:grpSpMk id="50" creationId="{4253AEFC-C817-486B-9CB2-F7DEC0389719}"/>
          </ac:grpSpMkLst>
        </pc:grpChg>
        <pc:graphicFrameChg chg="mod modGraphic">
          <ac:chgData name="Mariam Daniela Tristancho Pineda (MISION TEMPORAL LTDA)" userId="a45a17f7-7950-4cb5-bfab-f5c894f959a9" providerId="ADAL" clId="{9D150B60-33B5-4A3E-8123-A67E35AA8D44}" dt="2020-07-28T12:39:55.835" v="18324" actId="1036"/>
          <ac:graphicFrameMkLst>
            <pc:docMk/>
            <pc:sldMk cId="330914068" sldId="2134804346"/>
            <ac:graphicFrameMk id="6" creationId="{55A3C4F2-9AF1-4081-BD13-26D94B00509A}"/>
          </ac:graphicFrameMkLst>
        </pc:graphicFrameChg>
        <pc:graphicFrameChg chg="mod modGraphic">
          <ac:chgData name="Mariam Daniela Tristancho Pineda (MISION TEMPORAL LTDA)" userId="a45a17f7-7950-4cb5-bfab-f5c894f959a9" providerId="ADAL" clId="{9D150B60-33B5-4A3E-8123-A67E35AA8D44}" dt="2020-07-28T15:03:54.650" v="20009" actId="207"/>
          <ac:graphicFrameMkLst>
            <pc:docMk/>
            <pc:sldMk cId="330914068" sldId="2134804346"/>
            <ac:graphicFrameMk id="9" creationId="{6080D7D3-5082-435E-BDF1-D2115CE124C8}"/>
          </ac:graphicFrameMkLst>
        </pc:graphicFrameChg>
        <pc:cxnChg chg="mod">
          <ac:chgData name="Mariam Daniela Tristancho Pineda (MISION TEMPORAL LTDA)" userId="a45a17f7-7950-4cb5-bfab-f5c894f959a9" providerId="ADAL" clId="{9D150B60-33B5-4A3E-8123-A67E35AA8D44}" dt="2020-07-28T12:39:14.420" v="18280" actId="1035"/>
          <ac:cxnSpMkLst>
            <pc:docMk/>
            <pc:sldMk cId="330914068" sldId="2134804346"/>
            <ac:cxnSpMk id="5" creationId="{017DAD00-B855-4E39-8DE1-7636A3DDFC9D}"/>
          </ac:cxnSpMkLst>
        </pc:cxn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2:27.406" v="19925"/>
        <pc:sldMkLst>
          <pc:docMk/>
          <pc:sldMk cId="3225245280" sldId="2134804347"/>
        </pc:sldMkLst>
        <pc:spChg chg="mod">
          <ac:chgData name="Mariam Daniela Tristancho Pineda (MISION TEMPORAL LTDA)" userId="a45a17f7-7950-4cb5-bfab-f5c894f959a9" providerId="ADAL" clId="{9D150B60-33B5-4A3E-8123-A67E35AA8D44}" dt="2020-07-28T13:19:01.819" v="18879" actId="1037"/>
          <ac:spMkLst>
            <pc:docMk/>
            <pc:sldMk cId="3225245280" sldId="2134804347"/>
            <ac:spMk id="3" creationId="{815B10B7-60B3-4C63-8431-70CC556387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6:58.208" v="19527" actId="1036"/>
          <ac:spMkLst>
            <pc:docMk/>
            <pc:sldMk cId="3225245280" sldId="2134804347"/>
            <ac:spMk id="6" creationId="{D96F8713-29A5-4310-8564-F011CFCB106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5:47.501" v="19496" actId="1076"/>
          <ac:spMkLst>
            <pc:docMk/>
            <pc:sldMk cId="3225245280" sldId="2134804347"/>
            <ac:spMk id="7" creationId="{6E720954-0AD5-4F0E-9897-4BDFCFA126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0:35.405" v="19046" actId="1038"/>
          <ac:spMkLst>
            <pc:docMk/>
            <pc:sldMk cId="3225245280" sldId="2134804347"/>
            <ac:spMk id="8" creationId="{2E27193E-8A49-44E9-91B8-50C765DA6D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9:28.484" v="18937" actId="1037"/>
          <ac:spMkLst>
            <pc:docMk/>
            <pc:sldMk cId="3225245280" sldId="2134804347"/>
            <ac:spMk id="9" creationId="{044EA7DA-DC7D-4022-9DEC-F3B676A6203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7:08.500" v="19540" actId="20577"/>
          <ac:spMkLst>
            <pc:docMk/>
            <pc:sldMk cId="3225245280" sldId="2134804347"/>
            <ac:spMk id="10" creationId="{1C27DADA-AD5A-4DFF-A22B-78E230D3896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0:07.707" v="18987" actId="14100"/>
          <ac:spMkLst>
            <pc:docMk/>
            <pc:sldMk cId="3225245280" sldId="2134804347"/>
            <ac:spMk id="11" creationId="{772CA61D-742C-45F0-BAFA-0F3B90176E9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3:20:50.746" v="19049" actId="554"/>
          <ac:spMkLst>
            <pc:docMk/>
            <pc:sldMk cId="3225245280" sldId="2134804347"/>
            <ac:spMk id="13" creationId="{8ED9F3B3-88F5-4631-8341-C7E55E17474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04:11.314" v="19263" actId="13926"/>
          <ac:spMkLst>
            <pc:docMk/>
            <pc:sldMk cId="3225245280" sldId="2134804347"/>
            <ac:spMk id="14" creationId="{6FCAE7F4-D309-4A31-A5D2-C6A035E0EF8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9:28.484" v="18937" actId="1037"/>
          <ac:spMkLst>
            <pc:docMk/>
            <pc:sldMk cId="3225245280" sldId="2134804347"/>
            <ac:spMk id="15" creationId="{EC155108-24C9-41BB-AFB7-1D8B4E0A383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7:40.367" v="18487" actId="478"/>
          <ac:spMkLst>
            <pc:docMk/>
            <pc:sldMk cId="3225245280" sldId="2134804347"/>
            <ac:spMk id="16" creationId="{E4BC2CA1-2901-471E-A924-486FA0786D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9:28.484" v="18937" actId="1037"/>
          <ac:spMkLst>
            <pc:docMk/>
            <pc:sldMk cId="3225245280" sldId="2134804347"/>
            <ac:spMk id="17" creationId="{5EAC5110-AE72-47ED-96D9-528A91DC595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6:15.044" v="19504" actId="14100"/>
          <ac:spMkLst>
            <pc:docMk/>
            <pc:sldMk cId="3225245280" sldId="2134804347"/>
            <ac:spMk id="18" creationId="{B9A102DE-B6E2-4A96-917C-4764462F2D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5:59.519" v="19501" actId="20577"/>
          <ac:spMkLst>
            <pc:docMk/>
            <pc:sldMk cId="3225245280" sldId="2134804347"/>
            <ac:spMk id="19" creationId="{70675E72-95A3-4317-B24A-EF51AC8AE23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57:04.421" v="18483" actId="164"/>
          <ac:spMkLst>
            <pc:docMk/>
            <pc:sldMk cId="3225245280" sldId="2134804347"/>
            <ac:spMk id="20" creationId="{20BC0A15-8BB2-4A73-AACE-152DCFD4B79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57:04.421" v="18483" actId="164"/>
          <ac:spMkLst>
            <pc:docMk/>
            <pc:sldMk cId="3225245280" sldId="2134804347"/>
            <ac:spMk id="21" creationId="{AE310491-94D8-4E81-86E4-E2BFF66ECB5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43:10.771" v="19151" actId="1036"/>
          <ac:spMkLst>
            <pc:docMk/>
            <pc:sldMk cId="3225245280" sldId="2134804347"/>
            <ac:spMk id="22" creationId="{53E538FE-3283-40FB-A5F0-3E57246B6EF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3:19:28.484" v="18937" actId="1037"/>
          <ac:spMkLst>
            <pc:docMk/>
            <pc:sldMk cId="3225245280" sldId="2134804347"/>
            <ac:spMk id="24" creationId="{0C96DED9-D235-406E-A2A1-79478F1C387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58:58.998" v="18491" actId="478"/>
          <ac:spMkLst>
            <pc:docMk/>
            <pc:sldMk cId="3225245280" sldId="2134804347"/>
            <ac:spMk id="25" creationId="{52F94A51-0420-4FE6-A012-EEC8917EB93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18.189" v="19505" actId="1076"/>
          <ac:spMkLst>
            <pc:docMk/>
            <pc:sldMk cId="3225245280" sldId="2134804347"/>
            <ac:spMk id="26" creationId="{75A6E1CB-F9BA-4F62-A008-32BA52F24F6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9:31.368" v="18938" actId="21"/>
          <ac:spMkLst>
            <pc:docMk/>
            <pc:sldMk cId="3225245280" sldId="2134804347"/>
            <ac:spMk id="27" creationId="{A4DDFDA4-5A6D-40C9-98EA-B84E216B483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9:31.368" v="18938" actId="21"/>
          <ac:spMkLst>
            <pc:docMk/>
            <pc:sldMk cId="3225245280" sldId="2134804347"/>
            <ac:spMk id="28" creationId="{87554E03-00FE-40DC-AC54-3C0758B2DF6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0:50.746" v="19049" actId="554"/>
          <ac:spMkLst>
            <pc:docMk/>
            <pc:sldMk cId="3225245280" sldId="2134804347"/>
            <ac:spMk id="29" creationId="{46F67329-EAA2-4B09-AD5B-91FE70391A8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51:49.326" v="19261" actId="20577"/>
          <ac:spMkLst>
            <pc:docMk/>
            <pc:sldMk cId="3225245280" sldId="2134804347"/>
            <ac:spMk id="30" creationId="{5BF08848-45AE-451C-A99D-7322CF79674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5:07.879" v="19487" actId="21"/>
          <ac:spMkLst>
            <pc:docMk/>
            <pc:sldMk cId="3225245280" sldId="2134804347"/>
            <ac:spMk id="31" creationId="{59428A1F-2041-4837-B423-F3FCFFBFFB8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5:07.879" v="19487" actId="21"/>
          <ac:spMkLst>
            <pc:docMk/>
            <pc:sldMk cId="3225245280" sldId="2134804347"/>
            <ac:spMk id="32" creationId="{AFA202D3-C782-408B-A77B-F62124D909A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9:31.368" v="18938" actId="21"/>
          <ac:spMkLst>
            <pc:docMk/>
            <pc:sldMk cId="3225245280" sldId="2134804347"/>
            <ac:spMk id="33" creationId="{0090E786-D587-490E-9185-AB0D1BBFF9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9:07.086" v="18886" actId="1037"/>
          <ac:spMkLst>
            <pc:docMk/>
            <pc:sldMk cId="3225245280" sldId="2134804347"/>
            <ac:spMk id="34" creationId="{2858742F-5FD0-4B7E-9334-0D1DB2CF52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0:50.746" v="19049" actId="554"/>
          <ac:spMkLst>
            <pc:docMk/>
            <pc:sldMk cId="3225245280" sldId="2134804347"/>
            <ac:spMk id="35" creationId="{5F2982C9-1317-4114-BC67-9EA6763899B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3:03.982" v="19702" actId="108"/>
          <ac:spMkLst>
            <pc:docMk/>
            <pc:sldMk cId="3225245280" sldId="2134804347"/>
            <ac:spMk id="36" creationId="{80930BAD-CC8E-47DD-9473-5B8864A2680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9:31.368" v="18938" actId="21"/>
          <ac:spMkLst>
            <pc:docMk/>
            <pc:sldMk cId="3225245280" sldId="2134804347"/>
            <ac:spMk id="37" creationId="{0B274EAC-9D93-466A-9A13-2E2430379FB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5:07.879" v="19487" actId="21"/>
          <ac:spMkLst>
            <pc:docMk/>
            <pc:sldMk cId="3225245280" sldId="2134804347"/>
            <ac:spMk id="38" creationId="{75342685-2A4E-43FF-A4A9-E917B76016F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4:01.398" v="19434" actId="22"/>
          <ac:spMkLst>
            <pc:docMk/>
            <pc:sldMk cId="3225245280" sldId="2134804347"/>
            <ac:spMk id="39" creationId="{D9F3AACB-9506-4875-A0E6-5704F22F1A8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7:11.165" v="19541" actId="20577"/>
          <ac:spMkLst>
            <pc:docMk/>
            <pc:sldMk cId="3225245280" sldId="2134804347"/>
            <ac:spMk id="40" creationId="{F9005A44-E530-4972-BBE0-B3ED015A6ED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0:42.219" v="19047" actId="408"/>
          <ac:spMkLst>
            <pc:docMk/>
            <pc:sldMk cId="3225245280" sldId="2134804347"/>
            <ac:spMk id="41" creationId="{A6323A01-8860-4B1B-BDAF-6B75ABC06BE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5:47.501" v="19496" actId="1076"/>
          <ac:spMkLst>
            <pc:docMk/>
            <pc:sldMk cId="3225245280" sldId="2134804347"/>
            <ac:spMk id="42" creationId="{4101169F-B3FD-425D-90F0-D9CCBE1BF3D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5:51.613" v="19499" actId="1037"/>
          <ac:spMkLst>
            <pc:docMk/>
            <pc:sldMk cId="3225245280" sldId="2134804347"/>
            <ac:spMk id="43" creationId="{34452114-CA9E-44D1-9755-DF275F1BF2A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4:01.398" v="19434" actId="22"/>
          <ac:spMkLst>
            <pc:docMk/>
            <pc:sldMk cId="3225245280" sldId="2134804347"/>
            <ac:spMk id="44" creationId="{FDC080F2-E0C4-46C8-B0F1-E40A6ADF49C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0:23:08.893" v="15999" actId="478"/>
          <ac:spMkLst>
            <pc:docMk/>
            <pc:sldMk cId="3225245280" sldId="2134804347"/>
            <ac:spMk id="45" creationId="{476FBBD3-1877-4B8E-A2BA-965C36FBD73D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4:20.012" v="19753" actId="208"/>
          <ac:spMkLst>
            <pc:docMk/>
            <pc:sldMk cId="3225245280" sldId="2134804347"/>
            <ac:spMk id="45" creationId="{9ACB673E-4A63-4F00-B5CB-5E9908EDEBD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4:20.012" v="19753" actId="208"/>
          <ac:spMkLst>
            <pc:docMk/>
            <pc:sldMk cId="3225245280" sldId="2134804347"/>
            <ac:spMk id="46" creationId="{E0149A14-BFC3-44E2-87D8-379AA9113E4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4:42.655" v="19448" actId="478"/>
          <ac:spMkLst>
            <pc:docMk/>
            <pc:sldMk cId="3225245280" sldId="2134804347"/>
            <ac:spMk id="47" creationId="{706064DC-282C-4055-970F-A86AEF6E294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7:01.090" v="19539" actId="1036"/>
          <ac:spMkLst>
            <pc:docMk/>
            <pc:sldMk cId="3225245280" sldId="2134804347"/>
            <ac:spMk id="48" creationId="{20CF924E-D349-40FC-ABAF-4BBC6F96F0A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spMkLst>
            <pc:docMk/>
            <pc:sldMk cId="3225245280" sldId="2134804347"/>
            <ac:spMk id="59" creationId="{4F121D26-3EB4-4AC9-9EFE-9ED26461767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spMkLst>
            <pc:docMk/>
            <pc:sldMk cId="3225245280" sldId="2134804347"/>
            <ac:spMk id="60" creationId="{4B121BD2-5F2B-45E0-8553-3A243EE5392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spMkLst>
            <pc:docMk/>
            <pc:sldMk cId="3225245280" sldId="2134804347"/>
            <ac:spMk id="61" creationId="{551A62B2-D8E7-4F76-A260-3ED66D28EE0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spMkLst>
            <pc:docMk/>
            <pc:sldMk cId="3225245280" sldId="2134804347"/>
            <ac:spMk id="62" creationId="{DCDA948A-130B-4620-8A79-27D9F3E9D58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spMkLst>
            <pc:docMk/>
            <pc:sldMk cId="3225245280" sldId="2134804347"/>
            <ac:spMk id="63" creationId="{2E5468AD-E56D-48B3-890D-8C791729CE6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65" creationId="{5482D2B6-E178-416C-84F7-64108F8A40B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49.080" v="18409" actId="6549"/>
          <ac:spMkLst>
            <pc:docMk/>
            <pc:sldMk cId="3225245280" sldId="2134804347"/>
            <ac:spMk id="66" creationId="{2132FA72-65F5-43A2-9B2E-5F978722074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68" creationId="{CD469040-BB79-4AEA-B275-4C4407C1E40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69" creationId="{46F502EF-0783-4A90-891E-639C7EB5F61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71" creationId="{1F005E05-288A-4F0D-AF73-ABEE4CEA22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6:29.282" v="18393" actId="1037"/>
          <ac:spMkLst>
            <pc:docMk/>
            <pc:sldMk cId="3225245280" sldId="2134804347"/>
            <ac:spMk id="72" creationId="{1E36FE8B-E6D8-49D8-A861-7D9766198F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74" creationId="{FFF36CE0-324C-4D44-B224-05ACFE31F9C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6:32.412" v="18396" actId="1038"/>
          <ac:spMkLst>
            <pc:docMk/>
            <pc:sldMk cId="3225245280" sldId="2134804347"/>
            <ac:spMk id="75" creationId="{A0683787-8C69-4305-A421-6B35609C9F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77" creationId="{F4F38F2B-AFC7-4BC1-950B-60A90BF78D0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78" creationId="{BC61775B-0DAD-4E13-904E-0FA157128E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80" creationId="{753A7416-75AB-4D5A-A084-AD8D12537E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03:51.688" v="18562" actId="1035"/>
          <ac:spMkLst>
            <pc:docMk/>
            <pc:sldMk cId="3225245280" sldId="2134804347"/>
            <ac:spMk id="81" creationId="{2275A485-153A-43E9-9576-22B39CD3AF7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83" creationId="{4F08461F-7E31-49C2-9D73-9A5E7B697A5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3:18.801" v="18423" actId="1038"/>
          <ac:spMkLst>
            <pc:docMk/>
            <pc:sldMk cId="3225245280" sldId="2134804347"/>
            <ac:spMk id="84" creationId="{260A21A7-D32F-42A6-BACF-A5360FDD58B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86" creationId="{83483AF0-63A2-4EA4-9762-17AB3C29158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87" creationId="{D8B08FCD-AC30-49A1-96D8-80DBC3DEFDC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89" creationId="{39BFF4BB-B10B-4B52-A4C7-D6DA06FE286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90" creationId="{2C039B59-C0A3-49BB-8E21-8DD52AF3E62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49:27.166" v="19194" actId="20577"/>
          <ac:spMkLst>
            <pc:docMk/>
            <pc:sldMk cId="3225245280" sldId="2134804347"/>
            <ac:spMk id="97" creationId="{99300021-C267-43BD-A0F5-B3ECE622345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02" creationId="{B96F32B9-C8DD-46F9-956E-8E03D52C0F4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03" creationId="{CFADED31-A026-4175-BA8F-E9EEDB61866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04" creationId="{45E4BA50-5C5C-49E7-B47A-4E288555721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05" creationId="{024AAB50-1106-4D17-A526-2466A739E54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06" creationId="{C860F367-548C-4F86-9F0E-099751FB538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22:36.484" v="15982" actId="20577"/>
          <ac:spMkLst>
            <pc:docMk/>
            <pc:sldMk cId="3225245280" sldId="2134804347"/>
            <ac:spMk id="109" creationId="{5EEADFA6-AC99-4B05-8F76-DB574E8A98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9:46.317" v="18010" actId="1036"/>
          <ac:spMkLst>
            <pc:docMk/>
            <pc:sldMk cId="3225245280" sldId="2134804347"/>
            <ac:spMk id="112" creationId="{DC56F305-D03F-48AC-AB08-56E07FD6331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16" creationId="{0D5C8E0C-75B1-4F60-978B-87BC75B4F73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0" creationId="{D377565B-0CDB-41A7-9B7E-6314304F4D8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1" creationId="{92658A65-3BF4-46B8-B66C-95A7D7D16E85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2" creationId="{8E1A3EA7-EB49-48D7-A032-F1442013F70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3" creationId="{24FAE5DC-7E4D-4DB7-ADC4-C3A74A096DF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4" creationId="{365BB008-880B-4CA6-8668-ADF51B0D342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5" creationId="{0210704A-0B63-43B8-B214-88F30F6F5A9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6" creationId="{1B625495-01EC-47BE-936D-FCB6474F12A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7" creationId="{50B7BAA7-A31D-437D-98EC-A2EEFCFA0EE0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8" creationId="{64673F48-F641-4C58-8C99-0D3B34C67D6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9" creationId="{99DDFE88-F4B6-4F2E-9670-B2764B91B97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30" creationId="{AA94FD5D-CEA8-40A7-8EAE-0C5655D9B18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spMkLst>
            <pc:docMk/>
            <pc:sldMk cId="3225245280" sldId="2134804347"/>
            <ac:spMk id="134" creationId="{4442C9A5-A733-471D-8F13-08ADD413B9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3:29.021" v="19725" actId="20577"/>
          <ac:spMkLst>
            <pc:docMk/>
            <pc:sldMk cId="3225245280" sldId="2134804347"/>
            <ac:spMk id="135" creationId="{C1823568-A421-4254-9106-BAEB76F16B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spMkLst>
            <pc:docMk/>
            <pc:sldMk cId="3225245280" sldId="2134804347"/>
            <ac:spMk id="136" creationId="{3E679F1B-F264-4A53-9627-51AF9A58E0A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spMkLst>
            <pc:docMk/>
            <pc:sldMk cId="3225245280" sldId="2134804347"/>
            <ac:spMk id="137" creationId="{730474FC-E2F9-4F74-B68F-DF4ADA249AB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spMkLst>
            <pc:docMk/>
            <pc:sldMk cId="3225245280" sldId="2134804347"/>
            <ac:spMk id="138" creationId="{14ECB9F5-C6EC-49AA-93E6-081670E9DB8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spMkLst>
            <pc:docMk/>
            <pc:sldMk cId="3225245280" sldId="2134804347"/>
            <ac:spMk id="139" creationId="{E6FA0830-AEFB-4202-9F4F-DDC9DDCEAA0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41" creationId="{A20D8D95-026E-42AC-952B-D531E19734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2:37.893" v="19697" actId="20577"/>
          <ac:spMkLst>
            <pc:docMk/>
            <pc:sldMk cId="3225245280" sldId="2134804347"/>
            <ac:spMk id="142" creationId="{C783885A-CB0A-4076-81E8-8B34A15F58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2:35.652" v="19693" actId="20577"/>
          <ac:spMkLst>
            <pc:docMk/>
            <pc:sldMk cId="3225245280" sldId="2134804347"/>
            <ac:spMk id="144" creationId="{B676753F-4D23-4F09-AE05-C30904D4C57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45" creationId="{27419505-AD42-47CC-A8E4-D14E83ED19E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47" creationId="{2A3A667C-331F-40EE-9A20-DE84C0A6019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2:24.626" v="19691" actId="6549"/>
          <ac:spMkLst>
            <pc:docMk/>
            <pc:sldMk cId="3225245280" sldId="2134804347"/>
            <ac:spMk id="148" creationId="{2F7C3792-AAD5-4C2A-9455-42AE7D53AB5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50" creationId="{4C4C71EB-C7C8-46B2-93B9-BB77F5FF43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50:19.943" v="19195" actId="20577"/>
          <ac:spMkLst>
            <pc:docMk/>
            <pc:sldMk cId="3225245280" sldId="2134804347"/>
            <ac:spMk id="151" creationId="{3FB1705B-8E5E-43E5-A072-3B508CFFF5C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53" creationId="{E81C83F1-A89C-44B5-A038-D448BBBE0F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1:46.896" v="19689" actId="20577"/>
          <ac:spMkLst>
            <pc:docMk/>
            <pc:sldMk cId="3225245280" sldId="2134804347"/>
            <ac:spMk id="154" creationId="{91AE69E5-1CE5-463E-A734-440EB07C71E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56" creationId="{B35B3620-B829-436E-B9EF-A404760000B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57" creationId="{C8E517A0-38F2-4455-8C4D-340F4880A9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59" creationId="{38CABC61-9D2E-4194-ABB0-6D34479EF16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60" creationId="{3072C5E4-3547-45EB-9BBF-354F4AB12A7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62" creationId="{2F14FB17-BECB-4B1B-8B21-2A1D4EE6E11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63" creationId="{C61A9C37-55DD-4C90-A9F7-B6E0FFF3F0E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65" creationId="{C8255FF3-D6FC-46C9-AE95-D66C4B74C3F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2:41.977" v="19701" actId="20577"/>
          <ac:spMkLst>
            <pc:docMk/>
            <pc:sldMk cId="3225245280" sldId="2134804347"/>
            <ac:spMk id="166" creationId="{9FDE8763-1403-4DA7-9E51-39BBD4CD3A5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68" creationId="{480BA5A4-2490-443D-99DF-A87C050AD8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1:19.884" v="19685" actId="20577"/>
          <ac:spMkLst>
            <pc:docMk/>
            <pc:sldMk cId="3225245280" sldId="2134804347"/>
            <ac:spMk id="169" creationId="{3627E2EC-EFA8-4377-BB00-3AB8FAD333E2}"/>
          </ac:spMkLst>
        </pc:spChg>
        <pc:grpChg chg="add del mod">
          <ac:chgData name="Mariam Daniela Tristancho Pineda (MISION TEMPORAL LTDA)" userId="a45a17f7-7950-4cb5-bfab-f5c894f959a9" providerId="ADAL" clId="{9D150B60-33B5-4A3E-8123-A67E35AA8D44}" dt="2020-07-28T13:10:04.747" v="18629" actId="478"/>
          <ac:grpSpMkLst>
            <pc:docMk/>
            <pc:sldMk cId="3225245280" sldId="2134804347"/>
            <ac:grpSpMk id="23" creationId="{D632FE50-4FD1-407A-957D-8D3A19C237A4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64" creationId="{16D0A230-E999-4BC3-91F2-9F0B4D360AA4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67" creationId="{8538D7F5-EA5A-4CF3-852F-4F0CB34B2B66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70" creationId="{EE36BC2A-C1DF-4BD7-8AE6-70A5F7A40C50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73" creationId="{7C8B27D7-4612-4A49-8825-A6379094BF26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76" creationId="{45E662E2-DADC-42C9-AAAE-3490D0CC9280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79" creationId="{2977CF4F-DA95-452D-A9F9-31E4F6F21F6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82" creationId="{7251B024-5D9B-4028-87FC-10D811FFEEC2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85" creationId="{DA556841-30ED-47E0-B342-FC01970D383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03.928" v="18401" actId="478"/>
          <ac:grpSpMkLst>
            <pc:docMk/>
            <pc:sldMk cId="3225245280" sldId="2134804347"/>
            <ac:grpSpMk id="88" creationId="{AB89121C-4379-470D-958C-21F39F86497D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grpSpMkLst>
            <pc:docMk/>
            <pc:sldMk cId="3225245280" sldId="2134804347"/>
            <ac:grpSpMk id="107" creationId="{FBAD03AC-C73E-4701-B989-793F8E1E9D2D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grpSpMkLst>
            <pc:docMk/>
            <pc:sldMk cId="3225245280" sldId="2134804347"/>
            <ac:grpSpMk id="110" creationId="{C4B98B9D-649B-4278-A04C-A7248F5B4966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grpSpMkLst>
            <pc:docMk/>
            <pc:sldMk cId="3225245280" sldId="2134804347"/>
            <ac:grpSpMk id="113" creationId="{0954B190-3C56-4795-8C1B-0587851BF8F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40" creationId="{1778203D-1CDF-4BBC-B19C-6A9DA9D69BE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43" creationId="{B27E5097-D998-4BDE-89CA-161A527A87C0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46" creationId="{2CA2D048-1963-4AF1-A71E-9C7566E1243D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49" creationId="{30016BC2-F5FC-41B1-8042-294B5ED710A9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52" creationId="{0C9E3AE5-4FE2-4EF4-9D3F-ECFA92247FBD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55" creationId="{AF0A7E91-D29C-4DC8-87E7-351583AC6A42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58" creationId="{18236BF5-121B-4103-92E9-4A1EA3D1F5F7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61" creationId="{7B0D0DED-F383-470F-96D9-C423BC826F3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64" creationId="{C681AC81-BC19-45C4-81AC-2BC618854FD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67" creationId="{F3C347DC-9AE7-44D9-A9B1-B67D2D0F7C03}"/>
          </ac:grpSpMkLst>
        </pc:grp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2:27.406" v="19925"/>
        <pc:sldMkLst>
          <pc:docMk/>
          <pc:sldMk cId="335391689" sldId="2134804348"/>
        </pc:sldMkLst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3" creationId="{815B10B7-60B3-4C63-8431-70CC556387C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6" creationId="{41FB5058-5D6D-4057-8091-3FEDAE9C7B2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7" creationId="{8B7F7536-70E5-4D84-B987-71AE1FD79A6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8" creationId="{2E27193E-8A49-44E9-91B8-50C765DA6D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9" creationId="{044EA7DA-DC7D-4022-9DEC-F3B676A6203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31.919" v="19880" actId="1038"/>
          <ac:spMkLst>
            <pc:docMk/>
            <pc:sldMk cId="335391689" sldId="2134804348"/>
            <ac:spMk id="10" creationId="{1C27DADA-AD5A-4DFF-A22B-78E230D3896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11" creationId="{772CA61D-742C-45F0-BAFA-0F3B90176E9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12" creationId="{7F3CEC4C-7588-4B74-823D-9CF22E2DAD7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13" creationId="{1D596647-3DA8-4B78-83AD-CC623C803E1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39:32.530" v="19383" actId="478"/>
          <ac:spMkLst>
            <pc:docMk/>
            <pc:sldMk cId="335391689" sldId="2134804348"/>
            <ac:spMk id="14" creationId="{6FCAE7F4-D309-4A31-A5D2-C6A035E0EF8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15" creationId="{EC155108-24C9-41BB-AFB7-1D8B4E0A383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04:01.285" v="18563" actId="478"/>
          <ac:spMkLst>
            <pc:docMk/>
            <pc:sldMk cId="335391689" sldId="2134804348"/>
            <ac:spMk id="16" creationId="{E4BC2CA1-2901-471E-A924-486FA0786DA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17" creationId="{495102E0-0B06-46DA-8B01-74CB2AE7392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18" creationId="{B9A102DE-B6E2-4A96-917C-4764462F2D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10.483" v="19825" actId="1037"/>
          <ac:spMkLst>
            <pc:docMk/>
            <pc:sldMk cId="335391689" sldId="2134804348"/>
            <ac:spMk id="19" creationId="{70675E72-95A3-4317-B24A-EF51AC8AE23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20" creationId="{571727EA-EA8A-4BD3-A5B4-4CB13C53C1D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21" creationId="{E2738FDF-0742-473E-B459-0FA49EB6468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6:33.610" v="19779" actId="1076"/>
          <ac:spMkLst>
            <pc:docMk/>
            <pc:sldMk cId="335391689" sldId="2134804348"/>
            <ac:spMk id="23" creationId="{5DB1FF86-7D4A-4D95-BFED-8DC3F579D0A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24" creationId="{B06F4D58-E17C-42FB-B07A-678C70465FC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25" creationId="{2E356564-3550-4800-944D-BEBA2884DF1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39:32.530" v="19383" actId="478"/>
          <ac:spMkLst>
            <pc:docMk/>
            <pc:sldMk cId="335391689" sldId="2134804348"/>
            <ac:spMk id="25" creationId="{2EB099B9-D1C2-4CB6-A432-6844337B3B0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38:24.429" v="19380" actId="478"/>
          <ac:spMkLst>
            <pc:docMk/>
            <pc:sldMk cId="335391689" sldId="2134804348"/>
            <ac:spMk id="26" creationId="{29930A4C-BF5B-439B-AFA4-026C2500A20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26" creationId="{617D6CD1-124E-4C15-A7E7-80D2412020E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27" creationId="{7776E912-DE06-47B0-8605-89EA6C171B15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8:31.919" v="19880" actId="1038"/>
          <ac:spMkLst>
            <pc:docMk/>
            <pc:sldMk cId="335391689" sldId="2134804348"/>
            <ac:spMk id="27" creationId="{7F32EAE5-7D23-41BF-B948-664D0797EFC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31.919" v="19880" actId="1038"/>
          <ac:spMkLst>
            <pc:docMk/>
            <pc:sldMk cId="335391689" sldId="2134804348"/>
            <ac:spMk id="28" creationId="{0A0468CC-6255-4B2C-9972-B59508A8160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28" creationId="{21D868A6-FE71-478B-8FD0-57CA5B91F75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01:22.051" v="18497" actId="478"/>
          <ac:spMkLst>
            <pc:docMk/>
            <pc:sldMk cId="335391689" sldId="2134804348"/>
            <ac:spMk id="29" creationId="{46F67329-EAA2-4B09-AD5B-91FE70391A81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30" creationId="{5BF08848-45AE-451C-A99D-7322CF79674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1" creationId="{8FC9BB00-75DF-48A3-9F2F-B00C04089B1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8:02.681" v="19820" actId="478"/>
          <ac:spMkLst>
            <pc:docMk/>
            <pc:sldMk cId="335391689" sldId="2134804348"/>
            <ac:spMk id="31" creationId="{B952288C-44E8-4F88-AC36-56C01FDA396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8:02.081" v="19819" actId="478"/>
          <ac:spMkLst>
            <pc:docMk/>
            <pc:sldMk cId="335391689" sldId="2134804348"/>
            <ac:spMk id="32" creationId="{ADDB0103-203D-4BF7-B5F6-AAD932084A7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2" creationId="{DA499184-DBD6-4E08-B1D0-F2F62150E2E4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8:34.420" v="19888" actId="1038"/>
          <ac:spMkLst>
            <pc:docMk/>
            <pc:sldMk cId="335391689" sldId="2134804348"/>
            <ac:spMk id="33" creationId="{930E8CEC-501E-450A-8333-EE9FBB1D92F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3" creationId="{BB0B2CF6-C366-401B-9566-C9A605ED742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7:24.794" v="19588" actId="1037"/>
          <ac:spMkLst>
            <pc:docMk/>
            <pc:sldMk cId="335391689" sldId="2134804348"/>
            <ac:spMk id="34" creationId="{2858742F-5FD0-4B7E-9334-0D1DB2CF525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5" creationId="{0E85A5F7-D781-4563-A3B3-313B070319D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34.420" v="19888" actId="1038"/>
          <ac:spMkLst>
            <pc:docMk/>
            <pc:sldMk cId="335391689" sldId="2134804348"/>
            <ac:spMk id="35" creationId="{370A0884-B0D9-4B7C-828E-66DA080283A1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8T14:58:29.400" v="19874" actId="1037"/>
          <ac:spMkLst>
            <pc:docMk/>
            <pc:sldMk cId="335391689" sldId="2134804348"/>
            <ac:spMk id="36" creationId="{80930BAD-CC8E-47DD-9473-5B8864A2680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7" creationId="{0D48E18A-A10E-4682-B14A-1326B0F0073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34.420" v="19888" actId="1038"/>
          <ac:spMkLst>
            <pc:docMk/>
            <pc:sldMk cId="335391689" sldId="2134804348"/>
            <ac:spMk id="37" creationId="{B42AA6ED-55EB-4C68-AB89-1C98B4667EE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8" creationId="{62C85554-BA76-486C-A762-2619103FEC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34.420" v="19888" actId="1038"/>
          <ac:spMkLst>
            <pc:docMk/>
            <pc:sldMk cId="335391689" sldId="2134804348"/>
            <ac:spMk id="38" creationId="{6F153D85-C1B3-4812-B661-65B2B287C92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39:32.530" v="19383" actId="478"/>
          <ac:spMkLst>
            <pc:docMk/>
            <pc:sldMk cId="335391689" sldId="2134804348"/>
            <ac:spMk id="39" creationId="{017CCD0D-A155-4639-88E9-52E70266C45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9" creationId="{1FFCCFD3-0CE2-4FB0-B843-11168206DF2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9.400" v="19874" actId="1037"/>
          <ac:spMkLst>
            <pc:docMk/>
            <pc:sldMk cId="335391689" sldId="2134804348"/>
            <ac:spMk id="40" creationId="{F9005A44-E530-4972-BBE0-B3ED015A6ED4}"/>
          </ac:spMkLst>
        </pc:spChg>
        <pc:spChg chg="del mod ord">
          <ac:chgData name="Mariam Daniela Tristancho Pineda (MISION TEMPORAL LTDA)" userId="a45a17f7-7950-4cb5-bfab-f5c894f959a9" providerId="ADAL" clId="{9D150B60-33B5-4A3E-8123-A67E35AA8D44}" dt="2020-07-28T14:56:51.499" v="19785" actId="478"/>
          <ac:spMkLst>
            <pc:docMk/>
            <pc:sldMk cId="335391689" sldId="2134804348"/>
            <ac:spMk id="41" creationId="{A6323A01-8860-4B1B-BDAF-6B75ABC06BE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44:51.995" v="19451" actId="478"/>
          <ac:spMkLst>
            <pc:docMk/>
            <pc:sldMk cId="335391689" sldId="2134804348"/>
            <ac:spMk id="42" creationId="{4101169F-B3FD-425D-90F0-D9CCBE1BF3D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44:51.995" v="19451" actId="478"/>
          <ac:spMkLst>
            <pc:docMk/>
            <pc:sldMk cId="335391689" sldId="2134804348"/>
            <ac:spMk id="43" creationId="{34452114-CA9E-44D1-9755-DF275F1BF2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44" creationId="{4EFA847F-1C48-4D9F-B34E-65102CE660F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45" creationId="{CA313353-BBC4-4C5B-B84F-DD1F14B4120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45" creationId="{FDAC7417-BED0-4FA7-A135-61AE3C3597AE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3:15.593" v="19703" actId="108"/>
          <ac:spMkLst>
            <pc:docMk/>
            <pc:sldMk cId="335391689" sldId="2134804348"/>
            <ac:spMk id="46" creationId="{51140379-3346-4002-94A5-9E19B087B3C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7:17.387" v="19542" actId="478"/>
          <ac:spMkLst>
            <pc:docMk/>
            <pc:sldMk cId="335391689" sldId="2134804348"/>
            <ac:spMk id="47" creationId="{F6D57CCE-3447-4D38-973C-E603993426F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9:58.987" v="19679" actId="555"/>
          <ac:spMkLst>
            <pc:docMk/>
            <pc:sldMk cId="335391689" sldId="2134804348"/>
            <ac:spMk id="48" creationId="{D4A054AF-B99F-463D-9AAF-BC2533A6EA5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16.140" v="19833" actId="1038"/>
          <ac:spMkLst>
            <pc:docMk/>
            <pc:sldMk cId="335391689" sldId="2134804348"/>
            <ac:spMk id="49" creationId="{BC0989A0-F438-469C-B078-7A0539BAE3C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16.140" v="19833" actId="1038"/>
          <ac:spMkLst>
            <pc:docMk/>
            <pc:sldMk cId="335391689" sldId="2134804348"/>
            <ac:spMk id="50" creationId="{06921F70-A23A-4234-AEF0-735C4590F31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29.400" v="19874" actId="1037"/>
          <ac:spMkLst>
            <pc:docMk/>
            <pc:sldMk cId="335391689" sldId="2134804348"/>
            <ac:spMk id="51" creationId="{A5998CEB-AC3A-43B3-8AFE-FC1F90E2C6A6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52" creationId="{D9D4C4FD-C516-42D8-9705-F75D5FE24DFE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53" creationId="{8593FFF2-44E4-496E-BE2E-AF43086D740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60" creationId="{590D738E-748E-456C-AEEB-CF74A81C8AA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49:26.001" v="19675" actId="478"/>
          <ac:spMkLst>
            <pc:docMk/>
            <pc:sldMk cId="335391689" sldId="2134804348"/>
            <ac:spMk id="62" creationId="{16213BFD-A1AA-459A-B882-81AFD08AECC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64" creationId="{DD46A893-847F-4C21-B3C9-CE11CD78666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7:24.794" v="19588" actId="1037"/>
          <ac:spMkLst>
            <pc:docMk/>
            <pc:sldMk cId="335391689" sldId="2134804348"/>
            <ac:spMk id="66" creationId="{85A29B39-6312-442A-AFE1-79138F45D0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68" creationId="{4EF4C980-19F2-4264-BE5C-AA28E61C726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69" creationId="{38D18292-C467-4CD3-890E-670905EDE7F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9.400" v="19874" actId="1037"/>
          <ac:spMkLst>
            <pc:docMk/>
            <pc:sldMk cId="335391689" sldId="2134804348"/>
            <ac:spMk id="70" creationId="{228128D6-7178-4610-A82E-598F630C4F9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44:51.995" v="19451" actId="478"/>
          <ac:spMkLst>
            <pc:docMk/>
            <pc:sldMk cId="335391689" sldId="2134804348"/>
            <ac:spMk id="72" creationId="{E6ACBC4D-0F52-4BE1-A867-525E7D03925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05.859" v="19821" actId="1076"/>
          <ac:spMkLst>
            <pc:docMk/>
            <pc:sldMk cId="335391689" sldId="2134804348"/>
            <ac:spMk id="73" creationId="{FD23D240-7BB7-4D74-9842-9A4BFE5CAB0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74" creationId="{D5140A26-6B24-4EF8-BA11-E02E558E160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05.859" v="19821" actId="1076"/>
          <ac:spMkLst>
            <pc:docMk/>
            <pc:sldMk cId="335391689" sldId="2134804348"/>
            <ac:spMk id="75" creationId="{EC5A3F27-F09F-406D-862F-A6BF15171850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44:51.995" v="19451" actId="478"/>
          <ac:spMkLst>
            <pc:docMk/>
            <pc:sldMk cId="335391689" sldId="2134804348"/>
            <ac:spMk id="78" creationId="{F460B3E9-213A-496A-8578-9190BAD544F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31.919" v="19880" actId="1038"/>
          <ac:spMkLst>
            <pc:docMk/>
            <pc:sldMk cId="335391689" sldId="2134804348"/>
            <ac:spMk id="80" creationId="{18FBBB80-789C-4617-A528-93CC43F5E85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spMkLst>
            <pc:docMk/>
            <pc:sldMk cId="335391689" sldId="2134804348"/>
            <ac:spMk id="81" creationId="{98415DFC-4EEE-4343-A501-7BB6E5370E5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10.483" v="19825" actId="1037"/>
          <ac:spMkLst>
            <pc:docMk/>
            <pc:sldMk cId="335391689" sldId="2134804348"/>
            <ac:spMk id="82" creationId="{3732F2E4-0A29-43A4-B01E-2185E895078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spMkLst>
            <pc:docMk/>
            <pc:sldMk cId="335391689" sldId="2134804348"/>
            <ac:spMk id="83" creationId="{DDE07833-7EEB-4C9D-B80C-D9402FC2C18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spMkLst>
            <pc:docMk/>
            <pc:sldMk cId="335391689" sldId="2134804348"/>
            <ac:spMk id="84" creationId="{F76D7A89-C0B1-4EC2-8002-2D2FCB04B24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spMkLst>
            <pc:docMk/>
            <pc:sldMk cId="335391689" sldId="2134804348"/>
            <ac:spMk id="85" creationId="{1CA8FABA-D6C2-427F-9C19-39B36EE0B23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spMkLst>
            <pc:docMk/>
            <pc:sldMk cId="335391689" sldId="2134804348"/>
            <ac:spMk id="86" creationId="{01C05179-B0E5-4703-88AB-C6926359DC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88" creationId="{7973398C-2C52-4B8D-8FCE-88F4A057538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89" creationId="{DA060B31-2B69-42B2-A9DF-8ADB3C8DD1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6:05" v="18856" actId="20577"/>
          <ac:spMkLst>
            <pc:docMk/>
            <pc:sldMk cId="335391689" sldId="2134804348"/>
            <ac:spMk id="90" creationId="{1D6CD451-4A5D-4CE1-84FD-F8737ED31C4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92" creationId="{FFD441DF-7C6A-48D7-996D-F60C3B04B45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20.172" v="18866" actId="20577"/>
          <ac:spMkLst>
            <pc:docMk/>
            <pc:sldMk cId="335391689" sldId="2134804348"/>
            <ac:spMk id="93" creationId="{35BCCC3F-B86F-4773-9F16-5345C74C6B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94" creationId="{4DE4A526-D337-4C45-B9BF-7953B17E4C8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95" creationId="{13F3A0C7-629F-471A-A627-90CADFF3E12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98" creationId="{DDA9CD45-1606-4AFF-8BD2-C5B6596D08C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99" creationId="{A0E6D9A8-A5AA-4DAA-845A-C7C34912520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9:15.540" v="18398" actId="478"/>
          <ac:spMkLst>
            <pc:docMk/>
            <pc:sldMk cId="335391689" sldId="2134804348"/>
            <ac:spMk id="100" creationId="{905942AB-5884-4A1A-AB62-3C01B5CEF50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02" creationId="{3D5F0861-6ED6-4AD5-A924-51683DD17E1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1:29.229" v="18655" actId="20577"/>
          <ac:spMkLst>
            <pc:docMk/>
            <pc:sldMk cId="335391689" sldId="2134804348"/>
            <ac:spMk id="103" creationId="{5AB2506A-4DDB-4C7E-969B-6E0BFA9BBC7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05" creationId="{554398F1-A08A-456B-887B-DCC75A85645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06" creationId="{DE0C37B6-245A-4791-BE76-B088CDA1627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08" creationId="{5327C6DF-5D13-49C3-9052-8BC2A3F50BC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03:43.567" v="18533" actId="1035"/>
          <ac:spMkLst>
            <pc:docMk/>
            <pc:sldMk cId="335391689" sldId="2134804348"/>
            <ac:spMk id="109" creationId="{967BC089-2D5F-4761-BEEE-D7145F5A8A7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11" creationId="{3EBDF276-DF4A-4AF1-8A4C-02375AAC7C7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12" creationId="{FBF30C4A-95D7-4267-9A4F-CC762D5116A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14" creationId="{C2B30A16-81FC-45D7-A48E-2893919C76F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7:03.163" v="18864" actId="20577"/>
          <ac:spMkLst>
            <pc:docMk/>
            <pc:sldMk cId="335391689" sldId="2134804348"/>
            <ac:spMk id="115" creationId="{DB30841A-2BC3-4CC5-89B7-A8CEB23DA6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01:15.427" v="18494"/>
          <ac:spMkLst>
            <pc:docMk/>
            <pc:sldMk cId="335391689" sldId="2134804348"/>
            <ac:spMk id="117" creationId="{1C57C135-BFCA-48C3-BB18-685939FCFB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46.462" v="18868" actId="20577"/>
          <ac:spMkLst>
            <pc:docMk/>
            <pc:sldMk cId="335391689" sldId="2134804348"/>
            <ac:spMk id="118" creationId="{707FAA41-B3E4-4D1A-AEB3-9421ED45AAE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04:42.060" v="18608" actId="208"/>
          <ac:spMkLst>
            <pc:docMk/>
            <pc:sldMk cId="335391689" sldId="2134804348"/>
            <ac:spMk id="121" creationId="{ACE1D9F7-2DBC-40D9-B048-9167C076480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1:24.454" v="18653" actId="20577"/>
          <ac:spMkLst>
            <pc:docMk/>
            <pc:sldMk cId="335391689" sldId="2134804348"/>
            <ac:spMk id="122" creationId="{34D692E1-2086-4D3B-950B-F62D17492DA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3:44.916" v="19747" actId="20577"/>
          <ac:spMkLst>
            <pc:docMk/>
            <pc:sldMk cId="335391689" sldId="2134804348"/>
            <ac:spMk id="135" creationId="{C1823568-A421-4254-9106-BAEB76F16B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25:28.866" v="16071" actId="571"/>
          <ac:spMkLst>
            <pc:docMk/>
            <pc:sldMk cId="335391689" sldId="2134804348"/>
            <ac:spMk id="139" creationId="{F603CECA-D54C-4CAE-AE5F-78300BE8E0A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25:28.866" v="16071" actId="571"/>
          <ac:spMkLst>
            <pc:docMk/>
            <pc:sldMk cId="335391689" sldId="2134804348"/>
            <ac:spMk id="140" creationId="{753907B7-DEC6-40C2-B3C1-ABAF491781A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25:28.866" v="16071" actId="571"/>
          <ac:spMkLst>
            <pc:docMk/>
            <pc:sldMk cId="335391689" sldId="2134804348"/>
            <ac:spMk id="141" creationId="{DA70DB6B-39E6-40DA-ABEC-B244891F2DB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spMkLst>
            <pc:docMk/>
            <pc:sldMk cId="335391689" sldId="2134804348"/>
            <ac:spMk id="142" creationId="{BDF37C52-9C1C-4F83-B8FB-76134C7C7B0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spMkLst>
            <pc:docMk/>
            <pc:sldMk cId="335391689" sldId="2134804348"/>
            <ac:spMk id="143" creationId="{75BF113A-B173-43E6-AB59-728B19D83B1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spMkLst>
            <pc:docMk/>
            <pc:sldMk cId="335391689" sldId="2134804348"/>
            <ac:spMk id="144" creationId="{D45BA3E3-D9D4-4299-8DBC-72D669CAAC6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spMkLst>
            <pc:docMk/>
            <pc:sldMk cId="335391689" sldId="2134804348"/>
            <ac:spMk id="145" creationId="{9546A2A0-61D7-4595-B686-0F0FC288D30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spMkLst>
            <pc:docMk/>
            <pc:sldMk cId="335391689" sldId="2134804348"/>
            <ac:spMk id="146" creationId="{EC2DCA10-B285-49CB-A6D9-2F7543C92B4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30:04.932" v="18019"/>
          <ac:spMkLst>
            <pc:docMk/>
            <pc:sldMk cId="335391689" sldId="2134804348"/>
            <ac:spMk id="148" creationId="{ADB39B24-A596-4D15-91FA-C14A2D65DF7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30:04.932" v="18019"/>
          <ac:spMkLst>
            <pc:docMk/>
            <pc:sldMk cId="335391689" sldId="2134804348"/>
            <ac:spMk id="149" creationId="{27366938-51EE-4674-B1A5-411B2B32F81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30:04.932" v="18019"/>
          <ac:spMkLst>
            <pc:docMk/>
            <pc:sldMk cId="335391689" sldId="2134804348"/>
            <ac:spMk id="151" creationId="{30DFACE3-4090-4333-AF9A-6556D751518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30:04.932" v="18019"/>
          <ac:spMkLst>
            <pc:docMk/>
            <pc:sldMk cId="335391689" sldId="2134804348"/>
            <ac:spMk id="152" creationId="{00893CDA-6CCA-4C10-B592-0B0B2FBBCDE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30:04.932" v="18019"/>
          <ac:spMkLst>
            <pc:docMk/>
            <pc:sldMk cId="335391689" sldId="2134804348"/>
            <ac:spMk id="154" creationId="{916EBA7F-97A5-4C86-A045-C0018726F3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43.464" v="18363" actId="1035"/>
          <ac:spMkLst>
            <pc:docMk/>
            <pc:sldMk cId="335391689" sldId="2134804348"/>
            <ac:spMk id="155" creationId="{89CD8D39-9BFD-4B29-9E78-866A2D8BCED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32.198" v="18342" actId="164"/>
          <ac:spMkLst>
            <pc:docMk/>
            <pc:sldMk cId="335391689" sldId="2134804348"/>
            <ac:spMk id="156" creationId="{8E600CA1-F563-444B-A510-E812CF42972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32.198" v="18342" actId="164"/>
          <ac:spMkLst>
            <pc:docMk/>
            <pc:sldMk cId="335391689" sldId="2134804348"/>
            <ac:spMk id="157" creationId="{3C77890E-EBE3-4B3C-947C-AFB66F81141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2:08.277" v="18351" actId="164"/>
          <ac:spMkLst>
            <pc:docMk/>
            <pc:sldMk cId="335391689" sldId="2134804348"/>
            <ac:spMk id="158" creationId="{B82D5867-547B-4903-8940-0ABC6A3EA7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2:08.277" v="18351" actId="164"/>
          <ac:spMkLst>
            <pc:docMk/>
            <pc:sldMk cId="335391689" sldId="2134804348"/>
            <ac:spMk id="159" creationId="{B792A217-993F-480D-B770-DFBE598F1D3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2:31.894" v="18357" actId="164"/>
          <ac:spMkLst>
            <pc:docMk/>
            <pc:sldMk cId="335391689" sldId="2134804348"/>
            <ac:spMk id="160" creationId="{0CA21356-DD8A-44C7-8C43-4123306BA0E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2:31.894" v="18357" actId="164"/>
          <ac:spMkLst>
            <pc:docMk/>
            <pc:sldMk cId="335391689" sldId="2134804348"/>
            <ac:spMk id="161" creationId="{9EC624E5-993A-45F7-9393-D68277528E0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49.103" v="18346" actId="164"/>
          <ac:spMkLst>
            <pc:docMk/>
            <pc:sldMk cId="335391689" sldId="2134804348"/>
            <ac:spMk id="162" creationId="{E069B6A8-C97A-4D26-B707-B67E19175D9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49.103" v="18346" actId="164"/>
          <ac:spMkLst>
            <pc:docMk/>
            <pc:sldMk cId="335391689" sldId="2134804348"/>
            <ac:spMk id="163" creationId="{A5F6193C-D7F3-4F8B-8F8F-C6B97F6971A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40.110" v="18344" actId="164"/>
          <ac:spMkLst>
            <pc:docMk/>
            <pc:sldMk cId="335391689" sldId="2134804348"/>
            <ac:spMk id="164" creationId="{28BFFFFE-BFDE-4EB8-BACB-A3B18486277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40.110" v="18344" actId="164"/>
          <ac:spMkLst>
            <pc:docMk/>
            <pc:sldMk cId="335391689" sldId="2134804348"/>
            <ac:spMk id="165" creationId="{B37F180C-098F-4F95-9169-E7E62BF978C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54.941" v="18348" actId="164"/>
          <ac:spMkLst>
            <pc:docMk/>
            <pc:sldMk cId="335391689" sldId="2134804348"/>
            <ac:spMk id="166" creationId="{7DA7C8B5-3AF2-44D0-8825-B0348291320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54.941" v="18348" actId="164"/>
          <ac:spMkLst>
            <pc:docMk/>
            <pc:sldMk cId="335391689" sldId="2134804348"/>
            <ac:spMk id="167" creationId="{62CDAA3D-C687-48E7-A3B2-98DFAA8D13C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73" creationId="{A59E9B9B-6E55-43A6-816F-4A687713566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7:31.329" v="19801" actId="20577"/>
          <ac:spMkLst>
            <pc:docMk/>
            <pc:sldMk cId="335391689" sldId="2134804348"/>
            <ac:spMk id="174" creationId="{B6E88447-75F0-4EE2-B00C-59DD503751A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75" creationId="{B392BBA3-5A1B-4056-A99C-159F53CB849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76" creationId="{A04628AA-53DA-4B65-A25A-80441B5234D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77" creationId="{2E125876-499F-4500-8332-59B11A9D359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79" creationId="{A5770874-544B-4FED-9363-660522118A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0" creationId="{0ED8D42C-3267-40C3-80DF-AB88BB7326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2" creationId="{45CA3AAF-DB9C-4655-8F86-37142F0D9FA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3" creationId="{7DDD00D3-557D-4C2B-92D4-D76A9CB061D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5" creationId="{784B555C-D7A6-44E6-98C8-944AF02337C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6" creationId="{8E7119C3-0FC6-4A7F-9BA5-29A21E43C7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8" creationId="{6E1707E5-8EB6-4FDF-9FA3-58202AB3CC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9" creationId="{9EE28E74-AD85-4938-B864-ABBB9E2D68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1" creationId="{3619EF1A-08C3-4B42-9DB7-0325C584737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2" creationId="{61662BD8-916E-4113-8905-F43E83C2DE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4" creationId="{69360A7B-FAC4-41D8-926A-FB82B4F6B4E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5" creationId="{26D773CF-9B01-4D8C-94CF-1F8318FC8C1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7" creationId="{6B595585-330D-4099-B080-352799E646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8" creationId="{46EFEEBF-1B85-4856-BF36-34D82FD3EA0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0" creationId="{C00FBD88-F810-4811-8D5C-6137DB74731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1" creationId="{3CE6E4E9-4649-4273-903B-17EF0D1376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3" creationId="{FF0856CC-16D7-47D8-98DA-7EC5E9B7DA5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4" creationId="{B2B089ED-E6C9-41D7-919E-DFF6983DD07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6" creationId="{A7AB1F47-BC50-4B8C-A799-E696CCE5942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7" creationId="{05EA9AD6-56B8-48FB-8910-F838E5F7DCD5}"/>
          </ac:spMkLst>
        </pc:s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6" creationId="{08A6D12E-52CA-42FC-8BFB-5A03AA6AAE38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7" creationId="{30AED380-EE4E-4668-AE1C-503791F86AE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13" creationId="{9236D9E6-DFD7-4578-B4EA-574E77D4D336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49:13.912" v="18397" actId="478"/>
          <ac:grpSpMkLst>
            <pc:docMk/>
            <pc:sldMk cId="335391689" sldId="2134804348"/>
            <ac:grpSpMk id="17" creationId="{9AE9BB67-BA6C-4254-B955-2DC7E7A12D8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20" creationId="{1E2B41E7-ED3C-4FB5-8C99-8029C0151E52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22" creationId="{00AE900D-F4B7-4F3B-88B2-50DABA95D875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grpSpMkLst>
            <pc:docMk/>
            <pc:sldMk cId="335391689" sldId="2134804348"/>
            <ac:grpSpMk id="22" creationId="{72FAFFCB-F63F-4304-AE13-F0D0DD223DDC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grpSpMkLst>
            <pc:docMk/>
            <pc:sldMk cId="335391689" sldId="2134804348"/>
            <ac:grpSpMk id="23" creationId="{FB9D6B12-95DF-4BC6-8C69-5BE27394DB2C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grpSpMkLst>
            <pc:docMk/>
            <pc:sldMk cId="335391689" sldId="2134804348"/>
            <ac:grpSpMk id="24" creationId="{F1FBEC39-EF79-4055-816C-BEB159C468C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87" creationId="{C993AED2-5944-47B6-9765-318071845C6F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91" creationId="{E2682DE0-4D9C-46FB-A07B-447F7BCA3E1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96" creationId="{5B2CE460-DEF6-480F-96A9-BDCEA6789B77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01" creationId="{6D4054E7-44F1-41CF-9A1D-16830446B187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04" creationId="{4AEE7B5A-2FCB-4AD5-BB8E-A078CA61F3B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07" creationId="{643E8E70-596E-4D11-9D76-39C6B321BE6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10" creationId="{C5D2CD2F-DF7C-4E79-8765-FC953ACE739D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13" creationId="{85EF45F9-A1E0-4EFF-8CDD-1FD0EBBD58A7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16" creationId="{25B620D1-90C4-4D1A-8C70-324D376F4896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20" creationId="{1A549F64-953D-40EA-9E0E-D0DA077D4F9F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147" creationId="{8E62CF16-9A48-4946-9753-97422E8EDFD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150" creationId="{7F43EA77-C58C-45EA-923E-66390828359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153" creationId="{F12086D2-036B-4F51-A875-A97606D381C0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78" creationId="{AB40EB61-E9B4-4B33-9F05-E96C6A61939D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81" creationId="{62E8C510-673D-4909-AE2E-5A0FB8872DD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84" creationId="{884E2EF6-A695-4099-A2B6-0F9547F822CE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87" creationId="{DCDAF61C-0635-4BC1-A730-863B28E19F9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90" creationId="{981B98F0-CA0A-43A1-83BA-CF10C39FD866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93" creationId="{19993FF3-042F-44D4-94B1-522465835A98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96" creationId="{6BC4BE6A-330A-4333-9513-D80FD514C41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99" creationId="{0DA33037-BC53-4E89-89A8-4E4008E6F02B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202" creationId="{0D6396ED-3E1C-4D30-927C-4166E966535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205" creationId="{7F51F9D1-2BEA-4F61-8537-0FBC2725E248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20:54:38.125" v="20221" actId="14100"/>
        <pc:sldMkLst>
          <pc:docMk/>
          <pc:sldMk cId="1733347535" sldId="2134804349"/>
        </pc:sldMkLst>
        <pc:spChg chg="mod">
          <ac:chgData name="Mariam Daniela Tristancho Pineda (MISION TEMPORAL LTDA)" userId="a45a17f7-7950-4cb5-bfab-f5c894f959a9" providerId="ADAL" clId="{9D150B60-33B5-4A3E-8123-A67E35AA8D44}" dt="2020-07-28T20:50:50.489" v="20104" actId="1038"/>
          <ac:spMkLst>
            <pc:docMk/>
            <pc:sldMk cId="1733347535" sldId="2134804349"/>
            <ac:spMk id="3" creationId="{DDD289A7-0369-45FE-98EE-B73187DDD6B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55.871" v="20109" actId="1035"/>
          <ac:spMkLst>
            <pc:docMk/>
            <pc:sldMk cId="1733347535" sldId="2134804349"/>
            <ac:spMk id="8" creationId="{0C366AD2-426E-4B9E-9347-2E20FFA2E6E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15" creationId="{F5F6020F-918E-4261-B79A-8D7C5966BB0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16" creationId="{ECDAB3D1-5BE4-45F7-BE33-9D8F6035295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35.767" v="14558" actId="478"/>
          <ac:spMkLst>
            <pc:docMk/>
            <pc:sldMk cId="1733347535" sldId="2134804349"/>
            <ac:spMk id="17" creationId="{27EF5D95-3B07-44E6-B011-1AC68AA3644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19" creationId="{F04331EA-3C34-4632-A33B-964C955FEA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1:48.333" v="15719" actId="20577"/>
          <ac:spMkLst>
            <pc:docMk/>
            <pc:sldMk cId="1733347535" sldId="2134804349"/>
            <ac:spMk id="20" creationId="{61B4F436-B882-46F2-9213-21298E84A78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1" creationId="{D56367BF-110C-466E-A427-18C278C7827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3" creationId="{53BFD633-DD81-4820-8BB0-84F3F711C50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05:13.143" v="15545" actId="20577"/>
          <ac:spMkLst>
            <pc:docMk/>
            <pc:sldMk cId="1733347535" sldId="2134804349"/>
            <ac:spMk id="27" creationId="{910DCB24-1C9B-45BE-9592-B8EC86E558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50.489" v="20104" actId="1038"/>
          <ac:spMkLst>
            <pc:docMk/>
            <pc:sldMk cId="1733347535" sldId="2134804349"/>
            <ac:spMk id="30" creationId="{5F7E5016-DD23-4661-804E-B6C4BAE33B3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07:10.391" v="15582" actId="20577"/>
          <ac:spMkLst>
            <pc:docMk/>
            <pc:sldMk cId="1733347535" sldId="2134804349"/>
            <ac:spMk id="33" creationId="{99A98136-5ADE-4ACF-97B1-9869591C874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50.489" v="20104" actId="1038"/>
          <ac:spMkLst>
            <pc:docMk/>
            <pc:sldMk cId="1733347535" sldId="2134804349"/>
            <ac:spMk id="35" creationId="{DFED8390-B0BE-47C4-A314-7B9F72D0F9E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50.489" v="20104" actId="1038"/>
          <ac:spMkLst>
            <pc:docMk/>
            <pc:sldMk cId="1733347535" sldId="2134804349"/>
            <ac:spMk id="36" creationId="{EDA60A94-0872-407F-85FC-F3F9C3EF25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54:54.911" v="15421" actId="1038"/>
          <ac:spMkLst>
            <pc:docMk/>
            <pc:sldMk cId="1733347535" sldId="2134804349"/>
            <ac:spMk id="39" creationId="{5FAD9D39-0163-48A2-AB90-B7B2E4C2CC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45:17.889" v="15225" actId="1038"/>
          <ac:spMkLst>
            <pc:docMk/>
            <pc:sldMk cId="1733347535" sldId="2134804349"/>
            <ac:spMk id="41" creationId="{064F22B7-719F-4DB7-AE4F-0C24E6C6F36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45:26.723" v="15229" actId="1038"/>
          <ac:spMkLst>
            <pc:docMk/>
            <pc:sldMk cId="1733347535" sldId="2134804349"/>
            <ac:spMk id="44" creationId="{46E9D7FD-BF26-46B8-B7E3-9CB37E4D07A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54:45.097" v="15411" actId="1037"/>
          <ac:spMkLst>
            <pc:docMk/>
            <pc:sldMk cId="1733347535" sldId="2134804349"/>
            <ac:spMk id="47" creationId="{EFA49506-2534-42A7-80DC-155A5CF0A7F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41.319" v="20151" actId="1038"/>
          <ac:spMkLst>
            <pc:docMk/>
            <pc:sldMk cId="1733347535" sldId="2134804349"/>
            <ac:spMk id="49" creationId="{5A708229-9B28-490D-903F-5AB937B8DCC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3:04.410" v="20183" actId="1036"/>
          <ac:spMkLst>
            <pc:docMk/>
            <pc:sldMk cId="1733347535" sldId="2134804349"/>
            <ac:spMk id="51" creationId="{350F2DB1-0F66-4C61-809B-C437241509A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3:02.265" v="20176" actId="1036"/>
          <ac:spMkLst>
            <pc:docMk/>
            <pc:sldMk cId="1733347535" sldId="2134804349"/>
            <ac:spMk id="52" creationId="{4407EECE-98B4-40AB-96BB-77D7A61DA8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3:00.511" v="20169" actId="1036"/>
          <ac:spMkLst>
            <pc:docMk/>
            <pc:sldMk cId="1733347535" sldId="2134804349"/>
            <ac:spMk id="54" creationId="{1DF61A54-2AFD-421C-81E7-70B64E75F3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06:40.816" v="15572" actId="20577"/>
          <ac:spMkLst>
            <pc:docMk/>
            <pc:sldMk cId="1733347535" sldId="2134804349"/>
            <ac:spMk id="56" creationId="{30228C31-EF71-4412-B19C-CEFAE9DC60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57" creationId="{E424978D-3298-4D61-9C24-342DF5218E9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31.701" v="20220" actId="1076"/>
          <ac:spMkLst>
            <pc:docMk/>
            <pc:sldMk cId="1733347535" sldId="2134804349"/>
            <ac:spMk id="58" creationId="{51D97962-D1FD-45CE-94F7-68488BED60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59" creationId="{CA0293E5-6CDE-4F7F-B7BB-01753F923E2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60" creationId="{AAE09F5F-0A44-413D-B46E-3708871A0C9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61" creationId="{FDAFCC60-7C16-48C3-839A-2546E8A9832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63" creationId="{183A3FB7-4D5F-4E25-954E-1CB39C43D36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64" creationId="{3B1A5D6F-8203-4E15-B30A-BAAAAB00FBD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65" creationId="{D3761158-1427-4892-A593-EFA9206EAC4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66" creationId="{66C4A00A-4D64-4945-9A1E-1FBEC3B1F06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67" creationId="{3E63B4EF-B0E9-4C7F-817D-51259CFEBAB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68" creationId="{EC4A468B-7CE8-45B5-96D6-08A54CE27F1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69" creationId="{19A1630B-DA92-4FE5-8C69-AFF7139B1FF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71" creationId="{1781D2B9-25A1-4883-B3CF-CA0BB0C946D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50.774" v="14561" actId="478"/>
          <ac:spMkLst>
            <pc:docMk/>
            <pc:sldMk cId="1733347535" sldId="2134804349"/>
            <ac:spMk id="73" creationId="{B6699A73-EDB1-419B-ADD3-D71E0B177E0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74" creationId="{02238FA8-CD97-4ED0-9834-B628DBE001F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38.125" v="20221" actId="14100"/>
          <ac:spMkLst>
            <pc:docMk/>
            <pc:sldMk cId="1733347535" sldId="2134804349"/>
            <ac:spMk id="75" creationId="{2661451E-D5D5-4E61-ACCE-D44BDCEFB3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1.569" v="15785" actId="13926"/>
          <ac:spMkLst>
            <pc:docMk/>
            <pc:sldMk cId="1733347535" sldId="2134804349"/>
            <ac:spMk id="77" creationId="{19024DAF-FA7E-4978-AEF2-0968B2C95C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38.116" v="20089" actId="465"/>
          <ac:spMkLst>
            <pc:docMk/>
            <pc:sldMk cId="1733347535" sldId="2134804349"/>
            <ac:spMk id="79" creationId="{760F56BD-3709-40D0-B01B-5BB74DB2FB5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38.116" v="20089" actId="465"/>
          <ac:spMkLst>
            <pc:docMk/>
            <pc:sldMk cId="1733347535" sldId="2134804349"/>
            <ac:spMk id="80" creationId="{69A65156-BB61-4872-83C3-69BE7DB7007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38.116" v="20089" actId="465"/>
          <ac:spMkLst>
            <pc:docMk/>
            <pc:sldMk cId="1733347535" sldId="2134804349"/>
            <ac:spMk id="81" creationId="{9C01BBC6-8784-4E73-A8BF-AE202025C6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8:29.647" v="15894" actId="12788"/>
          <ac:spMkLst>
            <pc:docMk/>
            <pc:sldMk cId="1733347535" sldId="2134804349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8:03.478" v="15872" actId="20577"/>
          <ac:spMkLst>
            <pc:docMk/>
            <pc:sldMk cId="1733347535" sldId="2134804349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3:22.356" v="20188" actId="555"/>
          <ac:spMkLst>
            <pc:docMk/>
            <pc:sldMk cId="1733347535" sldId="2134804349"/>
            <ac:spMk id="87" creationId="{F991C183-F691-42BB-986A-1D4B3D0103E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41.319" v="20151" actId="1038"/>
          <ac:spMkLst>
            <pc:docMk/>
            <pc:sldMk cId="1733347535" sldId="2134804349"/>
            <ac:spMk id="91" creationId="{18F9C7D0-B217-4434-8D0C-695D97120E3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56.516" v="20161" actId="465"/>
          <ac:spMkLst>
            <pc:docMk/>
            <pc:sldMk cId="1733347535" sldId="2134804349"/>
            <ac:spMk id="98" creationId="{D7FEAE21-9F37-4A63-909A-1A7AC2BC041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56.516" v="20161" actId="465"/>
          <ac:spMkLst>
            <pc:docMk/>
            <pc:sldMk cId="1733347535" sldId="2134804349"/>
            <ac:spMk id="101" creationId="{79B59DCD-FE2A-4CB0-A0BF-16552D365C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56.516" v="20161" actId="465"/>
          <ac:spMkLst>
            <pc:docMk/>
            <pc:sldMk cId="1733347535" sldId="2134804349"/>
            <ac:spMk id="107" creationId="{DCDB75E1-F08D-48E6-BD8F-C8C43CF0E9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56.516" v="20161" actId="465"/>
          <ac:spMkLst>
            <pc:docMk/>
            <pc:sldMk cId="1733347535" sldId="2134804349"/>
            <ac:spMk id="112" creationId="{D3449E55-D9E7-48E9-9077-F060D307C21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3:22.356" v="20188" actId="555"/>
          <ac:spMkLst>
            <pc:docMk/>
            <pc:sldMk cId="1733347535" sldId="2134804349"/>
            <ac:spMk id="113" creationId="{F23ED729-3677-42FF-A4D9-F74AADEEAC4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14" creationId="{DAB2F9B5-A408-483C-BB0C-541C04A6460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8:24.424" v="15893" actId="1038"/>
          <ac:spMkLst>
            <pc:docMk/>
            <pc:sldMk cId="1733347535" sldId="2134804349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8:29.647" v="15894" actId="12788"/>
          <ac:spMkLst>
            <pc:docMk/>
            <pc:sldMk cId="1733347535" sldId="2134804349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8:24.424" v="15893" actId="1038"/>
          <ac:spMkLst>
            <pc:docMk/>
            <pc:sldMk cId="1733347535" sldId="2134804349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21" creationId="{DCD85B41-E0F2-49DE-BE7E-2285DCE4306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23" creationId="{96309232-3CEA-4DD6-AFA6-EB7949BDC5D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128" creationId="{8C357E4C-4A5B-4328-8E90-B9521B819DA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129" creationId="{24CA492A-FC13-4941-B289-964D9D2C059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131" creationId="{659F8239-3772-4B5D-84D9-B6820973AB7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0:11.642" v="16276" actId="20577"/>
          <ac:spMkLst>
            <pc:docMk/>
            <pc:sldMk cId="1733347535" sldId="2134804349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139" creationId="{9F2C6947-6656-4F12-920F-7F25FE0E0A7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41" creationId="{B4C15846-F4C9-4548-B734-938F5E1AC7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43" creationId="{D6B161C2-FF96-468A-8368-81C555D3426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50" creationId="{C28A80CF-1701-4EF2-8A2B-1130DC0D68B0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7T23:26:23.381" v="14851" actId="20577"/>
          <ac:spMkLst>
            <pc:docMk/>
            <pc:sldMk cId="1733347535" sldId="2134804349"/>
            <ac:spMk id="155" creationId="{FE76AC8F-D97E-47CE-BED9-B7092D0CB7B2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7T23:26:21.214" v="14850" actId="478"/>
          <ac:spMkLst>
            <pc:docMk/>
            <pc:sldMk cId="1733347535" sldId="2134804349"/>
            <ac:spMk id="157" creationId="{825B4315-B28B-499F-ABF7-77B636AE619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0:58.362" v="15688" actId="1035"/>
          <ac:spMkLst>
            <pc:docMk/>
            <pc:sldMk cId="1733347535" sldId="2134804349"/>
            <ac:spMk id="169" creationId="{41B9922E-6AB6-4BE2-8AB9-1E9616B45BC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14.853" v="15782" actId="20577"/>
          <ac:spMkLst>
            <pc:docMk/>
            <pc:sldMk cId="1733347535" sldId="2134804349"/>
            <ac:spMk id="176" creationId="{46FC7FF0-770D-4257-9C65-A46DAC1DCCC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1:08.558" v="15696" actId="1035"/>
          <ac:spMkLst>
            <pc:docMk/>
            <pc:sldMk cId="1733347535" sldId="2134804349"/>
            <ac:spMk id="180" creationId="{0117387A-7B68-42A3-92C5-25DEBE10BBD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16.813" v="15784" actId="20577"/>
          <ac:spMkLst>
            <pc:docMk/>
            <pc:sldMk cId="1733347535" sldId="2134804349"/>
            <ac:spMk id="183" creationId="{95C868E9-B916-48E1-8918-4365584CC9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1:41.595" v="15716" actId="1035"/>
          <ac:spMkLst>
            <pc:docMk/>
            <pc:sldMk cId="1733347535" sldId="2134804349"/>
            <ac:spMk id="188" creationId="{B335F6AC-E23B-4A63-8385-CEF715A737A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1:14.926" v="15704" actId="1035"/>
          <ac:spMkLst>
            <pc:docMk/>
            <pc:sldMk cId="1733347535" sldId="2134804349"/>
            <ac:spMk id="193" creationId="{36F94EA4-7FF0-4A77-9EC7-82EF66D611D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2:39.795" v="15780" actId="1036"/>
          <ac:spMkLst>
            <pc:docMk/>
            <pc:sldMk cId="1733347535" sldId="2134804349"/>
            <ac:spMk id="202" creationId="{46E3048B-B6A6-40B9-B5FF-1DE37E3D0A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2:28.358" v="15756" actId="1035"/>
          <ac:spMkLst>
            <pc:docMk/>
            <pc:sldMk cId="1733347535" sldId="2134804349"/>
            <ac:spMk id="212" creationId="{A7173743-7B0D-42C7-AD5F-F8C137BBD2E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19" creationId="{62FC86D8-1E1F-477E-A8C1-DE0EA4C4AB1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21" creationId="{C23958D9-8D2A-476C-A650-5C584206812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23" creationId="{99E0F853-4FD1-46B7-8A75-EA8670F01C9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33" creationId="{A9C794B6-CC7C-44F8-BC30-A0E42B3A6EA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35" creationId="{67397329-06CB-4EAD-BB20-9DB9C847A3B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37" creationId="{51598549-7FE1-4A9E-8F40-B2099285B66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45" creationId="{949AE6BC-C4BD-42D8-A565-AB7EDB4317E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50" creationId="{283034AC-573E-4107-9EF2-89F51EF2A20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59" creationId="{06833351-5094-45E5-BD2C-6B56549573F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64" creationId="{38FBE262-4DE2-4BFB-92ED-2D8B628EA74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66" creationId="{3F5EB619-321B-4051-ADC8-A5FF99ED0CE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68" creationId="{BA6697D6-3D1D-4926-859F-D1F6118C71E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70" creationId="{E0A77003-E797-44F0-AA39-E958F4CCF4F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75" creationId="{AA44D995-3733-4034-9C79-2150FB82BEA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77" creationId="{8C179BE5-9C31-4DC6-92CF-18666A4615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79" creationId="{D2382CA9-8FE7-409F-94B6-FC3C93B2E2C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35.767" v="14558" actId="478"/>
          <ac:spMkLst>
            <pc:docMk/>
            <pc:sldMk cId="1733347535" sldId="2134804349"/>
            <ac:spMk id="281" creationId="{BFE021B3-7541-4086-AE13-E0AEBDB16A7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83" creationId="{5B397935-C4A0-45CD-9F44-64AC2D6438E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89" creationId="{31F7DDF3-B54D-4052-9A28-CCF92FB2E3A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94" creationId="{79DB0C09-F46C-41B0-9923-1FFB6676262E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22" creationId="{2B98B6A7-7227-4CB8-80CE-DF246B94E3D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26" creationId="{5B1CDA9C-37CE-441A-94E7-5A5F38503613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31" creationId="{A0B07E6C-42EA-42D4-BF18-74CF8467911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57:32.668" v="15445" actId="478"/>
          <ac:grpSpMkLst>
            <pc:docMk/>
            <pc:sldMk cId="1733347535" sldId="2134804349"/>
            <ac:grpSpMk id="37" creationId="{33A4F641-6F0E-462A-898E-0641B151AA6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20:52:41.319" v="20151" actId="1038"/>
          <ac:grpSpMkLst>
            <pc:docMk/>
            <pc:sldMk cId="1733347535" sldId="2134804349"/>
            <ac:grpSpMk id="42" creationId="{C86E4A92-2D9B-4D15-AFAF-2C673F30F81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20:53:07.244" v="20185" actId="1036"/>
          <ac:grpSpMkLst>
            <pc:docMk/>
            <pc:sldMk cId="1733347535" sldId="2134804349"/>
            <ac:grpSpMk id="45" creationId="{EF7C10BB-35CE-43C5-B743-38C4E6BD74F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57:32.668" v="15445" actId="478"/>
          <ac:grpSpMkLst>
            <pc:docMk/>
            <pc:sldMk cId="1733347535" sldId="2134804349"/>
            <ac:grpSpMk id="46" creationId="{4DCAF9D3-E260-43CE-8958-9F0BA7AFCD3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53" creationId="{3873BDF9-02E9-44FD-9510-89955A3B3E89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23:26:21.214" v="14850" actId="478"/>
          <ac:grpSpMkLst>
            <pc:docMk/>
            <pc:sldMk cId="1733347535" sldId="2134804349"/>
            <ac:grpSpMk id="153" creationId="{ECC1079A-ACFE-47F5-B237-44739C19BC96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23:57:35.727" v="15446" actId="478"/>
          <ac:grpSpMkLst>
            <pc:docMk/>
            <pc:sldMk cId="1733347535" sldId="2134804349"/>
            <ac:grpSpMk id="165" creationId="{3E88F80D-5F8F-4B0A-A23A-B734C2EE039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67" creationId="{63AEDB8E-9F96-4691-A9CB-A70EAAEF70B8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74" creationId="{C6C04382-85B7-4D3F-B803-EA4D1267F0B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78" creationId="{E673AC4C-B912-4B00-A07E-F353630C7D2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81" creationId="{F41557D1-2FC7-4DE5-8691-EAF2A4C637E1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86" creationId="{16DA9333-7032-45CE-9E3A-01409C1E6A0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91" creationId="{FA20B0AB-4006-4C51-82AE-68A90BD7617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200" creationId="{5EC7640D-CC76-46E2-91FB-5BC2A36E2B7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210" creationId="{F31D1FA4-2A54-44F7-BB5E-B6B753EC0E14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23:57:35.727" v="15446" actId="478"/>
          <ac:grpSpMkLst>
            <pc:docMk/>
            <pc:sldMk cId="1733347535" sldId="2134804349"/>
            <ac:grpSpMk id="246" creationId="{33576133-5A00-4266-B126-B2653B04E131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23:57:35.727" v="15446" actId="478"/>
          <ac:grpSpMkLst>
            <pc:docMk/>
            <pc:sldMk cId="1733347535" sldId="2134804349"/>
            <ac:grpSpMk id="251" creationId="{02EFA6D4-9012-466E-B2A2-328E003E9AE2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23:57:37.724" v="15447" actId="478"/>
          <ac:grpSpMkLst>
            <pc:docMk/>
            <pc:sldMk cId="1733347535" sldId="2134804349"/>
            <ac:grpSpMk id="260" creationId="{5094BFE4-6DFA-4A2B-A74D-946C007D2253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57:32.668" v="15445" actId="478"/>
          <ac:grpSpMkLst>
            <pc:docMk/>
            <pc:sldMk cId="1733347535" sldId="2134804349"/>
            <ac:grpSpMk id="271" creationId="{766436A5-C27B-4952-9D9F-B481DE6E179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57:32.668" v="15445" actId="478"/>
          <ac:grpSpMkLst>
            <pc:docMk/>
            <pc:sldMk cId="1733347535" sldId="2134804349"/>
            <ac:grpSpMk id="290" creationId="{C77DBACA-5EAA-4731-9D52-2BFF5E1F4F24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4149911555" sldId="2134804350"/>
        </pc:sldMkLst>
        <pc:spChg chg="mod">
          <ac:chgData name="Mariam Daniela Tristancho Pineda (MISION TEMPORAL LTDA)" userId="a45a17f7-7950-4cb5-bfab-f5c894f959a9" providerId="ADAL" clId="{9D150B60-33B5-4A3E-8123-A67E35AA8D44}" dt="2020-07-28T00:30:42.949" v="16303" actId="1076"/>
          <ac:spMkLst>
            <pc:docMk/>
            <pc:sldMk cId="4149911555" sldId="2134804350"/>
            <ac:spMk id="3" creationId="{815B10B7-60B3-4C63-8431-70CC556387C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31:07.214" v="16309" actId="1076"/>
          <ac:spMkLst>
            <pc:docMk/>
            <pc:sldMk cId="4149911555" sldId="2134804350"/>
            <ac:spMk id="6" creationId="{0EA6B706-1812-4875-A6FD-3A019EB06AE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0:38.340" v="16302" actId="478"/>
          <ac:spMkLst>
            <pc:docMk/>
            <pc:sldMk cId="4149911555" sldId="2134804350"/>
            <ac:spMk id="7" creationId="{5F9B1E71-580F-4E7C-9DF1-2DFC90AFEE3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2:05.338" v="16323" actId="478"/>
          <ac:spMkLst>
            <pc:docMk/>
            <pc:sldMk cId="4149911555" sldId="2134804350"/>
            <ac:spMk id="12" creationId="{54411719-0D48-4E09-865F-F0B937E53A1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0:38.340" v="16302" actId="478"/>
          <ac:spMkLst>
            <pc:docMk/>
            <pc:sldMk cId="4149911555" sldId="2134804350"/>
            <ac:spMk id="21" creationId="{6DF582FE-4ED3-41AC-A715-CB130A94E54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0:38.340" v="16302" actId="478"/>
          <ac:spMkLst>
            <pc:docMk/>
            <pc:sldMk cId="4149911555" sldId="2134804350"/>
            <ac:spMk id="22" creationId="{E652DC89-A856-4D57-8E2C-B61602C127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2:10.481" v="16327" actId="1035"/>
          <ac:spMkLst>
            <pc:docMk/>
            <pc:sldMk cId="4149911555" sldId="2134804350"/>
            <ac:spMk id="41" creationId="{0DBC6410-6A59-4790-926F-E624F6953B1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1:20.886" v="16317" actId="20577"/>
          <ac:spMkLst>
            <pc:docMk/>
            <pc:sldMk cId="4149911555" sldId="2134804350"/>
            <ac:spMk id="42" creationId="{F05D1EBD-E1C6-4EAD-A83A-3126DD1C70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1:31.469" v="16319" actId="1076"/>
          <ac:spMkLst>
            <pc:docMk/>
            <pc:sldMk cId="4149911555" sldId="2134804350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2:01.471" v="16322" actId="14100"/>
          <ac:spMkLst>
            <pc:docMk/>
            <pc:sldMk cId="4149911555" sldId="2134804350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0:48.898" v="16304"/>
          <ac:spMkLst>
            <pc:docMk/>
            <pc:sldMk cId="4149911555" sldId="2134804350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2:16.303" v="16330" actId="1036"/>
          <ac:spMkLst>
            <pc:docMk/>
            <pc:sldMk cId="4149911555" sldId="2134804350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2:16.303" v="16330" actId="1036"/>
          <ac:spMkLst>
            <pc:docMk/>
            <pc:sldMk cId="4149911555" sldId="2134804350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2:16.303" v="16330" actId="1036"/>
          <ac:spMkLst>
            <pc:docMk/>
            <pc:sldMk cId="4149911555" sldId="2134804350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1:54.600" v="16320"/>
          <ac:spMkLst>
            <pc:docMk/>
            <pc:sldMk cId="4149911555" sldId="2134804350"/>
            <ac:spMk id="135" creationId="{C1823568-A421-4254-9106-BAEB76F16B7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0:38.340" v="16302" actId="478"/>
          <ac:spMkLst>
            <pc:docMk/>
            <pc:sldMk cId="4149911555" sldId="2134804350"/>
            <ac:spMk id="147" creationId="{28985963-B271-4E6A-83C5-F3A62A87E6B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0:38.340" v="16302" actId="478"/>
          <ac:spMkLst>
            <pc:docMk/>
            <pc:sldMk cId="4149911555" sldId="2134804350"/>
            <ac:spMk id="156" creationId="{D69C9D48-D741-473B-B9DB-21F11F27980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0:31:02.575" v="16307" actId="478"/>
          <ac:spMkLst>
            <pc:docMk/>
            <pc:sldMk cId="4149911555" sldId="2134804350"/>
            <ac:spMk id="164" creationId="{017B2A88-B738-413B-82B2-A287FE0FC4EF}"/>
          </ac:spMkLst>
        </pc:spChg>
        <pc:grpChg chg="del">
          <ac:chgData name="Mariam Daniela Tristancho Pineda (MISION TEMPORAL LTDA)" userId="a45a17f7-7950-4cb5-bfab-f5c894f959a9" providerId="ADAL" clId="{9D150B60-33B5-4A3E-8123-A67E35AA8D44}" dt="2020-07-28T00:30:38.340" v="16302" actId="478"/>
          <ac:grpSpMkLst>
            <pc:docMk/>
            <pc:sldMk cId="4149911555" sldId="2134804350"/>
            <ac:grpSpMk id="14" creationId="{F9B624AC-D760-4747-9E53-02B94BF6FD12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8T00:30:59.774" v="16306" actId="478"/>
          <ac:grpSpMkLst>
            <pc:docMk/>
            <pc:sldMk cId="4149911555" sldId="2134804350"/>
            <ac:grpSpMk id="16" creationId="{C2A3B512-7A1C-4FAF-A81F-067631C52819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8T00:30:59.774" v="16306" actId="478"/>
          <ac:grpSpMkLst>
            <pc:docMk/>
            <pc:sldMk cId="4149911555" sldId="2134804350"/>
            <ac:grpSpMk id="28" creationId="{2AEE4E67-C0FA-4308-BDBD-87AF29BE81B0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8T00:30:59.774" v="16306" actId="478"/>
          <ac:grpSpMkLst>
            <pc:docMk/>
            <pc:sldMk cId="4149911555" sldId="2134804350"/>
            <ac:grpSpMk id="32" creationId="{EF33476E-57EC-4B24-BF48-38DA777DD938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8T00:30:59.774" v="16306" actId="478"/>
          <ac:grpSpMkLst>
            <pc:docMk/>
            <pc:sldMk cId="4149911555" sldId="2134804350"/>
            <ac:grpSpMk id="37" creationId="{33A4F641-6F0E-462A-898E-0641B151AA6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31:31.469" v="16319" actId="1076"/>
          <ac:grpSpMkLst>
            <pc:docMk/>
            <pc:sldMk cId="4149911555" sldId="2134804350"/>
            <ac:grpSpMk id="40" creationId="{4AE5D7C8-E153-4872-B77B-8476720136A1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21:04:24.766" v="20438" actId="108"/>
        <pc:sldMkLst>
          <pc:docMk/>
          <pc:sldMk cId="2519932516" sldId="2134804351"/>
        </pc:sldMkLst>
        <pc:spChg chg="del mod">
          <ac:chgData name="Mariam Daniela Tristancho Pineda (MISION TEMPORAL LTDA)" userId="a45a17f7-7950-4cb5-bfab-f5c894f959a9" providerId="ADAL" clId="{9D150B60-33B5-4A3E-8123-A67E35AA8D44}" dt="2020-07-28T00:33:37.696" v="16342" actId="478"/>
          <ac:spMkLst>
            <pc:docMk/>
            <pc:sldMk cId="2519932516" sldId="2134804351"/>
            <ac:spMk id="3" creationId="{815B10B7-60B3-4C63-8431-70CC556387C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0:33:37.696" v="16342" actId="478"/>
          <ac:spMkLst>
            <pc:docMk/>
            <pc:sldMk cId="2519932516" sldId="2134804351"/>
            <ac:spMk id="6" creationId="{0EA6B706-1812-4875-A6FD-3A019EB06AE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7" creationId="{8AF3B524-5EF0-4D16-B04B-B95BDA57F43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2:49.924" v="16726" actId="14100"/>
          <ac:spMkLst>
            <pc:docMk/>
            <pc:sldMk cId="2519932516" sldId="2134804351"/>
            <ac:spMk id="8" creationId="{B5A4B02A-4AA2-46C5-BDD1-63C4860CAD0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4:26.988" v="16774" actId="20577"/>
          <ac:spMkLst>
            <pc:docMk/>
            <pc:sldMk cId="2519932516" sldId="2134804351"/>
            <ac:spMk id="9" creationId="{CFF86BCB-1BED-4792-A396-2370CCCCB01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0" creationId="{354C1A81-D85E-40D4-9432-F14195AA078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1" creationId="{E6765BEB-6062-4FF5-991F-74E9591E7BE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57:25.480" v="17145" actId="20577"/>
          <ac:spMkLst>
            <pc:docMk/>
            <pc:sldMk cId="2519932516" sldId="2134804351"/>
            <ac:spMk id="12" creationId="{C841B24C-61AF-41C0-8A4D-6D9D7A8B838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3" creationId="{0D9D9488-940D-433C-A4EA-92B78BED58F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4" creationId="{2614B80C-5E9C-4C43-9417-CE8F857DE0F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5" creationId="{E4A5D75D-0A3C-49F0-B736-F7C27D60B3A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6" creationId="{65995084-D3B4-451E-9E40-025A2D90EDC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18" creationId="{78A67997-FD62-4AB0-84DF-CC210FE3E6F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20" creationId="{56F93BC9-AF81-487B-9FF9-8E9F1C21271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22" creationId="{DDD5370A-E766-46EF-B102-4A823F934A4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24" creationId="{71F7E159-7CB4-41B9-9207-B8037390921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26" creationId="{9ADEA6A3-C953-4EA2-ACD6-385A202C835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28" creationId="{1F1A2D39-CC86-437B-BEEB-61B403192D8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30" creationId="{B84E301A-FC18-43C3-8870-63AABE853B1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32" creationId="{A9AF141A-01B2-4D77-ABFA-D6D9FF92A09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42.597" v="20244" actId="1076"/>
          <ac:spMkLst>
            <pc:docMk/>
            <pc:sldMk cId="2519932516" sldId="2134804351"/>
            <ac:spMk id="34" creationId="{07F7B6FB-193B-4E2D-A992-7286BA46E46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45.051" v="20245" actId="1076"/>
          <ac:spMkLst>
            <pc:docMk/>
            <pc:sldMk cId="2519932516" sldId="2134804351"/>
            <ac:spMk id="36" creationId="{50A4E7E1-42F9-4862-B684-7EFB18F4100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47.284" v="20246" actId="1076"/>
          <ac:spMkLst>
            <pc:docMk/>
            <pc:sldMk cId="2519932516" sldId="2134804351"/>
            <ac:spMk id="38" creationId="{562738C7-6E2F-4DBE-BBED-BF9F1C4708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59:55.019" v="17232" actId="20577"/>
          <ac:spMkLst>
            <pc:docMk/>
            <pc:sldMk cId="2519932516" sldId="2134804351"/>
            <ac:spMk id="42" creationId="{F05D1EBD-E1C6-4EAD-A83A-3126DD1C70B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50.114" v="20247" actId="1076"/>
          <ac:spMkLst>
            <pc:docMk/>
            <pc:sldMk cId="2519932516" sldId="2134804351"/>
            <ac:spMk id="46" creationId="{AC035BA3-5872-4367-A545-66323BC7A6B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52.106" v="20248" actId="1076"/>
          <ac:spMkLst>
            <pc:docMk/>
            <pc:sldMk cId="2519932516" sldId="2134804351"/>
            <ac:spMk id="48" creationId="{105EA8B2-A5A6-4452-8E2D-7A5FB615E17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56.059" v="20249" actId="1076"/>
          <ac:spMkLst>
            <pc:docMk/>
            <pc:sldMk cId="2519932516" sldId="2134804351"/>
            <ac:spMk id="50" creationId="{1E3DF021-A2F1-403D-AA67-755BFC95974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01.908" v="20250" actId="1076"/>
          <ac:spMkLst>
            <pc:docMk/>
            <pc:sldMk cId="2519932516" sldId="2134804351"/>
            <ac:spMk id="52" creationId="{00F34D6D-E7E1-493B-80CC-FD834C099B0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06.461" v="20251" actId="1076"/>
          <ac:spMkLst>
            <pc:docMk/>
            <pc:sldMk cId="2519932516" sldId="2134804351"/>
            <ac:spMk id="54" creationId="{AC3C4B28-50DE-4100-8478-C35E675FE782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21:01:10.005" v="20252" actId="167"/>
          <ac:spMkLst>
            <pc:docMk/>
            <pc:sldMk cId="2519932516" sldId="2134804351"/>
            <ac:spMk id="56" creationId="{A1361919-71D6-4D71-9DC2-E64FDAB3BEB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0:06.394" v="17236" actId="20577"/>
          <ac:spMkLst>
            <pc:docMk/>
            <pc:sldMk cId="2519932516" sldId="2134804351"/>
            <ac:spMk id="58" creationId="{E9D8A762-472C-4575-A48B-D824E6B85E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4:41.437" v="16356"/>
          <ac:spMkLst>
            <pc:docMk/>
            <pc:sldMk cId="2519932516" sldId="2134804351"/>
            <ac:spMk id="59" creationId="{79289670-0B1A-4519-A15C-1FFA595F242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12.595" v="20253" actId="1076"/>
          <ac:spMkLst>
            <pc:docMk/>
            <pc:sldMk cId="2519932516" sldId="2134804351"/>
            <ac:spMk id="61" creationId="{1B9F97AE-0022-49A6-ADB7-775C91BA364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5:04.348" v="16364" actId="20577"/>
          <ac:spMkLst>
            <pc:docMk/>
            <pc:sldMk cId="2519932516" sldId="2134804351"/>
            <ac:spMk id="63" creationId="{E593D65F-BE9A-48A6-A735-E4E89CA156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59:44.176" v="17227" actId="20577"/>
          <ac:spMkLst>
            <pc:docMk/>
            <pc:sldMk cId="2519932516" sldId="2134804351"/>
            <ac:spMk id="64" creationId="{F419EC28-DE2D-49A5-A5F7-375975F278C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58:39.224" v="17162" actId="1076"/>
          <ac:spMkLst>
            <pc:docMk/>
            <pc:sldMk cId="2519932516" sldId="2134804351"/>
            <ac:spMk id="66" creationId="{DB4FE9D6-43A8-4F57-B07C-3923CCC8603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68" creationId="{E0BD316C-FAB2-49B3-90CF-8E3FEB8234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70" creationId="{6C4699DE-8975-408F-931F-024FF6BFBAA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72" creationId="{0271D3F6-9B51-4788-A19E-573ECB9F7ED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9.117" v="20323" actId="1037"/>
          <ac:spMkLst>
            <pc:docMk/>
            <pc:sldMk cId="2519932516" sldId="2134804351"/>
            <ac:spMk id="74" creationId="{3C64144C-14AD-44C6-9A03-0DEF4A17B1B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76" creationId="{B3A8BA81-8E35-42BE-AF9A-7071C157828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9.117" v="20323" actId="1037"/>
          <ac:spMkLst>
            <pc:docMk/>
            <pc:sldMk cId="2519932516" sldId="2134804351"/>
            <ac:spMk id="78" creationId="{4F72383D-BAB2-4B4D-B8FC-F478864F745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80" creationId="{FFBE6AE1-2056-45BA-BCF6-ED97C1554D3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46:12.810" v="16794" actId="478"/>
          <ac:spMkLst>
            <pc:docMk/>
            <pc:sldMk cId="2519932516" sldId="2134804351"/>
            <ac:spMk id="82" creationId="{2F0DA2B2-E299-43B7-8104-BBF80B0DD76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1:02:36.259" v="20361" actId="1036"/>
          <ac:spMkLst>
            <pc:docMk/>
            <pc:sldMk cId="2519932516" sldId="2134804351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1:02:22.166" v="20349" actId="1036"/>
          <ac:spMkLst>
            <pc:docMk/>
            <pc:sldMk cId="2519932516" sldId="2134804351"/>
            <ac:spMk id="86" creationId="{7696A978-4362-4DE3-8C58-0F58608C4AA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88" creationId="{560BB30A-7A6C-4DCB-ADB4-99EE32EEA5A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46:30.110" v="16799" actId="478"/>
          <ac:spMkLst>
            <pc:docMk/>
            <pc:sldMk cId="2519932516" sldId="2134804351"/>
            <ac:spMk id="90" creationId="{46542398-0343-4F1D-ADFD-662D132A994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9.117" v="20323" actId="1037"/>
          <ac:spMkLst>
            <pc:docMk/>
            <pc:sldMk cId="2519932516" sldId="2134804351"/>
            <ac:spMk id="92" creationId="{68CB13F7-6195-4BBE-AB32-EEE81D18C56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9.117" v="20323" actId="1037"/>
          <ac:spMkLst>
            <pc:docMk/>
            <pc:sldMk cId="2519932516" sldId="2134804351"/>
            <ac:spMk id="94" creationId="{8A5077C6-3AAF-42E3-A927-33E0AD0A578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2:59.995" v="20397" actId="14100"/>
          <ac:spMkLst>
            <pc:docMk/>
            <pc:sldMk cId="2519932516" sldId="2134804351"/>
            <ac:spMk id="96" creationId="{09E6990B-CBC6-4766-92A4-C07ABAFB1D5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0:33:37.696" v="16342" actId="478"/>
          <ac:spMkLst>
            <pc:docMk/>
            <pc:sldMk cId="2519932516" sldId="2134804351"/>
            <ac:spMk id="97" creationId="{99300021-C267-43BD-A0F5-B3ECE622345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2:53.238" v="20396" actId="1037"/>
          <ac:spMkLst>
            <pc:docMk/>
            <pc:sldMk cId="2519932516" sldId="2134804351"/>
            <ac:spMk id="100" creationId="{6459F711-D32A-423A-9CF6-70ED657A9BA0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21:03:26.897" v="20403" actId="167"/>
          <ac:spMkLst>
            <pc:docMk/>
            <pc:sldMk cId="2519932516" sldId="2134804351"/>
            <ac:spMk id="102" creationId="{357A9AB8-D778-4FF7-B653-9D3E0395B1F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47:30.183" v="16808" actId="478"/>
          <ac:spMkLst>
            <pc:docMk/>
            <pc:sldMk cId="2519932516" sldId="2134804351"/>
            <ac:spMk id="104" creationId="{5B727416-85CD-419C-9D2E-1D175181A92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9:21.842" v="16900" actId="164"/>
          <ac:spMkLst>
            <pc:docMk/>
            <pc:sldMk cId="2519932516" sldId="2134804351"/>
            <ac:spMk id="106" creationId="{578E8F3C-55C1-4C15-9275-AA0D4F05F85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9:26.687" v="16902" actId="1076"/>
          <ac:spMkLst>
            <pc:docMk/>
            <pc:sldMk cId="2519932516" sldId="2134804351"/>
            <ac:spMk id="108" creationId="{7315C8AE-7A5A-4982-9BBF-936C6A47EAE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9:21.842" v="16900" actId="164"/>
          <ac:spMkLst>
            <pc:docMk/>
            <pc:sldMk cId="2519932516" sldId="2134804351"/>
            <ac:spMk id="110" creationId="{40E37C76-26ED-4889-B618-12FEBB24A47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48:27.424" v="16868" actId="20577"/>
          <ac:spMkLst>
            <pc:docMk/>
            <pc:sldMk cId="2519932516" sldId="2134804351"/>
            <ac:spMk id="114" creationId="{F7E2808A-D415-417D-8E4F-10309F3BC1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0:21.199" v="17254" actId="1036"/>
          <ac:spMkLst>
            <pc:docMk/>
            <pc:sldMk cId="2519932516" sldId="2134804351"/>
            <ac:spMk id="115" creationId="{8B36B6E2-6AAE-4D53-8005-39FE837319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1:02:15.763" v="20334" actId="1038"/>
          <ac:spMkLst>
            <pc:docMk/>
            <pc:sldMk cId="2519932516" sldId="2134804351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1:02:15.763" v="20334" actId="1038"/>
          <ac:spMkLst>
            <pc:docMk/>
            <pc:sldMk cId="2519932516" sldId="2134804351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1:02:15.763" v="20334" actId="1038"/>
          <ac:spMkLst>
            <pc:docMk/>
            <pc:sldMk cId="2519932516" sldId="2134804351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48:47.922" v="16873" actId="208"/>
          <ac:spMkLst>
            <pc:docMk/>
            <pc:sldMk cId="2519932516" sldId="2134804351"/>
            <ac:spMk id="120" creationId="{BE7D76F4-3D5C-4FF7-8D06-CD7DE51BB2B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0:13.761" v="17244" actId="1035"/>
          <ac:spMkLst>
            <pc:docMk/>
            <pc:sldMk cId="2519932516" sldId="2134804351"/>
            <ac:spMk id="121" creationId="{2F8F1742-B2D0-467A-9C27-83157E35B73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50:37.986" v="16958" actId="164"/>
          <ac:spMkLst>
            <pc:docMk/>
            <pc:sldMk cId="2519932516" sldId="2134804351"/>
            <ac:spMk id="125" creationId="{C3B3A7E8-187C-416D-8785-AC187392CE83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21:03:26.897" v="20403" actId="167"/>
          <ac:spMkLst>
            <pc:docMk/>
            <pc:sldMk cId="2519932516" sldId="2134804351"/>
            <ac:spMk id="126" creationId="{F3345E9D-3CDC-4990-8CC7-89A0235574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49:45.750" v="16904"/>
          <ac:spMkLst>
            <pc:docMk/>
            <pc:sldMk cId="2519932516" sldId="2134804351"/>
            <ac:spMk id="128" creationId="{B69F5065-F231-43A2-BEC5-8A1108AC8C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49:45.750" v="16904"/>
          <ac:spMkLst>
            <pc:docMk/>
            <pc:sldMk cId="2519932516" sldId="2134804351"/>
            <ac:spMk id="129" creationId="{EA229BBE-0FFD-4BD8-9B08-7EE4931E953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49:45.750" v="16904"/>
          <ac:spMkLst>
            <pc:docMk/>
            <pc:sldMk cId="2519932516" sldId="2134804351"/>
            <ac:spMk id="130" creationId="{387B00CD-1095-4AD1-9A1F-5CA3742D06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50:21.633" v="16950" actId="20577"/>
          <ac:spMkLst>
            <pc:docMk/>
            <pc:sldMk cId="2519932516" sldId="2134804351"/>
            <ac:spMk id="132" creationId="{496BD2EA-0593-4ADC-8647-2E1CC88DA73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0:26.967" v="17262" actId="1035"/>
          <ac:spMkLst>
            <pc:docMk/>
            <pc:sldMk cId="2519932516" sldId="2134804351"/>
            <ac:spMk id="133" creationId="{94776774-DEC0-45A6-95E5-FDA648882F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56:11.624" v="17118" actId="20577"/>
          <ac:spMkLst>
            <pc:docMk/>
            <pc:sldMk cId="2519932516" sldId="2134804351"/>
            <ac:spMk id="135" creationId="{C1823568-A421-4254-9106-BAEB76F16B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50:37.986" v="16958" actId="164"/>
          <ac:spMkLst>
            <pc:docMk/>
            <pc:sldMk cId="2519932516" sldId="2134804351"/>
            <ac:spMk id="137" creationId="{5958889A-C2B7-40A3-8E2D-AC99F979A3CE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21:04:24.766" v="20438" actId="108"/>
          <ac:spMkLst>
            <pc:docMk/>
            <pc:sldMk cId="2519932516" sldId="2134804351"/>
            <ac:spMk id="140" creationId="{EA2D8879-FCAB-4E6C-84E9-57818C0A0FF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19.747" v="20402" actId="1076"/>
          <ac:spMkLst>
            <pc:docMk/>
            <pc:sldMk cId="2519932516" sldId="2134804351"/>
            <ac:spMk id="142" creationId="{6A2B75A2-AEFD-4D38-8DDC-C76CD38E0DA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35.149" v="20437" actId="1037"/>
          <ac:spMkLst>
            <pc:docMk/>
            <pc:sldMk cId="2519932516" sldId="2134804351"/>
            <ac:spMk id="144" creationId="{081CE15D-52C6-4E61-BAAC-9650B166286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35.149" v="20437" actId="1037"/>
          <ac:spMkLst>
            <pc:docMk/>
            <pc:sldMk cId="2519932516" sldId="2134804351"/>
            <ac:spMk id="146" creationId="{E148EF82-5728-4586-BAC7-2BEA65EEC16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35.149" v="20437" actId="1037"/>
          <ac:spMkLst>
            <pc:docMk/>
            <pc:sldMk cId="2519932516" sldId="2134804351"/>
            <ac:spMk id="148" creationId="{A9D6B378-71F6-43BC-87C8-6B855E3F3B7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17.195" v="20401" actId="1076"/>
          <ac:spMkLst>
            <pc:docMk/>
            <pc:sldMk cId="2519932516" sldId="2134804351"/>
            <ac:spMk id="150" creationId="{B10508DA-3022-45FB-884F-0F336EA4694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17.195" v="20401" actId="1076"/>
          <ac:spMkLst>
            <pc:docMk/>
            <pc:sldMk cId="2519932516" sldId="2134804351"/>
            <ac:spMk id="152" creationId="{D777C5AE-8D54-433A-9FFA-D0C58F2DBD22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8T21:02:22.166" v="20349" actId="1036"/>
          <ac:grpSpMkLst>
            <pc:docMk/>
            <pc:sldMk cId="2519932516" sldId="2134804351"/>
            <ac:grpSpMk id="40" creationId="{4AE5D7C8-E153-4872-B77B-8476720136A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2:15.763" v="20334" actId="1038"/>
          <ac:grpSpMkLst>
            <pc:docMk/>
            <pc:sldMk cId="2519932516" sldId="2134804351"/>
            <ac:grpSpMk id="57" creationId="{A9983047-CFC8-48B0-AC28-3E269CED294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2:22.166" v="20349" actId="1036"/>
          <ac:grpSpMkLst>
            <pc:docMk/>
            <pc:sldMk cId="2519932516" sldId="2134804351"/>
            <ac:grpSpMk id="62" creationId="{4F9B287D-6EA8-44AB-83B1-11986D1E785F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3:04.843" v="20398" actId="1076"/>
          <ac:grpSpMkLst>
            <pc:docMk/>
            <pc:sldMk cId="2519932516" sldId="2134804351"/>
            <ac:grpSpMk id="112" creationId="{03CD66D0-EF37-4B9D-B4CA-A4A989EADC96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2:22.166" v="20349" actId="1036"/>
          <ac:grpSpMkLst>
            <pc:docMk/>
            <pc:sldMk cId="2519932516" sldId="2134804351"/>
            <ac:grpSpMk id="113" creationId="{14D36AEA-07B7-4EB5-813B-8AE91E38CED0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2:15.763" v="20334" actId="1038"/>
          <ac:grpSpMkLst>
            <pc:docMk/>
            <pc:sldMk cId="2519932516" sldId="2134804351"/>
            <ac:grpSpMk id="116" creationId="{980462AD-F9F1-491C-BD97-CC7609A0F5B3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0:49:56.798" v="16908" actId="478"/>
          <ac:grpSpMkLst>
            <pc:docMk/>
            <pc:sldMk cId="2519932516" sldId="2134804351"/>
            <ac:grpSpMk id="127" creationId="{842E1496-A156-4A85-B519-8E637F464CE0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2:15.763" v="20334" actId="1038"/>
          <ac:grpSpMkLst>
            <pc:docMk/>
            <pc:sldMk cId="2519932516" sldId="2134804351"/>
            <ac:grpSpMk id="131" creationId="{E5D60700-5E94-42C1-932A-72D27828E848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3:17.195" v="20401" actId="1076"/>
          <ac:grpSpMkLst>
            <pc:docMk/>
            <pc:sldMk cId="2519932516" sldId="2134804351"/>
            <ac:grpSpMk id="138" creationId="{15C30502-B81D-4FF7-A0CF-B3FDDE128C56}"/>
          </ac:grpSpMkLst>
        </pc:grp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41.624" v="19909" actId="6549"/>
        <pc:sldMkLst>
          <pc:docMk/>
          <pc:sldMk cId="2075344503" sldId="2134804352"/>
        </pc:sldMkLst>
        <pc:spChg chg="mod">
          <ac:chgData name="Mariam Daniela Tristancho Pineda (MISION TEMPORAL LTDA)" userId="a45a17f7-7950-4cb5-bfab-f5c894f959a9" providerId="ADAL" clId="{9D150B60-33B5-4A3E-8123-A67E35AA8D44}" dt="2020-07-28T15:01:41.624" v="19909" actId="6549"/>
          <ac:spMkLst>
            <pc:docMk/>
            <pc:sldMk cId="2075344503" sldId="2134804352"/>
            <ac:spMk id="2" creationId="{6431BBCF-96E5-45A7-B7E5-D44090D06329}"/>
          </ac:spMkLst>
        </pc:spChg>
      </pc:sldChg>
      <pc:sldChg chg="add del">
        <pc:chgData name="Mariam Daniela Tristancho Pineda (MISION TEMPORAL LTDA)" userId="a45a17f7-7950-4cb5-bfab-f5c894f959a9" providerId="ADAL" clId="{9D150B60-33B5-4A3E-8123-A67E35AA8D44}" dt="2020-07-28T01:13:56.813" v="17650" actId="22"/>
        <pc:sldMkLst>
          <pc:docMk/>
          <pc:sldMk cId="2243295450" sldId="2134804352"/>
        </pc:sldMkLst>
      </pc:sldChg>
      <pc:sldChg chg="addSp delSp modSp new mod">
        <pc:chgData name="Mariam Daniela Tristancho Pineda (MISION TEMPORAL LTDA)" userId="a45a17f7-7950-4cb5-bfab-f5c894f959a9" providerId="ADAL" clId="{9D150B60-33B5-4A3E-8123-A67E35AA8D44}" dt="2020-07-28T15:01:57.339" v="19923" actId="478"/>
        <pc:sldMkLst>
          <pc:docMk/>
          <pc:sldMk cId="4009905532" sldId="2134804353"/>
        </pc:sldMkLst>
        <pc:spChg chg="add del mod">
          <ac:chgData name="Mariam Daniela Tristancho Pineda (MISION TEMPORAL LTDA)" userId="a45a17f7-7950-4cb5-bfab-f5c894f959a9" providerId="ADAL" clId="{9D150B60-33B5-4A3E-8123-A67E35AA8D44}" dt="2020-07-28T15:01:57.339" v="19923" actId="478"/>
          <ac:spMkLst>
            <pc:docMk/>
            <pc:sldMk cId="4009905532" sldId="2134804353"/>
            <ac:spMk id="3" creationId="{E7CE159D-6B10-43AF-A871-A038D1D79146}"/>
          </ac:spMkLst>
        </pc:spChg>
      </pc:sldChg>
      <pc:sldChg chg="modSp add mod">
        <pc:chgData name="Mariam Daniela Tristancho Pineda (MISION TEMPORAL LTDA)" userId="a45a17f7-7950-4cb5-bfab-f5c894f959a9" providerId="ADAL" clId="{9D150B60-33B5-4A3E-8123-A67E35AA8D44}" dt="2020-07-28T15:07:56.649" v="20077" actId="20577"/>
        <pc:sldMkLst>
          <pc:docMk/>
          <pc:sldMk cId="797326216" sldId="2134804354"/>
        </pc:sldMkLst>
        <pc:spChg chg="mod">
          <ac:chgData name="Mariam Daniela Tristancho Pineda (MISION TEMPORAL LTDA)" userId="a45a17f7-7950-4cb5-bfab-f5c894f959a9" providerId="ADAL" clId="{9D150B60-33B5-4A3E-8123-A67E35AA8D44}" dt="2020-07-28T15:07:56.649" v="20077" actId="20577"/>
          <ac:spMkLst>
            <pc:docMk/>
            <pc:sldMk cId="797326216" sldId="2134804354"/>
            <ac:spMk id="2" creationId="{6431BBCF-96E5-45A7-B7E5-D44090D06329}"/>
          </ac:spMkLst>
        </pc:spChg>
      </pc:sldChg>
    </pc:docChg>
  </pc:docChgLst>
  <pc:docChgLst>
    <pc:chgData name="Andrea Mogollon Nossa (CENIT)" userId="S::andrea.mogollon@cenit-transporte.com::f6a3e592-cc27-4858-b185-ff86be206069" providerId="AD" clId="Web-{FDDB2075-5042-C163-EABE-A5942F2A696C}"/>
    <pc:docChg chg="modSld">
      <pc:chgData name="Andrea Mogollon Nossa (CENIT)" userId="S::andrea.mogollon@cenit-transporte.com::f6a3e592-cc27-4858-b185-ff86be206069" providerId="AD" clId="Web-{FDDB2075-5042-C163-EABE-A5942F2A696C}" dt="2020-06-23T15:52:17.695" v="1" actId="20577"/>
      <pc:docMkLst>
        <pc:docMk/>
      </pc:docMkLst>
      <pc:sldChg chg="modSp">
        <pc:chgData name="Andrea Mogollon Nossa (CENIT)" userId="S::andrea.mogollon@cenit-transporte.com::f6a3e592-cc27-4858-b185-ff86be206069" providerId="AD" clId="Web-{FDDB2075-5042-C163-EABE-A5942F2A696C}" dt="2020-06-23T15:52:17.695" v="1" actId="20577"/>
        <pc:sldMkLst>
          <pc:docMk/>
          <pc:sldMk cId="838099151" sldId="2134804292"/>
        </pc:sldMkLst>
        <pc:spChg chg="mod">
          <ac:chgData name="Andrea Mogollon Nossa (CENIT)" userId="S::andrea.mogollon@cenit-transporte.com::f6a3e592-cc27-4858-b185-ff86be206069" providerId="AD" clId="Web-{FDDB2075-5042-C163-EABE-A5942F2A696C}" dt="2020-06-23T15:52:17.695" v="1" actId="20577"/>
          <ac:spMkLst>
            <pc:docMk/>
            <pc:sldMk cId="838099151" sldId="2134804292"/>
            <ac:spMk id="103" creationId="{BDBCDC72-F935-45A4-AE31-C045019965AF}"/>
          </ac:spMkLst>
        </pc:spChg>
      </pc:sldChg>
    </pc:docChg>
  </pc:docChgLst>
  <pc:docChgLst>
    <pc:chgData name="Mariam Daniela Tristancho Pineda (MISION TEMPORAL LTDA)" userId="a45a17f7-7950-4cb5-bfab-f5c894f959a9" providerId="ADAL" clId="{1440674F-A918-4BC9-A66E-0A6A8DD6A97A}"/>
    <pc:docChg chg="undo custSel addSld delSld modSld">
      <pc:chgData name="Mariam Daniela Tristancho Pineda (MISION TEMPORAL LTDA)" userId="a45a17f7-7950-4cb5-bfab-f5c894f959a9" providerId="ADAL" clId="{1440674F-A918-4BC9-A66E-0A6A8DD6A97A}" dt="2020-06-26T15:44:02.921" v="3672"/>
      <pc:docMkLst>
        <pc:docMk/>
      </pc:docMkLst>
      <pc:sldChg chg="modSp mod">
        <pc:chgData name="Mariam Daniela Tristancho Pineda (MISION TEMPORAL LTDA)" userId="a45a17f7-7950-4cb5-bfab-f5c894f959a9" providerId="ADAL" clId="{1440674F-A918-4BC9-A66E-0A6A8DD6A97A}" dt="2020-06-17T13:15:59.293" v="1259" actId="20577"/>
        <pc:sldMkLst>
          <pc:docMk/>
          <pc:sldMk cId="692789810" sldId="2134804140"/>
        </pc:sldMkLst>
        <pc:spChg chg="mod">
          <ac:chgData name="Mariam Daniela Tristancho Pineda (MISION TEMPORAL LTDA)" userId="a45a17f7-7950-4cb5-bfab-f5c894f959a9" providerId="ADAL" clId="{1440674F-A918-4BC9-A66E-0A6A8DD6A97A}" dt="2020-06-17T13:15:59.293" v="1259" actId="20577"/>
          <ac:spMkLst>
            <pc:docMk/>
            <pc:sldMk cId="692789810" sldId="2134804140"/>
            <ac:spMk id="2" creationId="{6431BBCF-96E5-45A7-B7E5-D44090D06329}"/>
          </ac:spMkLst>
        </pc:spChg>
      </pc:sldChg>
      <pc:sldChg chg="modTransition">
        <pc:chgData name="Mariam Daniela Tristancho Pineda (MISION TEMPORAL LTDA)" userId="a45a17f7-7950-4cb5-bfab-f5c894f959a9" providerId="ADAL" clId="{1440674F-A918-4BC9-A66E-0A6A8DD6A97A}" dt="2020-06-26T15:43:42.564" v="3660"/>
        <pc:sldMkLst>
          <pc:docMk/>
          <pc:sldMk cId="1994186015" sldId="2134804172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4:01.065" v="3671"/>
        <pc:sldMkLst>
          <pc:docMk/>
          <pc:sldMk cId="2937157513" sldId="2134804242"/>
        </pc:sldMkLst>
      </pc:sldChg>
      <pc:sldChg chg="modSp mod">
        <pc:chgData name="Mariam Daniela Tristancho Pineda (MISION TEMPORAL LTDA)" userId="a45a17f7-7950-4cb5-bfab-f5c894f959a9" providerId="ADAL" clId="{1440674F-A918-4BC9-A66E-0A6A8DD6A97A}" dt="2020-06-16T21:04:24.002" v="80" actId="20577"/>
        <pc:sldMkLst>
          <pc:docMk/>
          <pc:sldMk cId="4180204205" sldId="2134804244"/>
        </pc:sldMkLst>
        <pc:spChg chg="mod">
          <ac:chgData name="Mariam Daniela Tristancho Pineda (MISION TEMPORAL LTDA)" userId="a45a17f7-7950-4cb5-bfab-f5c894f959a9" providerId="ADAL" clId="{1440674F-A918-4BC9-A66E-0A6A8DD6A97A}" dt="2020-06-16T21:04:24.002" v="80" actId="20577"/>
          <ac:spMkLst>
            <pc:docMk/>
            <pc:sldMk cId="4180204205" sldId="2134804244"/>
            <ac:spMk id="12" creationId="{96C9E76C-8C7F-489D-82CB-B2BD03852707}"/>
          </ac:spMkLst>
        </pc:spChg>
      </pc:sldChg>
      <pc:sldChg chg="modSp mod">
        <pc:chgData name="Mariam Daniela Tristancho Pineda (MISION TEMPORAL LTDA)" userId="a45a17f7-7950-4cb5-bfab-f5c894f959a9" providerId="ADAL" clId="{1440674F-A918-4BC9-A66E-0A6A8DD6A97A}" dt="2020-06-16T23:01:43.517" v="311" actId="1076"/>
        <pc:sldMkLst>
          <pc:docMk/>
          <pc:sldMk cId="1803203511" sldId="2134804247"/>
        </pc:sldMkLst>
        <pc:spChg chg="mod">
          <ac:chgData name="Mariam Daniela Tristancho Pineda (MISION TEMPORAL LTDA)" userId="a45a17f7-7950-4cb5-bfab-f5c894f959a9" providerId="ADAL" clId="{1440674F-A918-4BC9-A66E-0A6A8DD6A97A}" dt="2020-06-16T23:01:43.517" v="311" actId="1076"/>
          <ac:spMkLst>
            <pc:docMk/>
            <pc:sldMk cId="1803203511" sldId="2134804247"/>
            <ac:spMk id="3" creationId="{15CFEC12-2CE7-4890-A061-D679BF17069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2:57:25.108" v="262" actId="1076"/>
          <ac:spMkLst>
            <pc:docMk/>
            <pc:sldMk cId="1803203511" sldId="2134804247"/>
            <ac:spMk id="49" creationId="{B08292AB-0988-4371-BF3C-40CAD9366A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2:57:27.437" v="264" actId="1035"/>
          <ac:spMkLst>
            <pc:docMk/>
            <pc:sldMk cId="1803203511" sldId="2134804247"/>
            <ac:spMk id="53" creationId="{F9C857D3-C5F6-4D00-8D9C-646D1DA6091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2:57:36.141" v="265" actId="1076"/>
          <ac:spMkLst>
            <pc:docMk/>
            <pc:sldMk cId="1803203511" sldId="2134804247"/>
            <ac:spMk id="70" creationId="{B7775212-C797-4934-96C9-E7DE33ADEA63}"/>
          </ac:spMkLst>
        </pc:spChg>
        <pc:graphicFrameChg chg="mod modGraphic">
          <ac:chgData name="Mariam Daniela Tristancho Pineda (MISION TEMPORAL LTDA)" userId="a45a17f7-7950-4cb5-bfab-f5c894f959a9" providerId="ADAL" clId="{1440674F-A918-4BC9-A66E-0A6A8DD6A97A}" dt="2020-06-16T23:01:25.684" v="309" actId="1076"/>
          <ac:graphicFrameMkLst>
            <pc:docMk/>
            <pc:sldMk cId="1803203511" sldId="2134804247"/>
            <ac:graphicFrameMk id="11" creationId="{9D9D1D21-7943-4251-B296-312E588F0E7D}"/>
          </ac:graphicFrameMkLst>
        </pc:graphicFrameChg>
      </pc:sldChg>
      <pc:sldChg chg="modTransition">
        <pc:chgData name="Mariam Daniela Tristancho Pineda (MISION TEMPORAL LTDA)" userId="a45a17f7-7950-4cb5-bfab-f5c894f959a9" providerId="ADAL" clId="{1440674F-A918-4BC9-A66E-0A6A8DD6A97A}" dt="2020-06-26T15:43:59.521" v="3670"/>
        <pc:sldMkLst>
          <pc:docMk/>
          <pc:sldMk cId="1943757328" sldId="2134804249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58.086" v="3669"/>
        <pc:sldMkLst>
          <pc:docMk/>
          <pc:sldMk cId="278280293" sldId="2134804251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56.994" v="3668"/>
        <pc:sldMkLst>
          <pc:docMk/>
          <pc:sldMk cId="483722895" sldId="2134804252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55.048" v="3667"/>
        <pc:sldMkLst>
          <pc:docMk/>
          <pc:sldMk cId="1431871395" sldId="2134804253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53.742" v="3666"/>
        <pc:sldMkLst>
          <pc:docMk/>
          <pc:sldMk cId="1266487272" sldId="2134804254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52.138" v="3665"/>
        <pc:sldMkLst>
          <pc:docMk/>
          <pc:sldMk cId="3130492061" sldId="2134804255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47.348" v="3663"/>
        <pc:sldMkLst>
          <pc:docMk/>
          <pc:sldMk cId="1287012035" sldId="2134804256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45.990" v="3662"/>
        <pc:sldMkLst>
          <pc:docMk/>
          <pc:sldMk cId="2054119121" sldId="2134804258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44.176" v="3661"/>
        <pc:sldMkLst>
          <pc:docMk/>
          <pc:sldMk cId="1188541685" sldId="2134804260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38.696" v="3658"/>
        <pc:sldMkLst>
          <pc:docMk/>
          <pc:sldMk cId="3627326567" sldId="2134804261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37.251" v="3657"/>
        <pc:sldMkLst>
          <pc:docMk/>
          <pc:sldMk cId="279792768" sldId="2134804262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34.649" v="3656"/>
        <pc:sldMkLst>
          <pc:docMk/>
          <pc:sldMk cId="3898735964" sldId="2134804263"/>
        </pc:sldMkLst>
      </pc:sldChg>
      <pc:sldChg chg="modSp mod">
        <pc:chgData name="Mariam Daniela Tristancho Pineda (MISION TEMPORAL LTDA)" userId="a45a17f7-7950-4cb5-bfab-f5c894f959a9" providerId="ADAL" clId="{1440674F-A918-4BC9-A66E-0A6A8DD6A97A}" dt="2020-06-25T23:14:31.549" v="3178" actId="1038"/>
        <pc:sldMkLst>
          <pc:docMk/>
          <pc:sldMk cId="2248502622" sldId="2134804265"/>
        </pc:sldMkLst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" creationId="{3E81DF00-72F7-483D-86A7-B0742B7B72A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0" creationId="{973F4DDB-893C-4EE6-BB59-D7584DDBE34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1" creationId="{495631AC-0C47-4D3B-90F6-0FE44D643E3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2" creationId="{B9E51ECF-B493-4F93-8726-818A717D916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3" creationId="{103BDFFB-8D5D-4034-AE94-47A9DF5DCB7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4" creationId="{6E3CAD53-D658-40EE-AB4E-23403B8F6FE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5" creationId="{1354E040-9E37-40B3-8E90-388E70E07C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6" creationId="{4351D72F-F771-468B-9D35-804472761DB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7" creationId="{C143C958-917B-4574-B784-47CCEE5F4D7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8" creationId="{DCB283D9-E8F8-4D6C-9F82-21FFF4B8860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9" creationId="{4262DE27-389D-4F8C-8770-2E4D9615908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0" creationId="{888CD73B-EE43-4608-B711-B8B40EF0257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1" creationId="{DA39C026-7069-4B42-BD85-313576DDFB3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2" creationId="{8B0101E6-E02A-40F3-B17F-EED90EE7501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3" creationId="{DC538832-1FE3-4E8C-8CC6-D6F7C6D95F2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4" creationId="{A1F604F9-FE45-4D40-BCA1-DD793F47C13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5" creationId="{10115427-9687-461E-83B6-209293983EB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6" creationId="{9C1BA4A3-ECCD-405A-BF51-BCA69D7ADD9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7" creationId="{3D62294D-6FF1-4856-8147-499676392E6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8" creationId="{98859224-61DD-429B-9347-E2DEF3319C4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1" creationId="{8905A358-160B-4BB3-9F7B-51D42F4CE7A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2" creationId="{7E21C2F9-578F-4537-A022-944A1784515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5" creationId="{36B63E54-7A07-43E7-9359-EE0978EE147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6" creationId="{DE1CE7C4-B5AA-4B0B-8977-276EDE20786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8" creationId="{BB1E2630-A12D-49DC-9D0C-EAD1ADD233B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9" creationId="{31E235DE-E075-4F32-9EC1-C08BC7C610A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0" creationId="{F0614BAC-28DD-425C-B2FE-00C6578955E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2" creationId="{4A24903F-CEEF-445C-8467-4021CBD707E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3" creationId="{ECC2A5DC-6EB9-4696-A1E0-EDDE391508A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4" creationId="{49F338AD-2373-43AE-BE92-6C934E9F535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5" creationId="{AAA19413-97CE-4E50-8AA1-98AEC9E73C0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6" creationId="{9C19960A-BCCE-46BF-A151-E1388F3B6F2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7" creationId="{47A59C6F-9973-4341-BA36-FAAAB43E420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8" creationId="{714CDC28-F720-4BA7-B656-522A7E049D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9" creationId="{FBB0588B-04B5-444D-92B8-330FB0EEF0C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31.549" v="3178" actId="1038"/>
          <ac:spMkLst>
            <pc:docMk/>
            <pc:sldMk cId="2248502622" sldId="2134804265"/>
            <ac:spMk id="71" creationId="{A389F395-95E3-49B0-9023-DC9F62C4768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75" creationId="{7FB79087-3335-4E8E-A7DC-128FDD92B5EA}"/>
          </ac:spMkLst>
        </pc:spChg>
        <pc:grpChg chg="mod">
          <ac:chgData name="Mariam Daniela Tristancho Pineda (MISION TEMPORAL LTDA)" userId="a45a17f7-7950-4cb5-bfab-f5c894f959a9" providerId="ADAL" clId="{1440674F-A918-4BC9-A66E-0A6A8DD6A97A}" dt="2020-06-25T23:14:17.267" v="3170" actId="1038"/>
          <ac:grpSpMkLst>
            <pc:docMk/>
            <pc:sldMk cId="2248502622" sldId="2134804265"/>
            <ac:grpSpMk id="6" creationId="{B74CE5C7-9B98-4F51-BACA-2389596C81AC}"/>
          </ac:grpSpMkLst>
        </pc:grpChg>
        <pc:grpChg chg="mod">
          <ac:chgData name="Mariam Daniela Tristancho Pineda (MISION TEMPORAL LTDA)" userId="a45a17f7-7950-4cb5-bfab-f5c894f959a9" providerId="ADAL" clId="{1440674F-A918-4BC9-A66E-0A6A8DD6A97A}" dt="2020-06-25T23:14:17.267" v="3170" actId="1038"/>
          <ac:grpSpMkLst>
            <pc:docMk/>
            <pc:sldMk cId="2248502622" sldId="2134804265"/>
            <ac:grpSpMk id="7" creationId="{9F8B1301-4B8A-4C7B-B7CF-D6F5AC526A7A}"/>
          </ac:grpSpMkLst>
        </pc:grpChg>
        <pc:graphicFrameChg chg="mod">
          <ac:chgData name="Mariam Daniela Tristancho Pineda (MISION TEMPORAL LTDA)" userId="a45a17f7-7950-4cb5-bfab-f5c894f959a9" providerId="ADAL" clId="{1440674F-A918-4BC9-A66E-0A6A8DD6A97A}" dt="2020-06-25T23:14:17.267" v="3170" actId="1038"/>
          <ac:graphicFrameMkLst>
            <pc:docMk/>
            <pc:sldMk cId="2248502622" sldId="2134804265"/>
            <ac:graphicFrameMk id="54" creationId="{BAD881DD-0495-48BC-9BEB-E260F0007B2D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5T23:14:17.267" v="3170" actId="1038"/>
          <ac:graphicFrameMkLst>
            <pc:docMk/>
            <pc:sldMk cId="2248502622" sldId="2134804265"/>
            <ac:graphicFrameMk id="57" creationId="{9064C0F5-8DA3-4E4B-85A3-33DB3472E319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5T23:14:17.267" v="3170" actId="1038"/>
          <ac:graphicFrameMkLst>
            <pc:docMk/>
            <pc:sldMk cId="2248502622" sldId="2134804265"/>
            <ac:graphicFrameMk id="61" creationId="{703E986E-4E61-4209-A9C7-8B2FF3CA8496}"/>
          </ac:graphicFrameMkLst>
        </pc:graphicFrameChg>
        <pc:cxnChg chg="mod">
          <ac:chgData name="Mariam Daniela Tristancho Pineda (MISION TEMPORAL LTDA)" userId="a45a17f7-7950-4cb5-bfab-f5c894f959a9" providerId="ADAL" clId="{1440674F-A918-4BC9-A66E-0A6A8DD6A97A}" dt="2020-06-25T23:14:17.267" v="3170" actId="1038"/>
          <ac:cxnSpMkLst>
            <pc:docMk/>
            <pc:sldMk cId="2248502622" sldId="2134804265"/>
            <ac:cxnSpMk id="49" creationId="{486CCA09-F951-4FCD-A971-B862A67A6A98}"/>
          </ac:cxnSpMkLst>
        </pc:cxnChg>
        <pc:cxnChg chg="mod">
          <ac:chgData name="Mariam Daniela Tristancho Pineda (MISION TEMPORAL LTDA)" userId="a45a17f7-7950-4cb5-bfab-f5c894f959a9" providerId="ADAL" clId="{1440674F-A918-4BC9-A66E-0A6A8DD6A97A}" dt="2020-06-25T23:14:17.267" v="3170" actId="1038"/>
          <ac:cxnSpMkLst>
            <pc:docMk/>
            <pc:sldMk cId="2248502622" sldId="2134804265"/>
            <ac:cxnSpMk id="50" creationId="{4793C5C9-0BE0-4B32-B0ED-31853EF8C5DE}"/>
          </ac:cxnSpMkLst>
        </pc:cxnChg>
      </pc:sldChg>
      <pc:sldChg chg="modTransition">
        <pc:chgData name="Mariam Daniela Tristancho Pineda (MISION TEMPORAL LTDA)" userId="a45a17f7-7950-4cb5-bfab-f5c894f959a9" providerId="ADAL" clId="{1440674F-A918-4BC9-A66E-0A6A8DD6A97A}" dt="2020-06-26T15:43:40.470" v="3659"/>
        <pc:sldMkLst>
          <pc:docMk/>
          <pc:sldMk cId="2598350360" sldId="2134804266"/>
        </pc:sldMkLst>
      </pc:sldChg>
      <pc:sldChg chg="modSp mod">
        <pc:chgData name="Mariam Daniela Tristancho Pineda (MISION TEMPORAL LTDA)" userId="a45a17f7-7950-4cb5-bfab-f5c894f959a9" providerId="ADAL" clId="{1440674F-A918-4BC9-A66E-0A6A8DD6A97A}" dt="2020-06-18T19:47:33.488" v="1370" actId="20577"/>
        <pc:sldMkLst>
          <pc:docMk/>
          <pc:sldMk cId="5164804" sldId="2134804270"/>
        </pc:sldMkLst>
        <pc:spChg chg="mod">
          <ac:chgData name="Mariam Daniela Tristancho Pineda (MISION TEMPORAL LTDA)" userId="a45a17f7-7950-4cb5-bfab-f5c894f959a9" providerId="ADAL" clId="{1440674F-A918-4BC9-A66E-0A6A8DD6A97A}" dt="2020-06-18T19:47:33.488" v="1370" actId="20577"/>
          <ac:spMkLst>
            <pc:docMk/>
            <pc:sldMk cId="5164804" sldId="2134804270"/>
            <ac:spMk id="21" creationId="{FCFE65B7-3A35-4722-84A8-FEC6DADDBA49}"/>
          </ac:spMkLst>
        </pc:spChg>
      </pc:sldChg>
      <pc:sldChg chg="modTransition">
        <pc:chgData name="Mariam Daniela Tristancho Pineda (MISION TEMPORAL LTDA)" userId="a45a17f7-7950-4cb5-bfab-f5c894f959a9" providerId="ADAL" clId="{1440674F-A918-4BC9-A66E-0A6A8DD6A97A}" dt="2020-06-26T15:44:02.921" v="3672"/>
        <pc:sldMkLst>
          <pc:docMk/>
          <pc:sldMk cId="913735653" sldId="2134804271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48.695" v="3664"/>
        <pc:sldMkLst>
          <pc:docMk/>
          <pc:sldMk cId="2802857335" sldId="2134804275"/>
        </pc:sldMkLst>
      </pc:sldChg>
      <pc:sldChg chg="addSp delSp modSp mod">
        <pc:chgData name="Mariam Daniela Tristancho Pineda (MISION TEMPORAL LTDA)" userId="a45a17f7-7950-4cb5-bfab-f5c894f959a9" providerId="ADAL" clId="{1440674F-A918-4BC9-A66E-0A6A8DD6A97A}" dt="2020-06-24T15:05:45.879" v="2392" actId="1035"/>
        <pc:sldMkLst>
          <pc:docMk/>
          <pc:sldMk cId="685398324" sldId="2134804277"/>
        </pc:sldMkLst>
        <pc:spChg chg="mod">
          <ac:chgData name="Mariam Daniela Tristancho Pineda (MISION TEMPORAL LTDA)" userId="a45a17f7-7950-4cb5-bfab-f5c894f959a9" providerId="ADAL" clId="{1440674F-A918-4BC9-A66E-0A6A8DD6A97A}" dt="2020-06-17T00:25:19.173" v="1152" actId="1076"/>
          <ac:spMkLst>
            <pc:docMk/>
            <pc:sldMk cId="685398324" sldId="2134804277"/>
            <ac:spMk id="6" creationId="{6F097E8B-274A-49AC-8761-8119E3C5B68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5:05:32.684" v="2388" actId="478"/>
          <ac:spMkLst>
            <pc:docMk/>
            <pc:sldMk cId="685398324" sldId="2134804277"/>
            <ac:spMk id="7" creationId="{52FE2391-690B-4D13-B0BE-AD54BD4AFEA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7T00:29:34.961" v="1219" actId="478"/>
          <ac:spMkLst>
            <pc:docMk/>
            <pc:sldMk cId="685398324" sldId="2134804277"/>
            <ac:spMk id="8" creationId="{782E4B7C-0F35-45FE-B943-FBCAA2C30BC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14:00.350" v="1429" actId="1035"/>
          <ac:spMkLst>
            <pc:docMk/>
            <pc:sldMk cId="685398324" sldId="2134804277"/>
            <ac:spMk id="10" creationId="{581EF6D6-B646-4C41-9412-D3C8807256C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7T00:29:34.961" v="1219" actId="478"/>
          <ac:spMkLst>
            <pc:docMk/>
            <pc:sldMk cId="685398324" sldId="2134804277"/>
            <ac:spMk id="11" creationId="{81DFC592-E154-4591-B5A9-F56C7487276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12:57.125" v="1417" actId="1035"/>
          <ac:spMkLst>
            <pc:docMk/>
            <pc:sldMk cId="685398324" sldId="2134804277"/>
            <ac:spMk id="12" creationId="{C439253A-F324-4629-9301-79D1D68D666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47.891" v="2122" actId="12788"/>
          <ac:spMkLst>
            <pc:docMk/>
            <pc:sldMk cId="685398324" sldId="2134804277"/>
            <ac:spMk id="40" creationId="{2631D492-951C-4EB3-926A-C7A33457A10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7T00:29:34.961" v="1219" actId="478"/>
          <ac:spMkLst>
            <pc:docMk/>
            <pc:sldMk cId="685398324" sldId="2134804277"/>
            <ac:spMk id="42" creationId="{4B77028B-8CAF-4678-ACA2-D711B0894F3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7T00:29:34.961" v="1219" actId="478"/>
          <ac:spMkLst>
            <pc:docMk/>
            <pc:sldMk cId="685398324" sldId="2134804277"/>
            <ac:spMk id="45" creationId="{8D1FB81A-0B27-4127-BC86-B03428D1F59A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8:36.334" v="1375" actId="21"/>
          <ac:spMkLst>
            <pc:docMk/>
            <pc:sldMk cId="685398324" sldId="2134804277"/>
            <ac:spMk id="46" creationId="{27981B7C-00A6-4188-89CE-D66C37A27448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08:36.334" v="1375" actId="21"/>
          <ac:spMkLst>
            <pc:docMk/>
            <pc:sldMk cId="685398324" sldId="2134804277"/>
            <ac:spMk id="47" creationId="{CEEB4B6C-D333-4CA0-857A-0570DA1879D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16.085" v="2130" actId="12788"/>
          <ac:spMkLst>
            <pc:docMk/>
            <pc:sldMk cId="685398324" sldId="2134804277"/>
            <ac:spMk id="51" creationId="{D1BBB9FD-BBB2-4DBE-B91B-1ABE54C48C8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8:32.545" v="2192" actId="1076"/>
          <ac:spMkLst>
            <pc:docMk/>
            <pc:sldMk cId="685398324" sldId="2134804277"/>
            <ac:spMk id="52" creationId="{7B36949A-E22B-4AD5-9F62-88623E4F764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3:31:36.604" v="561" actId="108"/>
          <ac:spMkLst>
            <pc:docMk/>
            <pc:sldMk cId="685398324" sldId="2134804277"/>
            <ac:spMk id="57" creationId="{48380FA4-D73B-4203-B6A3-A6970B4FD90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3:31:39.086" v="562" actId="108"/>
          <ac:spMkLst>
            <pc:docMk/>
            <pc:sldMk cId="685398324" sldId="2134804277"/>
            <ac:spMk id="58" creationId="{B70591EC-E81F-4CD5-ACA8-E7BB012CA01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7:55.862" v="1199" actId="12788"/>
          <ac:spMkLst>
            <pc:docMk/>
            <pc:sldMk cId="685398324" sldId="2134804277"/>
            <ac:spMk id="69" creationId="{C8FFD2CE-E309-4072-9297-68D81274B40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7:55.862" v="1199" actId="12788"/>
          <ac:spMkLst>
            <pc:docMk/>
            <pc:sldMk cId="685398324" sldId="2134804277"/>
            <ac:spMk id="70" creationId="{10CEAC64-42D3-4879-B6BE-C8E72BFE35E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7:55.862" v="1199" actId="12788"/>
          <ac:spMkLst>
            <pc:docMk/>
            <pc:sldMk cId="685398324" sldId="2134804277"/>
            <ac:spMk id="71" creationId="{90F0F570-83E8-4E69-A9A0-FCCDD1A6305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30:36.461" v="1248" actId="1038"/>
          <ac:spMkLst>
            <pc:docMk/>
            <pc:sldMk cId="685398324" sldId="2134804277"/>
            <ac:spMk id="72" creationId="{4260919B-02F7-4252-A8DC-A6A9A717EDB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30:15.036" v="1242" actId="1038"/>
          <ac:spMkLst>
            <pc:docMk/>
            <pc:sldMk cId="685398324" sldId="2134804277"/>
            <ac:spMk id="73" creationId="{DC0659CB-DE42-44D1-B937-66C38521659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7:18.580" v="1191" actId="14100"/>
          <ac:spMkLst>
            <pc:docMk/>
            <pc:sldMk cId="685398324" sldId="2134804277"/>
            <ac:spMk id="74" creationId="{B33AE336-9430-49D7-A74B-E3F446F5335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4:40.939" v="2131" actId="12788"/>
          <ac:spMkLst>
            <pc:docMk/>
            <pc:sldMk cId="685398324" sldId="2134804277"/>
            <ac:spMk id="75" creationId="{10CA6977-1DFC-403C-A45F-5C7F8E4CD4C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4:57.761" v="2139" actId="1035"/>
          <ac:spMkLst>
            <pc:docMk/>
            <pc:sldMk cId="685398324" sldId="2134804277"/>
            <ac:spMk id="76" creationId="{F6C39026-16E8-46B2-BBB2-C363EF96642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5:00.279" v="2143" actId="1035"/>
          <ac:spMkLst>
            <pc:docMk/>
            <pc:sldMk cId="685398324" sldId="2134804277"/>
            <ac:spMk id="77" creationId="{250DDC32-7399-472D-8369-461782ED248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09:19.858" v="1384" actId="1038"/>
          <ac:spMkLst>
            <pc:docMk/>
            <pc:sldMk cId="685398324" sldId="2134804277"/>
            <ac:spMk id="78" creationId="{9207C83B-D9D1-4EF5-A6BA-47A0F83FCE5C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08:36.334" v="1375" actId="21"/>
          <ac:spMkLst>
            <pc:docMk/>
            <pc:sldMk cId="685398324" sldId="2134804277"/>
            <ac:spMk id="79" creationId="{D1B5F9E2-B140-409E-964D-510149FDA0A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4:49.724" v="2135" actId="1038"/>
          <ac:spMkLst>
            <pc:docMk/>
            <pc:sldMk cId="685398324" sldId="2134804277"/>
            <ac:spMk id="80" creationId="{EECEA763-7F2B-4DAF-B4D2-08130142AA1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4:40.939" v="2131" actId="12788"/>
          <ac:spMkLst>
            <pc:docMk/>
            <pc:sldMk cId="685398324" sldId="2134804277"/>
            <ac:spMk id="81" creationId="{C631E4FA-DE7B-421C-942A-141780DC78A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4:40.939" v="2131" actId="12788"/>
          <ac:spMkLst>
            <pc:docMk/>
            <pc:sldMk cId="685398324" sldId="2134804277"/>
            <ac:spMk id="82" creationId="{A365855A-28E1-4840-82FA-0C3F7779753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08:36.334" v="1375" actId="21"/>
          <ac:spMkLst>
            <pc:docMk/>
            <pc:sldMk cId="685398324" sldId="2134804277"/>
            <ac:spMk id="83" creationId="{832E5B7E-355E-4CF8-BAC5-D34E4003AA4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4" creationId="{9359B6F1-AF70-4C0E-8EBA-6E966081AFB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5" creationId="{98493EB8-0BF3-499F-A089-A21AD4C99CD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6" creationId="{C044FC9D-35EA-4E78-9889-8EC30B42DFD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7" creationId="{211D8486-BA49-440D-853D-DDAB1CA5B66C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8" creationId="{2FD9E577-0D8F-41E8-84FC-E6D78F676DE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9" creationId="{A859D537-EE64-40AF-A57A-B0DFC260DE1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7.155" v="1130" actId="478"/>
          <ac:spMkLst>
            <pc:docMk/>
            <pc:sldMk cId="685398324" sldId="2134804277"/>
            <ac:spMk id="90" creationId="{E482743C-D8CE-4D85-8303-96B848F5CEE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6.241" v="1129" actId="478"/>
          <ac:spMkLst>
            <pc:docMk/>
            <pc:sldMk cId="685398324" sldId="2134804277"/>
            <ac:spMk id="91" creationId="{411C468F-AF17-408A-9E72-794CAAAB1E86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5.108" v="1128" actId="478"/>
          <ac:spMkLst>
            <pc:docMk/>
            <pc:sldMk cId="685398324" sldId="2134804277"/>
            <ac:spMk id="92" creationId="{5320D064-EB54-45D6-A164-75D36B58B29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4.437" v="1127" actId="478"/>
          <ac:spMkLst>
            <pc:docMk/>
            <pc:sldMk cId="685398324" sldId="2134804277"/>
            <ac:spMk id="93" creationId="{A7313B39-5338-4C76-9AC7-345D40EE509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3.716" v="1126" actId="478"/>
          <ac:spMkLst>
            <pc:docMk/>
            <pc:sldMk cId="685398324" sldId="2134804277"/>
            <ac:spMk id="94" creationId="{0BF6A8E9-4715-49E8-883E-C654E3B8212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58.957" v="2124" actId="12788"/>
          <ac:spMkLst>
            <pc:docMk/>
            <pc:sldMk cId="685398324" sldId="2134804277"/>
            <ac:spMk id="96" creationId="{1DFEF71A-A80A-4597-AAC9-DB256058084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1.236" v="1123" actId="478"/>
          <ac:spMkLst>
            <pc:docMk/>
            <pc:sldMk cId="685398324" sldId="2134804277"/>
            <ac:spMk id="98" creationId="{C5656D76-901A-473A-B4B4-83DD0478BBD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02.675" v="2125" actId="12788"/>
          <ac:spMkLst>
            <pc:docMk/>
            <pc:sldMk cId="685398324" sldId="2134804277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47.891" v="2122" actId="12788"/>
          <ac:spMkLst>
            <pc:docMk/>
            <pc:sldMk cId="685398324" sldId="2134804277"/>
            <ac:spMk id="100" creationId="{1835F856-5B59-4AFF-86DE-2F0968B76CF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2.001" v="1124" actId="478"/>
          <ac:spMkLst>
            <pc:docMk/>
            <pc:sldMk cId="685398324" sldId="2134804277"/>
            <ac:spMk id="101" creationId="{B93742C1-408B-44D0-8FDF-A4F8CD3D357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09.853" v="2129" actId="1038"/>
          <ac:spMkLst>
            <pc:docMk/>
            <pc:sldMk cId="685398324" sldId="2134804277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16.085" v="2130" actId="12788"/>
          <ac:spMkLst>
            <pc:docMk/>
            <pc:sldMk cId="685398324" sldId="2134804277"/>
            <ac:spMk id="103" creationId="{BDBCDC72-F935-45A4-AE31-C045019965A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10:24.357" v="1395" actId="571"/>
          <ac:spMkLst>
            <pc:docMk/>
            <pc:sldMk cId="685398324" sldId="2134804277"/>
            <ac:spMk id="107" creationId="{A76226DA-7737-4060-A8F9-DE47EA357C0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10:24.357" v="1395" actId="571"/>
          <ac:spMkLst>
            <pc:docMk/>
            <pc:sldMk cId="685398324" sldId="2134804277"/>
            <ac:spMk id="109" creationId="{413136F8-BD3A-404D-93ED-FF3F63E40B8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24.243" v="1132" actId="478"/>
          <ac:spMkLst>
            <pc:docMk/>
            <pc:sldMk cId="685398324" sldId="2134804277"/>
            <ac:spMk id="109" creationId="{555DEAF1-0DCC-424B-983C-755F97E2237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10:24.357" v="1395" actId="571"/>
          <ac:spMkLst>
            <pc:docMk/>
            <pc:sldMk cId="685398324" sldId="2134804277"/>
            <ac:spMk id="110" creationId="{3F7E9DCC-FE0A-499E-B78A-7F2B8457D7E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0.706" v="1122" actId="478"/>
          <ac:spMkLst>
            <pc:docMk/>
            <pc:sldMk cId="685398324" sldId="2134804277"/>
            <ac:spMk id="110" creationId="{5C8DF325-0584-49A5-B12E-AF392A399F1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59.825" v="1121" actId="478"/>
          <ac:spMkLst>
            <pc:docMk/>
            <pc:sldMk cId="685398324" sldId="2134804277"/>
            <ac:spMk id="111" creationId="{1B35CC26-F653-4A5C-A0A7-375091731B1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13:22.485" v="1422" actId="14100"/>
          <ac:spMkLst>
            <pc:docMk/>
            <pc:sldMk cId="685398324" sldId="2134804277"/>
            <ac:spMk id="111" creationId="{33054A9A-549A-46EA-92C1-A009641F3BB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13:54.749" v="1427" actId="1076"/>
          <ac:spMkLst>
            <pc:docMk/>
            <pc:sldMk cId="685398324" sldId="2134804277"/>
            <ac:spMk id="112" creationId="{22B5CFB4-BFDC-4A1D-A451-0270A649F5C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2.995" v="1125" actId="478"/>
          <ac:spMkLst>
            <pc:docMk/>
            <pc:sldMk cId="685398324" sldId="2134804277"/>
            <ac:spMk id="112" creationId="{F4099FDE-91D0-4B95-A21F-F9E6291CF80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13" creationId="{441FAA60-63AD-4CC5-AD45-5D9BA9F5B68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14" creationId="{D4928E43-184C-4F89-A5DB-B6007137710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15" creationId="{E26055A8-02B1-4ECA-9E20-4089928DF9E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2:07.890" v="2234" actId="1076"/>
          <ac:spMkLst>
            <pc:docMk/>
            <pc:sldMk cId="685398324" sldId="2134804277"/>
            <ac:spMk id="116" creationId="{879B225E-11CB-48BD-B073-6718F5FD274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9:47.527" v="1223" actId="478"/>
          <ac:spMkLst>
            <pc:docMk/>
            <pc:sldMk cId="685398324" sldId="2134804277"/>
            <ac:spMk id="116" creationId="{F78209E1-8BA6-42EA-97B4-2B42804BCF8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9:39.861" v="1221"/>
          <ac:spMkLst>
            <pc:docMk/>
            <pc:sldMk cId="685398324" sldId="2134804277"/>
            <ac:spMk id="117" creationId="{F61C864A-9A93-4E9F-9696-95BA709B906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9:39.861" v="1221"/>
          <ac:spMkLst>
            <pc:docMk/>
            <pc:sldMk cId="685398324" sldId="2134804277"/>
            <ac:spMk id="118" creationId="{3E887259-9725-41DC-84F2-12618F2AEF5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9:39.861" v="1221"/>
          <ac:spMkLst>
            <pc:docMk/>
            <pc:sldMk cId="685398324" sldId="2134804277"/>
            <ac:spMk id="119" creationId="{CF27F8C4-20D0-4D77-B45B-A4590944E79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9:39.861" v="1221"/>
          <ac:spMkLst>
            <pc:docMk/>
            <pc:sldMk cId="685398324" sldId="2134804277"/>
            <ac:spMk id="120" creationId="{2531434F-E118-4E2D-88FB-E9F0792BE55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21" creationId="{B090BFCE-20D4-4C2E-AB13-0B67385FA7A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8:12.319" v="2187" actId="20577"/>
          <ac:spMkLst>
            <pc:docMk/>
            <pc:sldMk cId="685398324" sldId="2134804277"/>
            <ac:spMk id="122" creationId="{86903DE0-ADCA-4DC8-9E6D-E9AED1F442A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23" creationId="{EA803C8F-BBB1-4354-90E8-720062F397E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2:53.082" v="2248" actId="20577"/>
          <ac:spMkLst>
            <pc:docMk/>
            <pc:sldMk cId="685398324" sldId="2134804277"/>
            <ac:spMk id="124" creationId="{E0A25213-98A0-4D9C-B905-69EC0D85486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25" creationId="{6EEE8AFC-471F-4452-9936-7BAF0D8C6B6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2:51.733" v="2246" actId="20577"/>
          <ac:spMkLst>
            <pc:docMk/>
            <pc:sldMk cId="685398324" sldId="2134804277"/>
            <ac:spMk id="126" creationId="{B3717873-697F-451F-BA49-9F0AB4550A4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2:56.304" v="2250" actId="20577"/>
          <ac:spMkLst>
            <pc:docMk/>
            <pc:sldMk cId="685398324" sldId="2134804277"/>
            <ac:spMk id="127" creationId="{21108AA1-2B9D-4188-BBCC-74BBBE9302C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28" creationId="{DCF3D11F-3DD2-486A-8119-9C38A5A436D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3:44.803" v="2254" actId="20577"/>
          <ac:spMkLst>
            <pc:docMk/>
            <pc:sldMk cId="685398324" sldId="2134804277"/>
            <ac:spMk id="129" creationId="{AF127B43-599C-4DF7-9C76-8EFCDD84F26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30" creationId="{4EFB3025-4C2C-44FD-B2C8-39B36008222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31" creationId="{865EADF7-6A89-4769-AC5C-AA4FA77A666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32" creationId="{FC03C305-04BA-46AF-B7D7-D94598B2FE8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33" creationId="{310CB3A5-C87B-4760-B9D3-E7FEB278DAC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34" creationId="{B2D44EE1-B15C-4463-8E05-2A1954C1E647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9:36.852" v="1387" actId="478"/>
          <ac:spMkLst>
            <pc:docMk/>
            <pc:sldMk cId="685398324" sldId="2134804277"/>
            <ac:spMk id="135" creationId="{94A77529-CA0E-46B5-943E-8812CDB7A78D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9:33.471" v="1386" actId="478"/>
          <ac:spMkLst>
            <pc:docMk/>
            <pc:sldMk cId="685398324" sldId="2134804277"/>
            <ac:spMk id="136" creationId="{CDAAE380-0192-4B9C-B37C-FE9CD8489A0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3:33.774" v="1109" actId="208"/>
          <ac:spMkLst>
            <pc:docMk/>
            <pc:sldMk cId="685398324" sldId="2134804277"/>
            <ac:spMk id="137" creationId="{F2F1441C-82E3-4978-ADB4-2E81AB714A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3:37.665" v="1110" actId="108"/>
          <ac:spMkLst>
            <pc:docMk/>
            <pc:sldMk cId="685398324" sldId="2134804277"/>
            <ac:spMk id="138" creationId="{B7572FF5-C3B2-41FB-AC8B-11068157874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3:39.503" v="1111" actId="108"/>
          <ac:spMkLst>
            <pc:docMk/>
            <pc:sldMk cId="685398324" sldId="2134804277"/>
            <ac:spMk id="139" creationId="{2227F15F-B01E-49E7-B6F1-35FB5511773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5:45.879" v="2392" actId="1035"/>
          <ac:spMkLst>
            <pc:docMk/>
            <pc:sldMk cId="685398324" sldId="2134804277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02.675" v="2125" actId="12788"/>
          <ac:spMkLst>
            <pc:docMk/>
            <pc:sldMk cId="685398324" sldId="2134804277"/>
            <ac:spMk id="141" creationId="{6DFBB2A7-5F2D-4D91-9156-98CB032BD85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58.957" v="2124" actId="12788"/>
          <ac:spMkLst>
            <pc:docMk/>
            <pc:sldMk cId="685398324" sldId="2134804277"/>
            <ac:spMk id="142" creationId="{9660C67C-C249-4C29-87B1-2E22B67DE74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5:01:03.720" v="2227" actId="1076"/>
          <ac:spMkLst>
            <pc:docMk/>
            <pc:sldMk cId="685398324" sldId="2134804277"/>
            <ac:spMk id="143" creationId="{92043131-3755-4946-AA99-1BAB416E79D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47.891" v="2122" actId="12788"/>
          <ac:spMkLst>
            <pc:docMk/>
            <pc:sldMk cId="685398324" sldId="2134804277"/>
            <ac:spMk id="144" creationId="{25AF8D90-7CF9-4004-AFE7-8FD9BCD562C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47.891" v="2122" actId="12788"/>
          <ac:spMkLst>
            <pc:docMk/>
            <pc:sldMk cId="685398324" sldId="2134804277"/>
            <ac:spMk id="145" creationId="{1FACAF7C-6304-4959-827F-E5EC80E0E80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09.853" v="2129" actId="1038"/>
          <ac:spMkLst>
            <pc:docMk/>
            <pc:sldMk cId="685398324" sldId="2134804277"/>
            <ac:spMk id="146" creationId="{D86974CC-32BF-439F-A6E2-D1E82520294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09.853" v="2129" actId="1038"/>
          <ac:spMkLst>
            <pc:docMk/>
            <pc:sldMk cId="685398324" sldId="2134804277"/>
            <ac:spMk id="147" creationId="{58F0CDC2-9414-439E-A3CB-C4B6F7ADCE1B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8:36.334" v="1375" actId="21"/>
          <ac:spMkLst>
            <pc:docMk/>
            <pc:sldMk cId="685398324" sldId="2134804277"/>
            <ac:spMk id="148" creationId="{3D0EFFEA-E9FE-4053-B9D8-C9F8D888127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3:48.462" v="2256" actId="20577"/>
          <ac:spMkLst>
            <pc:docMk/>
            <pc:sldMk cId="685398324" sldId="2134804277"/>
            <ac:spMk id="149" creationId="{7DD301E2-FD8B-473E-AC06-7B1BEE6BC35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5:00:52.921" v="2219" actId="1076"/>
          <ac:spMkLst>
            <pc:docMk/>
            <pc:sldMk cId="685398324" sldId="2134804277"/>
            <ac:spMk id="150" creationId="{18B0FAF4-B25E-430A-B44F-BB89581DF8C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1:55.792" v="2231" actId="1076"/>
          <ac:spMkLst>
            <pc:docMk/>
            <pc:sldMk cId="685398324" sldId="2134804277"/>
            <ac:spMk id="151" creationId="{6759F741-D2BA-47AD-9BE9-B5F911C114F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01:17.504" v="875" actId="1035"/>
          <ac:spMkLst>
            <pc:docMk/>
            <pc:sldMk cId="685398324" sldId="2134804277"/>
            <ac:spMk id="152" creationId="{7A395937-9DFA-4F55-91C6-913660069E8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6:30.319" v="1177" actId="6549"/>
          <ac:spMkLst>
            <pc:docMk/>
            <pc:sldMk cId="685398324" sldId="2134804277"/>
            <ac:spMk id="153" creationId="{4D3DF7EF-4C67-47D9-B3B2-1EE8EBA2B40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3:57.672" v="2259" actId="1076"/>
          <ac:spMkLst>
            <pc:docMk/>
            <pc:sldMk cId="685398324" sldId="2134804277"/>
            <ac:spMk id="154" creationId="{7CCA0A5A-A0E7-4CFD-87B3-1917D7D6D48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24.039" v="2116" actId="1038"/>
          <ac:spMkLst>
            <pc:docMk/>
            <pc:sldMk cId="685398324" sldId="2134804277"/>
            <ac:spMk id="155" creationId="{35F89E97-6F48-4EEF-A953-195B7A0A582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2:18.519" v="2237" actId="20577"/>
          <ac:spMkLst>
            <pc:docMk/>
            <pc:sldMk cId="685398324" sldId="2134804277"/>
            <ac:spMk id="157" creationId="{1F1CC25B-2BA4-4BD5-BA03-F2FA6AE3693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5:34.817" v="2390" actId="1076"/>
          <ac:spMkLst>
            <pc:docMk/>
            <pc:sldMk cId="685398324" sldId="2134804277"/>
            <ac:spMk id="158" creationId="{7580C1C1-1118-4E58-9C3A-0048861203F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4:43.175" v="2366" actId="1076"/>
          <ac:spMkLst>
            <pc:docMk/>
            <pc:sldMk cId="685398324" sldId="2134804277"/>
            <ac:spMk id="165" creationId="{5ECB6BAB-01A4-4031-AFF5-666CA1F7C30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2:58.455" v="2252" actId="20577"/>
          <ac:spMkLst>
            <pc:docMk/>
            <pc:sldMk cId="685398324" sldId="2134804277"/>
            <ac:spMk id="166" creationId="{D622807D-0029-496D-9FF0-3E3E825043E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4:43.175" v="2366" actId="1076"/>
          <ac:spMkLst>
            <pc:docMk/>
            <pc:sldMk cId="685398324" sldId="2134804277"/>
            <ac:spMk id="167" creationId="{775B6AE0-CB44-4723-A497-8EAECD1943B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4:45.242" v="2368" actId="1037"/>
          <ac:spMkLst>
            <pc:docMk/>
            <pc:sldMk cId="685398324" sldId="2134804277"/>
            <ac:spMk id="168" creationId="{27CE3CF4-8552-4668-8C92-72492F9C7EDE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9:03.602" v="1379" actId="21"/>
          <ac:spMkLst>
            <pc:docMk/>
            <pc:sldMk cId="685398324" sldId="2134804277"/>
            <ac:spMk id="169" creationId="{815661F8-4E4B-455A-B8FB-8F4E2F66C8A0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10:05.881" v="1391" actId="478"/>
          <ac:spMkLst>
            <pc:docMk/>
            <pc:sldMk cId="685398324" sldId="2134804277"/>
            <ac:spMk id="170" creationId="{B2F3BBE0-6656-46AE-B393-9E0F8F4D849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10:05.135" v="1390" actId="478"/>
          <ac:spMkLst>
            <pc:docMk/>
            <pc:sldMk cId="685398324" sldId="2134804277"/>
            <ac:spMk id="171" creationId="{E70F20BE-E504-47E7-80A0-49DF0D1CB34F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9:03.602" v="1379" actId="21"/>
          <ac:spMkLst>
            <pc:docMk/>
            <pc:sldMk cId="685398324" sldId="2134804277"/>
            <ac:spMk id="172" creationId="{170F7383-CBE6-4527-BD9C-0DABD3EFC817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9:03.602" v="1379" actId="21"/>
          <ac:spMkLst>
            <pc:docMk/>
            <pc:sldMk cId="685398324" sldId="2134804277"/>
            <ac:spMk id="174" creationId="{DC1FC889-7C64-4E13-8CA3-F2AA0C731F2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13:03.925" v="1418" actId="14100"/>
          <ac:spMkLst>
            <pc:docMk/>
            <pc:sldMk cId="685398324" sldId="2134804277"/>
            <ac:spMk id="175" creationId="{C6A85CE0-D516-4D47-80B2-B2B61C459D20}"/>
          </ac:spMkLst>
        </pc:spChg>
      </pc:sldChg>
      <pc:sldChg chg="addSp modSp mod">
        <pc:chgData name="Mariam Daniela Tristancho Pineda (MISION TEMPORAL LTDA)" userId="a45a17f7-7950-4cb5-bfab-f5c894f959a9" providerId="ADAL" clId="{1440674F-A918-4BC9-A66E-0A6A8DD6A97A}" dt="2020-06-16T21:14:31.880" v="243" actId="1076"/>
        <pc:sldMkLst>
          <pc:docMk/>
          <pc:sldMk cId="3831308622" sldId="2134804279"/>
        </pc:sldMkLst>
        <pc:spChg chg="mod">
          <ac:chgData name="Mariam Daniela Tristancho Pineda (MISION TEMPORAL LTDA)" userId="a45a17f7-7950-4cb5-bfab-f5c894f959a9" providerId="ADAL" clId="{1440674F-A918-4BC9-A66E-0A6A8DD6A97A}" dt="2020-06-16T21:14:09.188" v="239" actId="404"/>
          <ac:spMkLst>
            <pc:docMk/>
            <pc:sldMk cId="3831308622" sldId="2134804279"/>
            <ac:spMk id="8" creationId="{E1D3488A-08B6-49AA-A393-579F2EBB08D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1:14:25.997" v="241" actId="1076"/>
          <ac:spMkLst>
            <pc:docMk/>
            <pc:sldMk cId="3831308622" sldId="2134804279"/>
            <ac:spMk id="15" creationId="{59AA0F43-31F0-4E03-B7EA-E108DEA265BA}"/>
          </ac:spMkLst>
        </pc:spChg>
        <pc:picChg chg="add mod">
          <ac:chgData name="Mariam Daniela Tristancho Pineda (MISION TEMPORAL LTDA)" userId="a45a17f7-7950-4cb5-bfab-f5c894f959a9" providerId="ADAL" clId="{1440674F-A918-4BC9-A66E-0A6A8DD6A97A}" dt="2020-06-16T21:14:31.880" v="243" actId="1076"/>
          <ac:picMkLst>
            <pc:docMk/>
            <pc:sldMk cId="3831308622" sldId="2134804279"/>
            <ac:picMk id="17" creationId="{53408C8D-C286-4C5B-8116-FF2B292DBE06}"/>
          </ac:picMkLst>
        </pc:picChg>
        <pc:picChg chg="add mod">
          <ac:chgData name="Mariam Daniela Tristancho Pineda (MISION TEMPORAL LTDA)" userId="a45a17f7-7950-4cb5-bfab-f5c894f959a9" providerId="ADAL" clId="{1440674F-A918-4BC9-A66E-0A6A8DD6A97A}" dt="2020-06-16T21:14:28.483" v="242" actId="1076"/>
          <ac:picMkLst>
            <pc:docMk/>
            <pc:sldMk cId="3831308622" sldId="2134804279"/>
            <ac:picMk id="18" creationId="{CFB0A51A-883E-4269-9A8D-DD4D063D8711}"/>
          </ac:picMkLst>
        </pc:picChg>
      </pc:sldChg>
      <pc:sldChg chg="modSp mod">
        <pc:chgData name="Mariam Daniela Tristancho Pineda (MISION TEMPORAL LTDA)" userId="a45a17f7-7950-4cb5-bfab-f5c894f959a9" providerId="ADAL" clId="{1440674F-A918-4BC9-A66E-0A6A8DD6A97A}" dt="2020-06-25T21:50:41.519" v="2685" actId="12"/>
        <pc:sldMkLst>
          <pc:docMk/>
          <pc:sldMk cId="383958496" sldId="2134804281"/>
        </pc:sldMkLst>
        <pc:spChg chg="mod">
          <ac:chgData name="Mariam Daniela Tristancho Pineda (MISION TEMPORAL LTDA)" userId="a45a17f7-7950-4cb5-bfab-f5c894f959a9" providerId="ADAL" clId="{1440674F-A918-4BC9-A66E-0A6A8DD6A97A}" dt="2020-06-25T21:50:41.519" v="2685" actId="12"/>
          <ac:spMkLst>
            <pc:docMk/>
            <pc:sldMk cId="383958496" sldId="2134804281"/>
            <ac:spMk id="4" creationId="{9B0CE30D-625A-4CD9-98D4-3AF33243D19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7:58.685" v="2478" actId="20577"/>
          <ac:spMkLst>
            <pc:docMk/>
            <pc:sldMk cId="383958496" sldId="2134804281"/>
            <ac:spMk id="12" creationId="{96C9E76C-8C7F-489D-82CB-B2BD0385270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1:50:28.381" v="2683" actId="14100"/>
          <ac:spMkLst>
            <pc:docMk/>
            <pc:sldMk cId="383958496" sldId="2134804281"/>
            <ac:spMk id="32" creationId="{2024A44D-6779-4D28-8793-5679E8EF3B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7:02.602" v="2453" actId="20577"/>
          <ac:spMkLst>
            <pc:docMk/>
            <pc:sldMk cId="383958496" sldId="2134804281"/>
            <ac:spMk id="33" creationId="{257A51C8-EB6E-4CAA-8ED7-3E4E7C0B3A8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7:21.532" v="2458" actId="20577"/>
          <ac:spMkLst>
            <pc:docMk/>
            <pc:sldMk cId="383958496" sldId="2134804281"/>
            <ac:spMk id="43" creationId="{E717706E-1A55-49C0-B079-6DE218F95FC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7:41.450" v="2466" actId="113"/>
          <ac:spMkLst>
            <pc:docMk/>
            <pc:sldMk cId="383958496" sldId="2134804281"/>
            <ac:spMk id="59" creationId="{59ACAE5A-D20F-4C0C-AF16-1F585FF5F4FE}"/>
          </ac:spMkLst>
        </pc:spChg>
        <pc:graphicFrameChg chg="modGraphic">
          <ac:chgData name="Mariam Daniela Tristancho Pineda (MISION TEMPORAL LTDA)" userId="a45a17f7-7950-4cb5-bfab-f5c894f959a9" providerId="ADAL" clId="{1440674F-A918-4BC9-A66E-0A6A8DD6A97A}" dt="2020-06-25T21:49:52.371" v="2566" actId="20577"/>
          <ac:graphicFrameMkLst>
            <pc:docMk/>
            <pc:sldMk cId="383958496" sldId="2134804281"/>
            <ac:graphicFrameMk id="8" creationId="{4BC9CEDC-F82B-45AF-A5D9-6BBEFDB86658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7:45.056" v="2470" actId="20577"/>
          <ac:graphicFrameMkLst>
            <pc:docMk/>
            <pc:sldMk cId="383958496" sldId="2134804281"/>
            <ac:graphicFrameMk id="34" creationId="{02B2869B-7E4D-490B-8846-042149DA7C69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7:26.832" v="2462" actId="20577"/>
          <ac:graphicFrameMkLst>
            <pc:docMk/>
            <pc:sldMk cId="383958496" sldId="2134804281"/>
            <ac:graphicFrameMk id="42" creationId="{F76758D9-DF29-4C65-8046-FB9AE5C702A6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7:13.526" v="2455" actId="6549"/>
          <ac:graphicFrameMkLst>
            <pc:docMk/>
            <pc:sldMk cId="383958496" sldId="2134804281"/>
            <ac:graphicFrameMk id="49" creationId="{F9FEDD4D-029E-496C-B3C1-822EC9768199}"/>
          </ac:graphicFrameMkLst>
        </pc:graphicFrameChg>
      </pc:sldChg>
      <pc:sldChg chg="modSp mod">
        <pc:chgData name="Mariam Daniela Tristancho Pineda (MISION TEMPORAL LTDA)" userId="a45a17f7-7950-4cb5-bfab-f5c894f959a9" providerId="ADAL" clId="{1440674F-A918-4BC9-A66E-0A6A8DD6A97A}" dt="2020-06-24T15:10:22.904" v="2507" actId="1076"/>
        <pc:sldMkLst>
          <pc:docMk/>
          <pc:sldMk cId="4094272692" sldId="2134804282"/>
        </pc:sldMkLst>
        <pc:spChg chg="mod">
          <ac:chgData name="Mariam Daniela Tristancho Pineda (MISION TEMPORAL LTDA)" userId="a45a17f7-7950-4cb5-bfab-f5c894f959a9" providerId="ADAL" clId="{1440674F-A918-4BC9-A66E-0A6A8DD6A97A}" dt="2020-06-24T15:09:27.444" v="2503" actId="20577"/>
          <ac:spMkLst>
            <pc:docMk/>
            <pc:sldMk cId="4094272692" sldId="2134804282"/>
            <ac:spMk id="4" creationId="{9B0CE30D-625A-4CD9-98D4-3AF33243D19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8:23.459" v="2481" actId="20577"/>
          <ac:spMkLst>
            <pc:docMk/>
            <pc:sldMk cId="4094272692" sldId="2134804282"/>
            <ac:spMk id="12" creationId="{96C9E76C-8C7F-489D-82CB-B2BD0385270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10:22.904" v="2507" actId="1076"/>
          <ac:spMkLst>
            <pc:docMk/>
            <pc:sldMk cId="4094272692" sldId="2134804282"/>
            <ac:spMk id="44" creationId="{9FBCC2B1-7BBD-49DB-AA42-86668C42B93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10:17.329" v="2506" actId="113"/>
          <ac:spMkLst>
            <pc:docMk/>
            <pc:sldMk cId="4094272692" sldId="2134804282"/>
            <ac:spMk id="49" creationId="{150C8A9D-7063-459B-9C87-747B1378F2F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9:32.296" v="2504" actId="1076"/>
          <ac:spMkLst>
            <pc:docMk/>
            <pc:sldMk cId="4094272692" sldId="2134804282"/>
            <ac:spMk id="70" creationId="{6090A16D-2FA3-4FF9-BD76-94350261A023}"/>
          </ac:spMkLst>
        </pc:spChg>
        <pc:graphicFrameChg chg="modGraphic">
          <ac:chgData name="Mariam Daniela Tristancho Pineda (MISION TEMPORAL LTDA)" userId="a45a17f7-7950-4cb5-bfab-f5c894f959a9" providerId="ADAL" clId="{1440674F-A918-4BC9-A66E-0A6A8DD6A97A}" dt="2020-06-16T16:39:43.896" v="78" actId="20577"/>
          <ac:graphicFrameMkLst>
            <pc:docMk/>
            <pc:sldMk cId="4094272692" sldId="2134804282"/>
            <ac:graphicFrameMk id="6" creationId="{696E929C-842E-4A14-B3B2-9D0BBEE92173}"/>
          </ac:graphicFrameMkLst>
        </pc:graphicFrameChg>
        <pc:graphicFrameChg chg="modGraphic">
          <ac:chgData name="Mariam Daniela Tristancho Pineda (MISION TEMPORAL LTDA)" userId="a45a17f7-7950-4cb5-bfab-f5c894f959a9" providerId="ADAL" clId="{1440674F-A918-4BC9-A66E-0A6A8DD6A97A}" dt="2020-06-24T15:08:19.904" v="2479" actId="2165"/>
          <ac:graphicFrameMkLst>
            <pc:docMk/>
            <pc:sldMk cId="4094272692" sldId="2134804282"/>
            <ac:graphicFrameMk id="8" creationId="{9EAC8BE2-E9F7-49C2-9B40-7EF667D4FE82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8:34.402" v="2484" actId="20577"/>
          <ac:graphicFrameMkLst>
            <pc:docMk/>
            <pc:sldMk cId="4094272692" sldId="2134804282"/>
            <ac:graphicFrameMk id="35" creationId="{5B566B40-A4EF-4944-BD58-170A46172CD8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8:49.845" v="2488" actId="20577"/>
          <ac:graphicFrameMkLst>
            <pc:docMk/>
            <pc:sldMk cId="4094272692" sldId="2134804282"/>
            <ac:graphicFrameMk id="42" creationId="{F76758D9-DF29-4C65-8046-FB9AE5C702A6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9:10.845" v="2492" actId="20577"/>
          <ac:graphicFrameMkLst>
            <pc:docMk/>
            <pc:sldMk cId="4094272692" sldId="2134804282"/>
            <ac:graphicFrameMk id="64" creationId="{EFBB39D2-BE31-4303-A6C1-C366E74B6A81}"/>
          </ac:graphicFrameMkLst>
        </pc:graphicFrameChg>
      </pc:sldChg>
      <pc:sldChg chg="modSp mod">
        <pc:chgData name="Mariam Daniela Tristancho Pineda (MISION TEMPORAL LTDA)" userId="a45a17f7-7950-4cb5-bfab-f5c894f959a9" providerId="ADAL" clId="{1440674F-A918-4BC9-A66E-0A6A8DD6A97A}" dt="2020-06-25T23:10:10.302" v="3140" actId="108"/>
        <pc:sldMkLst>
          <pc:docMk/>
          <pc:sldMk cId="3972105642" sldId="2134804288"/>
        </pc:sldMkLst>
        <pc:spChg chg="mod">
          <ac:chgData name="Mariam Daniela Tristancho Pineda (MISION TEMPORAL LTDA)" userId="a45a17f7-7950-4cb5-bfab-f5c894f959a9" providerId="ADAL" clId="{1440674F-A918-4BC9-A66E-0A6A8DD6A97A}" dt="2020-06-25T23:10:10.302" v="3140" actId="108"/>
          <ac:spMkLst>
            <pc:docMk/>
            <pc:sldMk cId="3972105642" sldId="2134804288"/>
            <ac:spMk id="63" creationId="{51677489-FC2B-4FD1-AEFD-56F1823C4DD5}"/>
          </ac:spMkLst>
        </pc:spChg>
      </pc:sldChg>
      <pc:sldChg chg="modSp mod">
        <pc:chgData name="Mariam Daniela Tristancho Pineda (MISION TEMPORAL LTDA)" userId="a45a17f7-7950-4cb5-bfab-f5c894f959a9" providerId="ADAL" clId="{1440674F-A918-4BC9-A66E-0A6A8DD6A97A}" dt="2020-06-16T21:04:45.069" v="82" actId="1076"/>
        <pc:sldMkLst>
          <pc:docMk/>
          <pc:sldMk cId="2228275924" sldId="2134804290"/>
        </pc:sldMkLst>
        <pc:spChg chg="mod">
          <ac:chgData name="Mariam Daniela Tristancho Pineda (MISION TEMPORAL LTDA)" userId="a45a17f7-7950-4cb5-bfab-f5c894f959a9" providerId="ADAL" clId="{1440674F-A918-4BC9-A66E-0A6A8DD6A97A}" dt="2020-06-16T21:04:41.188" v="81" actId="255"/>
          <ac:spMkLst>
            <pc:docMk/>
            <pc:sldMk cId="2228275924" sldId="2134804290"/>
            <ac:spMk id="6" creationId="{935E60B3-FFBE-4EF9-967C-09104A4E6C2E}"/>
          </ac:spMkLst>
        </pc:spChg>
        <pc:picChg chg="mod">
          <ac:chgData name="Mariam Daniela Tristancho Pineda (MISION TEMPORAL LTDA)" userId="a45a17f7-7950-4cb5-bfab-f5c894f959a9" providerId="ADAL" clId="{1440674F-A918-4BC9-A66E-0A6A8DD6A97A}" dt="2020-06-16T21:04:45.069" v="82" actId="1076"/>
          <ac:picMkLst>
            <pc:docMk/>
            <pc:sldMk cId="2228275924" sldId="2134804290"/>
            <ac:picMk id="19" creationId="{5D90D1B2-2CBD-4FED-8155-3C080DC03FC0}"/>
          </ac:picMkLst>
        </pc:picChg>
      </pc:sldChg>
      <pc:sldChg chg="addSp delSp modSp mod">
        <pc:chgData name="Mariam Daniela Tristancho Pineda (MISION TEMPORAL LTDA)" userId="a45a17f7-7950-4cb5-bfab-f5c894f959a9" providerId="ADAL" clId="{1440674F-A918-4BC9-A66E-0A6A8DD6A97A}" dt="2020-06-26T15:43:22.972" v="3655" actId="478"/>
        <pc:sldMkLst>
          <pc:docMk/>
          <pc:sldMk cId="838099151" sldId="2134804292"/>
        </pc:sldMkLst>
        <pc:spChg chg="mo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3" creationId="{815B10B7-60B3-4C63-8431-70CC556387C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6" creationId="{0BDC2BE6-ED2C-45B9-B477-BD471E3E4C0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1:05:11.237" v="85" actId="1076"/>
          <ac:spMkLst>
            <pc:docMk/>
            <pc:sldMk cId="838099151" sldId="2134804292"/>
            <ac:spMk id="7" creationId="{52FE2391-690B-4D13-B0BE-AD54BD4AFEA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8" creationId="{DD71BF06-B04C-46D4-9585-65ACB77D82D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6:36.587" v="3608" actId="20577"/>
          <ac:spMkLst>
            <pc:docMk/>
            <pc:sldMk cId="838099151" sldId="2134804292"/>
            <ac:spMk id="9" creationId="{6F922DD3-801F-4B3D-9B4D-DBEC1EC37D5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6T15:43:22.972" v="3655" actId="478"/>
          <ac:spMkLst>
            <pc:docMk/>
            <pc:sldMk cId="838099151" sldId="2134804292"/>
            <ac:spMk id="10" creationId="{75ED179D-70D6-4622-97D1-64B49DB5177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6T15:33:04.564" v="3536" actId="1036"/>
          <ac:spMkLst>
            <pc:docMk/>
            <pc:sldMk cId="838099151" sldId="2134804292"/>
            <ac:spMk id="13" creationId="{D1CF4700-4906-4F29-B146-BA40E72EA40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50.081" v="3541" actId="1076"/>
          <ac:spMkLst>
            <pc:docMk/>
            <pc:sldMk cId="838099151" sldId="2134804292"/>
            <ac:spMk id="14" creationId="{8AB679CB-F4D7-4A91-8B7C-AF57F212E85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40" creationId="{D1132571-22C6-4A24-931F-862227F6062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33.500" v="3538" actId="465"/>
          <ac:spMkLst>
            <pc:docMk/>
            <pc:sldMk cId="838099151" sldId="2134804292"/>
            <ac:spMk id="41" creationId="{CCB4BB0D-CEFB-4C0D-841C-32888E931D7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4:33.952" v="3571" actId="465"/>
          <ac:spMkLst>
            <pc:docMk/>
            <pc:sldMk cId="838099151" sldId="2134804292"/>
            <ac:spMk id="42" creationId="{D738484B-A1FE-4D14-B0E6-2C43B61812C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43" creationId="{9E99B233-8A5B-44E6-A802-87EAA9553E24}"/>
          </ac:spMkLst>
        </pc:spChg>
        <pc:spChg chg="mod ord">
          <ac:chgData name="Mariam Daniela Tristancho Pineda (MISION TEMPORAL LTDA)" userId="a45a17f7-7950-4cb5-bfab-f5c894f959a9" providerId="ADAL" clId="{1440674F-A918-4BC9-A66E-0A6A8DD6A97A}" dt="2020-06-26T15:40:41.089" v="3654" actId="20577"/>
          <ac:spMkLst>
            <pc:docMk/>
            <pc:sldMk cId="838099151" sldId="2134804292"/>
            <ac:spMk id="44" creationId="{E239B605-6964-49EB-B22A-9FCE640E48B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26.714" v="3456" actId="14100"/>
          <ac:spMkLst>
            <pc:docMk/>
            <pc:sldMk cId="838099151" sldId="2134804292"/>
            <ac:spMk id="45" creationId="{FE8ED9F7-3608-4810-95FA-CCA357FF8DD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15:39.742" v="1033" actId="108"/>
          <ac:spMkLst>
            <pc:docMk/>
            <pc:sldMk cId="838099151" sldId="2134804292"/>
            <ac:spMk id="46" creationId="{37613081-A8A7-4283-97BA-0F79BCAFB2C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47" creationId="{BF5EEC85-5BBC-4AC0-BFF6-FC2E72B5FA1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17.484" v="3636" actId="20577"/>
          <ac:spMkLst>
            <pc:docMk/>
            <pc:sldMk cId="838099151" sldId="2134804292"/>
            <ac:spMk id="48" creationId="{42AE1721-865B-4FA1-9DB2-04731ADDC02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4:28.517" v="3570" actId="1036"/>
          <ac:spMkLst>
            <pc:docMk/>
            <pc:sldMk cId="838099151" sldId="2134804292"/>
            <ac:spMk id="49" creationId="{AA424A2E-6D9A-4F45-8D12-089063FB713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5:25.542" v="3594" actId="20577"/>
          <ac:spMkLst>
            <pc:docMk/>
            <pc:sldMk cId="838099151" sldId="2134804292"/>
            <ac:spMk id="50" creationId="{5AEE6479-611C-4B25-9D86-68C74F4E684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20.409" v="3638" actId="20577"/>
          <ac:spMkLst>
            <pc:docMk/>
            <pc:sldMk cId="838099151" sldId="2134804292"/>
            <ac:spMk id="52" creationId="{2AD1363D-77A4-4B18-8087-0B267A4558E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28:39.875" v="1516" actId="1035"/>
          <ac:spMkLst>
            <pc:docMk/>
            <pc:sldMk cId="838099151" sldId="2134804292"/>
            <ac:spMk id="53" creationId="{F9C857D3-C5F6-4D00-8D9C-646D1DA60918}"/>
          </ac:spMkLst>
        </pc:spChg>
        <pc:spChg chg="del mod ord">
          <ac:chgData name="Mariam Daniela Tristancho Pineda (MISION TEMPORAL LTDA)" userId="a45a17f7-7950-4cb5-bfab-f5c894f959a9" providerId="ADAL" clId="{1440674F-A918-4BC9-A66E-0A6A8DD6A97A}" dt="2020-06-24T14:33:21.007" v="1702" actId="478"/>
          <ac:spMkLst>
            <pc:docMk/>
            <pc:sldMk cId="838099151" sldId="2134804292"/>
            <ac:spMk id="54" creationId="{C38A9719-1AF0-4D7F-AF9E-714FBC13357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55" creationId="{3303E99B-C92B-47E7-8D82-C8AAB6B8C38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2:52:17.382" v="2995" actId="20577"/>
          <ac:spMkLst>
            <pc:docMk/>
            <pc:sldMk cId="838099151" sldId="2134804292"/>
            <ac:spMk id="56" creationId="{4F0BB8E1-0E03-4A52-9BB1-7AC2ED86FFB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57" creationId="{0FB34961-9380-4A9B-A2B6-992F21508C6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58" creationId="{74F606FB-9410-44F0-9F53-ACCA9F228C2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22.616" v="3640" actId="20577"/>
          <ac:spMkLst>
            <pc:docMk/>
            <pc:sldMk cId="838099151" sldId="2134804292"/>
            <ac:spMk id="59" creationId="{97F69600-5EC2-415F-899E-3158E1DD0E4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36.979" v="3652" actId="20577"/>
          <ac:spMkLst>
            <pc:docMk/>
            <pc:sldMk cId="838099151" sldId="2134804292"/>
            <ac:spMk id="60" creationId="{E78B2A6C-DEF5-4176-9EC8-F1C34E8F7D5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61" creationId="{1F7F6559-3F08-4F7E-A909-B96E01AB752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29.022" v="3646" actId="20577"/>
          <ac:spMkLst>
            <pc:docMk/>
            <pc:sldMk cId="838099151" sldId="2134804292"/>
            <ac:spMk id="62" creationId="{1F18B743-7CA7-4168-93CE-0B2A698A9D4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7:39.125" v="3616" actId="1076"/>
          <ac:spMkLst>
            <pc:docMk/>
            <pc:sldMk cId="838099151" sldId="2134804292"/>
            <ac:spMk id="63" creationId="{AB5F3A10-3A0A-4AD1-810F-ECFBAF93D3A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24.786" v="3642" actId="20577"/>
          <ac:spMkLst>
            <pc:docMk/>
            <pc:sldMk cId="838099151" sldId="2134804292"/>
            <ac:spMk id="64" creationId="{C1641CFC-CF7F-498D-B4D0-3EC07F8B6FC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31.189" v="3648" actId="20577"/>
          <ac:spMkLst>
            <pc:docMk/>
            <pc:sldMk cId="838099151" sldId="2134804292"/>
            <ac:spMk id="65" creationId="{75F4E58E-0C8C-4616-AE69-3937079E004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7:42.365" v="3623" actId="1035"/>
          <ac:spMkLst>
            <pc:docMk/>
            <pc:sldMk cId="838099151" sldId="2134804292"/>
            <ac:spMk id="66" creationId="{C1B3BC7F-010E-4F7C-9215-3BC0CB51B95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67" creationId="{B6194378-B50F-421A-B27B-1B4AFC5ED15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34.017" v="3650" actId="20577"/>
          <ac:spMkLst>
            <pc:docMk/>
            <pc:sldMk cId="838099151" sldId="2134804292"/>
            <ac:spMk id="68" creationId="{1E9FFA51-5316-41A7-8371-6FF614BF676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69" creationId="{A9C3CC04-9C5E-4AB6-9E92-09DAF9B16ADC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11:16.405" v="327" actId="478"/>
          <ac:spMkLst>
            <pc:docMk/>
            <pc:sldMk cId="838099151" sldId="2134804292"/>
            <ac:spMk id="70" creationId="{D52F4566-6844-443F-8815-042E2729305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04.564" v="3536" actId="1036"/>
          <ac:spMkLst>
            <pc:docMk/>
            <pc:sldMk cId="838099151" sldId="2134804292"/>
            <ac:spMk id="71" creationId="{A69B7E9C-1301-476B-9B8D-50B1CA3CB77F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17T00:18:19.127" v="1063" actId="478"/>
          <ac:spMkLst>
            <pc:docMk/>
            <pc:sldMk cId="838099151" sldId="2134804292"/>
            <ac:spMk id="72" creationId="{622D38D3-D447-4679-8F81-A3EC3CD4CFF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43.005" v="3532" actId="1076"/>
          <ac:spMkLst>
            <pc:docMk/>
            <pc:sldMk cId="838099151" sldId="2134804292"/>
            <ac:spMk id="73" creationId="{504BE693-A6BF-4CAB-971A-BC7D1287E95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74" creationId="{B5886F35-849B-48A6-97F5-BE8E727DCAB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3:56.865" v="3549" actId="1038"/>
          <ac:spMkLst>
            <pc:docMk/>
            <pc:sldMk cId="838099151" sldId="2134804292"/>
            <ac:spMk id="75" creationId="{6145BB97-3119-4821-8D9F-A6CBDE6564F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3:56.865" v="3549" actId="1038"/>
          <ac:spMkLst>
            <pc:docMk/>
            <pc:sldMk cId="838099151" sldId="2134804292"/>
            <ac:spMk id="76" creationId="{C4889BF1-BFE2-4B20-AB47-50C8708C5811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4:51.768" v="3582" actId="1035"/>
          <ac:spMkLst>
            <pc:docMk/>
            <pc:sldMk cId="838099151" sldId="2134804292"/>
            <ac:spMk id="77" creationId="{FE57AFEB-C555-4E4A-8CCA-35D95283E0B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3:56.865" v="3549" actId="1038"/>
          <ac:spMkLst>
            <pc:docMk/>
            <pc:sldMk cId="838099151" sldId="2134804292"/>
            <ac:spMk id="78" creationId="{29484C37-A93F-435C-BB46-AAD296179DA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3:56.865" v="3549" actId="1038"/>
          <ac:spMkLst>
            <pc:docMk/>
            <pc:sldMk cId="838099151" sldId="2134804292"/>
            <ac:spMk id="79" creationId="{E7635D01-CF5B-467A-AD0E-714418970E6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80" creationId="{D66A88FF-E3F2-4BEC-8E12-DCBEE6A096E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4:45.643" v="3576" actId="1076"/>
          <ac:spMkLst>
            <pc:docMk/>
            <pc:sldMk cId="838099151" sldId="2134804292"/>
            <ac:spMk id="81" creationId="{A742467B-5CB0-468E-8115-5070DDA010C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39.365" v="3531" actId="1076"/>
          <ac:spMkLst>
            <pc:docMk/>
            <pc:sldMk cId="838099151" sldId="2134804292"/>
            <ac:spMk id="82" creationId="{9F1674CE-F25C-4C2A-AA04-EC08592CA6B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4:42.255" v="3575" actId="1038"/>
          <ac:spMkLst>
            <pc:docMk/>
            <pc:sldMk cId="838099151" sldId="2134804292"/>
            <ac:spMk id="83" creationId="{C506A4AA-FCB3-45B4-B3F4-65268296A051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3:56.865" v="3549" actId="1038"/>
          <ac:spMkLst>
            <pc:docMk/>
            <pc:sldMk cId="838099151" sldId="2134804292"/>
            <ac:spMk id="84" creationId="{AE70C292-631F-4FBA-9407-4F63FA529DB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85" creationId="{20DF9912-3C8C-4E4C-AED3-8A1393F7037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86" creationId="{9402E930-4567-4606-8AC6-A4289B77372E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37:23.734" v="3613" actId="478"/>
          <ac:spMkLst>
            <pc:docMk/>
            <pc:sldMk cId="838099151" sldId="2134804292"/>
            <ac:spMk id="86" creationId="{D0C29538-EFD3-4024-85E0-E215B2CB81A0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37:23.734" v="3613" actId="478"/>
          <ac:spMkLst>
            <pc:docMk/>
            <pc:sldMk cId="838099151" sldId="2134804292"/>
            <ac:spMk id="87" creationId="{563162A5-41B5-4D13-845B-8A3E8F064FC1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87" creationId="{90421A61-3341-4E93-9753-651691CAF2C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88" creationId="{125F6C1C-C519-49EC-98B2-33B0E1099B1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89" creationId="{6D4B8EAD-71F9-43E6-94D4-C112D520ECD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04.564" v="3536" actId="1036"/>
          <ac:spMkLst>
            <pc:docMk/>
            <pc:sldMk cId="838099151" sldId="2134804292"/>
            <ac:spMk id="89" creationId="{C663BB5A-D4A1-45C8-A094-4E132713CB9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0" creationId="{17250910-E911-4CF5-A14C-4F367F4D04C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06.447" v="1489" actId="478"/>
          <ac:spMkLst>
            <pc:docMk/>
            <pc:sldMk cId="838099151" sldId="2134804292"/>
            <ac:spMk id="90" creationId="{D070B5C3-1D91-4ABC-8CA2-D9852AE59C8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1" creationId="{D1A6E7F5-05F0-4E92-905E-C4AAECDC47D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06.447" v="1489" actId="478"/>
          <ac:spMkLst>
            <pc:docMk/>
            <pc:sldMk cId="838099151" sldId="2134804292"/>
            <ac:spMk id="91" creationId="{E9A3AA28-23D6-47BB-8D8B-D4ED69D1F80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06.447" v="1489" actId="478"/>
          <ac:spMkLst>
            <pc:docMk/>
            <pc:sldMk cId="838099151" sldId="2134804292"/>
            <ac:spMk id="92" creationId="{B404AA0F-91B0-4410-8B25-EB5940513BC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2" creationId="{ECB9BF28-370B-4E72-B089-481D23AC5D2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3" creationId="{BAFC5881-4A54-499D-8C92-E0B75528A66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06.447" v="1489" actId="478"/>
          <ac:spMkLst>
            <pc:docMk/>
            <pc:sldMk cId="838099151" sldId="2134804292"/>
            <ac:spMk id="93" creationId="{E3B1BFC0-0F6B-4D43-B6C9-9918CEE2AF1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06.447" v="1489" actId="478"/>
          <ac:spMkLst>
            <pc:docMk/>
            <pc:sldMk cId="838099151" sldId="2134804292"/>
            <ac:spMk id="94" creationId="{0B056E8D-65FF-4D24-83C8-C3B9A4850D2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4" creationId="{9441FB53-910E-4163-B498-81DB6DFFFB8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6" creationId="{1814A893-441C-4961-97DC-5A24EDF507A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12.527" v="1490" actId="478"/>
          <ac:spMkLst>
            <pc:docMk/>
            <pc:sldMk cId="838099151" sldId="2134804292"/>
            <ac:spMk id="96" creationId="{39E59936-B3B2-4279-BD62-172D1DD8C52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15.870" v="3522" actId="1036"/>
          <ac:spMkLst>
            <pc:docMk/>
            <pc:sldMk cId="838099151" sldId="2134804292"/>
            <ac:spMk id="96" creationId="{7B02AB4C-AF68-4F54-A894-07E00267D5F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1:36.381" v="3514" actId="552"/>
          <ac:spMkLst>
            <pc:docMk/>
            <pc:sldMk cId="838099151" sldId="2134804292"/>
            <ac:spMk id="97" creationId="{99300021-C267-43BD-A0F5-B3ECE622345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12.527" v="1490" actId="478"/>
          <ac:spMkLst>
            <pc:docMk/>
            <pc:sldMk cId="838099151" sldId="2134804292"/>
            <ac:spMk id="98" creationId="{AA0AA2E3-2CBF-4610-B9BC-42530A64D44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26:26.714" v="3456" actId="14100"/>
          <ac:spMkLst>
            <pc:docMk/>
            <pc:sldMk cId="838099151" sldId="2134804292"/>
            <ac:spMk id="98" creationId="{E063C35E-5F1D-47CE-B7FD-7A60EAA52B7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98" creationId="{F12F3F6D-BA63-4743-B540-27ADCEB2678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26.714" v="3456" actId="14100"/>
          <ac:spMkLst>
            <pc:docMk/>
            <pc:sldMk cId="838099151" sldId="2134804292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26.714" v="3456" actId="14100"/>
          <ac:spMkLst>
            <pc:docMk/>
            <pc:sldMk cId="838099151" sldId="2134804292"/>
            <ac:spMk id="100" creationId="{1835F856-5B59-4AFF-86DE-2F0968B76CF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01" creationId="{0EEF80BB-F5BB-45EE-A406-A19DB22F7E8C}"/>
          </ac:spMkLst>
        </pc:spChg>
        <pc:spChg chg="del mod or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01" creationId="{50D1281F-8266-4D64-9227-2DC0FCFC26C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5:53.864" v="3449" actId="554"/>
          <ac:spMkLst>
            <pc:docMk/>
            <pc:sldMk cId="838099151" sldId="2134804292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26.714" v="3456" actId="14100"/>
          <ac:spMkLst>
            <pc:docMk/>
            <pc:sldMk cId="838099151" sldId="2134804292"/>
            <ac:spMk id="103" creationId="{BDBCDC72-F935-45A4-AE31-C045019965AF}"/>
          </ac:spMkLst>
        </pc:spChg>
        <pc:spChg chg="mod or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04" creationId="{0326A105-08B6-409E-9596-07BD7645DEAE}"/>
          </ac:spMkLst>
        </pc:spChg>
        <pc:spChg chg="mod or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05" creationId="{DC633C75-4D21-4E37-ABEB-B69D06C0A224}"/>
          </ac:spMkLst>
        </pc:spChg>
        <pc:spChg chg="del mod or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06" creationId="{8BF155F6-9EE4-4410-BB22-DEE4B18E9FE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07" creationId="{4802A65C-C4BA-49C6-A107-DC404BE5C336}"/>
          </ac:spMkLst>
        </pc:spChg>
        <pc:spChg chg="del mod or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08" creationId="{E7417F2C-4445-4433-AA31-1B1D9A1C89B3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09" creationId="{71C13042-3BAB-49AE-B302-BF1FC184D1C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09" creationId="{FC13B64F-A589-4005-AFFA-CB0A04AAE4B3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10" creationId="{016FFF86-9DDE-4B71-B999-66D87A5DF4D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0" creationId="{06D2A523-0127-4F91-84F7-27B7D259C759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11" creationId="{6C1EF8A6-0FB5-47E0-9CD3-2DB37B17039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1" creationId="{F3FB3E52-32EA-4925-9743-709353FF530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2" creationId="{DB3F5C3C-4247-4A30-95E3-8E00E6C355D5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12" creationId="{F172C649-196A-458A-9FD2-06A9617C5DA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13" creationId="{22C84C52-FFF2-4B1D-A23E-B10150D390C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3" creationId="{38B3A459-9E20-42A5-A3C4-15D21C77CD0F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14" creationId="{AE25D562-47A5-4429-8752-D107F6B610B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4" creationId="{F48963BE-72B6-4E0C-92A6-C8FE37E79DF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5" creationId="{3CAA1AFE-FCED-490D-89C4-BB33183485F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12.527" v="1490" actId="478"/>
          <ac:spMkLst>
            <pc:docMk/>
            <pc:sldMk cId="838099151" sldId="2134804292"/>
            <ac:spMk id="115" creationId="{94F79E1E-E9A3-4AEB-B0CE-FE7770D984D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15" creationId="{A59199E4-369E-4696-83DF-966F47A0CEA9}"/>
          </ac:spMkLst>
        </pc:spChg>
        <pc:spChg chg="add del mod or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16" creationId="{6BB8B363-E7A5-45E5-8FAC-21699A661EA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6" creationId="{D5FA5FE5-E07C-4EBC-8CDB-4B285186230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17" creationId="{814287F0-FD88-4F23-8E9B-B8E6D32189B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7" creationId="{AEBE1868-0F01-4B96-901B-B4FA6ACF4AC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5:03.446" v="3584" actId="14100"/>
          <ac:spMkLst>
            <pc:docMk/>
            <pc:sldMk cId="838099151" sldId="2134804292"/>
            <ac:spMk id="118" creationId="{64EFC33F-DCB8-4E12-BB79-FF971CD4981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02.333" v="999" actId="478"/>
          <ac:spMkLst>
            <pc:docMk/>
            <pc:sldMk cId="838099151" sldId="2134804292"/>
            <ac:spMk id="118" creationId="{E5D69677-1653-4362-8B0F-2C235B1BFC2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33:34.137" v="1706"/>
          <ac:spMkLst>
            <pc:docMk/>
            <pc:sldMk cId="838099151" sldId="2134804292"/>
            <ac:spMk id="118" creationId="{FE4DCAC9-A3AB-4563-8C5D-8D0AED4FF71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33:34.137" v="1706"/>
          <ac:spMkLst>
            <pc:docMk/>
            <pc:sldMk cId="838099151" sldId="2134804292"/>
            <ac:spMk id="119" creationId="{3114E878-422C-41A6-B28F-F539313C69B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5:07.932" v="3587" actId="1038"/>
          <ac:spMkLst>
            <pc:docMk/>
            <pc:sldMk cId="838099151" sldId="2134804292"/>
            <ac:spMk id="119" creationId="{40F388FF-A98F-46DD-AEF0-8BF6E1D359D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01.251" v="998" actId="478"/>
          <ac:spMkLst>
            <pc:docMk/>
            <pc:sldMk cId="838099151" sldId="2134804292"/>
            <ac:spMk id="119" creationId="{D35B24E9-ED95-4BE5-A1DC-2BB9394B8BA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3:59.443" v="997" actId="478"/>
          <ac:spMkLst>
            <pc:docMk/>
            <pc:sldMk cId="838099151" sldId="2134804292"/>
            <ac:spMk id="120" creationId="{A23F7307-8435-4D06-9F05-014A8892896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5:11.699" v="3590" actId="1038"/>
          <ac:spMkLst>
            <pc:docMk/>
            <pc:sldMk cId="838099151" sldId="2134804292"/>
            <ac:spMk id="120" creationId="{C7385631-F46B-4467-A200-320CE070B85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33:34.137" v="1706"/>
          <ac:spMkLst>
            <pc:docMk/>
            <pc:sldMk cId="838099151" sldId="2134804292"/>
            <ac:spMk id="120" creationId="{EE997AB4-D1BA-4FA9-92D3-5B8B69A18C8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121" creationId="{2E4219D0-FC12-4E35-8DC3-7D8033FAE51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122" creationId="{F59AC007-B728-4703-B31F-7E86BF72753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123" creationId="{6441CA6B-E4DC-4E7E-87F8-3EAF8197D2F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5T23:05:08.885" v="3129" actId="1037"/>
          <ac:spMkLst>
            <pc:docMk/>
            <pc:sldMk cId="838099151" sldId="2134804292"/>
            <ac:spMk id="124" creationId="{469E1CBD-D055-4DF7-8849-6D6B97B58CA6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33:34.137" v="1706"/>
          <ac:spMkLst>
            <pc:docMk/>
            <pc:sldMk cId="838099151" sldId="2134804292"/>
            <ac:spMk id="124" creationId="{59C3F6B9-8A85-4E43-BCF6-B5DFD8D1BFE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2.489" v="1016" actId="478"/>
          <ac:spMkLst>
            <pc:docMk/>
            <pc:sldMk cId="838099151" sldId="2134804292"/>
            <ac:spMk id="124" creationId="{EFBD50C0-E865-40F1-906B-DBF08B0360A6}"/>
          </ac:spMkLst>
        </pc:spChg>
        <pc:spChg chg="add del mod or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25" creationId="{8EA7677D-EB7C-4451-8125-3B8F894E41C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3.261" v="1017" actId="478"/>
          <ac:spMkLst>
            <pc:docMk/>
            <pc:sldMk cId="838099151" sldId="2134804292"/>
            <ac:spMk id="125" creationId="{AC1E2CD1-3145-470B-B7A3-FD52EE96FD8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3.663" v="1018" actId="478"/>
          <ac:spMkLst>
            <pc:docMk/>
            <pc:sldMk cId="838099151" sldId="2134804292"/>
            <ac:spMk id="126" creationId="{93243053-4BEE-4988-AF5B-2F0D50AD553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26" creationId="{E6905FEA-BE8D-4B2A-AA11-317F77C2301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27" creationId="{2E573E72-BF8C-4419-96FA-CFC64BAE39A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4.318" v="1019" actId="478"/>
          <ac:spMkLst>
            <pc:docMk/>
            <pc:sldMk cId="838099151" sldId="2134804292"/>
            <ac:spMk id="127" creationId="{FAF5401A-98F9-47B8-82DF-317AD9ECB79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28" creationId="{2D39EEEF-1FB1-43CB-BCD1-1EF802C685D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5:43.554" v="1036" actId="478"/>
          <ac:spMkLst>
            <pc:docMk/>
            <pc:sldMk cId="838099151" sldId="2134804292"/>
            <ac:spMk id="128" creationId="{C230F94A-71E3-4CB7-9BDA-D2523B7FE54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4.808" v="1020" actId="478"/>
          <ac:spMkLst>
            <pc:docMk/>
            <pc:sldMk cId="838099151" sldId="2134804292"/>
            <ac:spMk id="129" creationId="{46713055-B1BA-41EA-8DF8-131CE552A74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7:33.824" v="3615" actId="1076"/>
          <ac:spMkLst>
            <pc:docMk/>
            <pc:sldMk cId="838099151" sldId="2134804292"/>
            <ac:spMk id="129" creationId="{5962802C-2649-407C-939E-A33D22B31BE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5.342" v="1021" actId="478"/>
          <ac:spMkLst>
            <pc:docMk/>
            <pc:sldMk cId="838099151" sldId="2134804292"/>
            <ac:spMk id="130" creationId="{8305BAF2-738B-41DD-BF30-93B01470BA2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40:26.656" v="3644" actId="20577"/>
          <ac:spMkLst>
            <pc:docMk/>
            <pc:sldMk cId="838099151" sldId="2134804292"/>
            <ac:spMk id="130" creationId="{AF073E07-A056-49B3-82C1-2FBAD2001CA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5.942" v="1022" actId="478"/>
          <ac:spMkLst>
            <pc:docMk/>
            <pc:sldMk cId="838099151" sldId="2134804292"/>
            <ac:spMk id="131" creationId="{C83776C9-129A-448D-BBDF-7A807557633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5T22:49:37.088" v="2971" actId="478"/>
          <ac:spMkLst>
            <pc:docMk/>
            <pc:sldMk cId="838099151" sldId="2134804292"/>
            <ac:spMk id="131" creationId="{FA6B3E83-8693-491D-85F8-4874F2C7B46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5T23:05:08.885" v="3129" actId="1037"/>
          <ac:spMkLst>
            <pc:docMk/>
            <pc:sldMk cId="838099151" sldId="2134804292"/>
            <ac:spMk id="132" creationId="{10805ED7-B6A2-44FC-9278-C06AE813E17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6.782" v="1023" actId="478"/>
          <ac:spMkLst>
            <pc:docMk/>
            <pc:sldMk cId="838099151" sldId="2134804292"/>
            <ac:spMk id="132" creationId="{700D7318-B669-483F-9554-2F3DAA2ED644}"/>
          </ac:spMkLst>
        </pc:spChg>
        <pc:spChg chg="add mod ord">
          <ac:chgData name="Mariam Daniela Tristancho Pineda (MISION TEMPORAL LTDA)" userId="a45a17f7-7950-4cb5-bfab-f5c894f959a9" providerId="ADAL" clId="{1440674F-A918-4BC9-A66E-0A6A8DD6A97A}" dt="2020-06-25T23:05:08.885" v="3129" actId="1037"/>
          <ac:spMkLst>
            <pc:docMk/>
            <pc:sldMk cId="838099151" sldId="2134804292"/>
            <ac:spMk id="133" creationId="{26F8700F-BA62-4BDC-93D4-1CE85427A5F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5:59.650" v="1042" actId="478"/>
          <ac:spMkLst>
            <pc:docMk/>
            <pc:sldMk cId="838099151" sldId="2134804292"/>
            <ac:spMk id="133" creationId="{4CB357DF-1FE2-4C33-80E7-DDCE6AE6F17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5:58.767" v="1041" actId="478"/>
          <ac:spMkLst>
            <pc:docMk/>
            <pc:sldMk cId="838099151" sldId="2134804292"/>
            <ac:spMk id="134" creationId="{C57D1D05-EE22-4AAB-9B49-B7C9649DEC9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5T23:05:08.885" v="3129" actId="1037"/>
          <ac:spMkLst>
            <pc:docMk/>
            <pc:sldMk cId="838099151" sldId="2134804292"/>
            <ac:spMk id="134" creationId="{CE3B8BB4-2BB8-4948-B3D0-C683B7559C56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5:41.614" v="1034" actId="478"/>
          <ac:spMkLst>
            <pc:docMk/>
            <pc:sldMk cId="838099151" sldId="2134804292"/>
            <ac:spMk id="135" creationId="{DC16490D-3127-4876-BA94-A47E1DBE70A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8.091" v="1025" actId="478"/>
          <ac:spMkLst>
            <pc:docMk/>
            <pc:sldMk cId="838099151" sldId="2134804292"/>
            <ac:spMk id="136" creationId="{B39CEA20-48D9-499E-BE83-39BFCA0E949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137" creationId="{F2F1441C-82E3-4978-ADB4-2E81AB714A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138" creationId="{B7572FF5-C3B2-41FB-AC8B-11068157874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139" creationId="{2227F15F-B01E-49E7-B6F1-35FB55117734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40:31.174" v="1887" actId="478"/>
          <ac:spMkLst>
            <pc:docMk/>
            <pc:sldMk cId="838099151" sldId="2134804292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15:57.776" v="1040" actId="108"/>
          <ac:spMkLst>
            <pc:docMk/>
            <pc:sldMk cId="838099151" sldId="2134804292"/>
            <ac:spMk id="141" creationId="{6DFBB2A7-5F2D-4D91-9156-98CB032BD85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2:15.870" v="3522" actId="1036"/>
          <ac:spMkLst>
            <pc:docMk/>
            <pc:sldMk cId="838099151" sldId="2134804292"/>
            <ac:spMk id="142" creationId="{9660C67C-C249-4C29-87B1-2E22B67DE74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7.490" v="1024" actId="478"/>
          <ac:spMkLst>
            <pc:docMk/>
            <pc:sldMk cId="838099151" sldId="2134804292"/>
            <ac:spMk id="143" creationId="{102360B4-9172-41F6-8698-91433BD23E4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33.500" v="3538" actId="465"/>
          <ac:spMkLst>
            <pc:docMk/>
            <pc:sldMk cId="838099151" sldId="2134804292"/>
            <ac:spMk id="144" creationId="{25AF8D90-7CF9-4004-AFE7-8FD9BCD562C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23.057" v="3537" actId="14100"/>
          <ac:spMkLst>
            <pc:docMk/>
            <pc:sldMk cId="838099151" sldId="2134804292"/>
            <ac:spMk id="145" creationId="{1FACAF7C-6304-4959-827F-E5EC80E0E80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23.057" v="3537" actId="14100"/>
          <ac:spMkLst>
            <pc:docMk/>
            <pc:sldMk cId="838099151" sldId="2134804292"/>
            <ac:spMk id="146" creationId="{D86974CC-32BF-439F-A6E2-D1E82520294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33.500" v="3538" actId="465"/>
          <ac:spMkLst>
            <pc:docMk/>
            <pc:sldMk cId="838099151" sldId="2134804292"/>
            <ac:spMk id="147" creationId="{58F0CDC2-9414-439E-A3CB-C4B6F7ADCE1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4:13.958" v="3551" actId="14100"/>
          <ac:spMkLst>
            <pc:docMk/>
            <pc:sldMk cId="838099151" sldId="2134804292"/>
            <ac:spMk id="148" creationId="{3D0EFFEA-E9FE-4053-B9D8-C9F8D888127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5:42.521" v="1035" actId="478"/>
          <ac:spMkLst>
            <pc:docMk/>
            <pc:sldMk cId="838099151" sldId="2134804292"/>
            <ac:spMk id="149" creationId="{AC82C2EC-4853-4B6A-A06F-298FEEC2FF2D}"/>
          </ac:spMkLst>
        </pc:spChg>
        <pc:cxnChg chg="del mod">
          <ac:chgData name="Mariam Daniela Tristancho Pineda (MISION TEMPORAL LTDA)" userId="a45a17f7-7950-4cb5-bfab-f5c894f959a9" providerId="ADAL" clId="{1440674F-A918-4BC9-A66E-0A6A8DD6A97A}" dt="2020-06-25T21:48:08.309" v="2533" actId="478"/>
          <ac:cxnSpMkLst>
            <pc:docMk/>
            <pc:sldMk cId="838099151" sldId="2134804292"/>
            <ac:cxnSpMk id="88" creationId="{72E252A3-F8E1-4DDE-822C-DFEF6DF55A06}"/>
          </ac:cxnSpMkLst>
        </pc:cxnChg>
        <pc:cxnChg chg="del mod">
          <ac:chgData name="Mariam Daniela Tristancho Pineda (MISION TEMPORAL LTDA)" userId="a45a17f7-7950-4cb5-bfab-f5c894f959a9" providerId="ADAL" clId="{1440674F-A918-4BC9-A66E-0A6A8DD6A97A}" dt="2020-06-25T21:48:04.102" v="2532" actId="478"/>
          <ac:cxnSpMkLst>
            <pc:docMk/>
            <pc:sldMk cId="838099151" sldId="2134804292"/>
            <ac:cxnSpMk id="95" creationId="{992CCE25-00CE-4C15-881A-068C6B1A3F0E}"/>
          </ac:cxnSpMkLst>
        </pc:cxnChg>
      </pc:sldChg>
      <pc:sldChg chg="modSp mod">
        <pc:chgData name="Mariam Daniela Tristancho Pineda (MISION TEMPORAL LTDA)" userId="a45a17f7-7950-4cb5-bfab-f5c894f959a9" providerId="ADAL" clId="{1440674F-A918-4BC9-A66E-0A6A8DD6A97A}" dt="2020-06-16T21:12:33.198" v="217" actId="404"/>
        <pc:sldMkLst>
          <pc:docMk/>
          <pc:sldMk cId="1822149763" sldId="2134804293"/>
        </pc:sldMkLst>
        <pc:spChg chg="mod">
          <ac:chgData name="Mariam Daniela Tristancho Pineda (MISION TEMPORAL LTDA)" userId="a45a17f7-7950-4cb5-bfab-f5c894f959a9" providerId="ADAL" clId="{1440674F-A918-4BC9-A66E-0A6A8DD6A97A}" dt="2020-06-16T21:12:33.198" v="217" actId="404"/>
          <ac:spMkLst>
            <pc:docMk/>
            <pc:sldMk cId="1822149763" sldId="2134804293"/>
            <ac:spMk id="6" creationId="{935E60B3-FFBE-4EF9-967C-09104A4E6C2E}"/>
          </ac:spMkLst>
        </pc:spChg>
      </pc:sldChg>
      <pc:sldChg chg="addSp delSp modSp mod">
        <pc:chgData name="Mariam Daniela Tristancho Pineda (MISION TEMPORAL LTDA)" userId="a45a17f7-7950-4cb5-bfab-f5c894f959a9" providerId="ADAL" clId="{1440674F-A918-4BC9-A66E-0A6A8DD6A97A}" dt="2020-06-24T15:05:52.985" v="2414" actId="1038"/>
        <pc:sldMkLst>
          <pc:docMk/>
          <pc:sldMk cId="689766239" sldId="2134804294"/>
        </pc:sldMkLst>
        <pc:spChg chg="mod">
          <ac:chgData name="Mariam Daniela Tristancho Pineda (MISION TEMPORAL LTDA)" userId="a45a17f7-7950-4cb5-bfab-f5c894f959a9" providerId="ADAL" clId="{1440674F-A918-4BC9-A66E-0A6A8DD6A97A}" dt="2020-06-24T14:56:49.440" v="2166" actId="1076"/>
          <ac:spMkLst>
            <pc:docMk/>
            <pc:sldMk cId="689766239" sldId="2134804294"/>
            <ac:spMk id="6" creationId="{A9B6670C-9FA9-460C-B8DE-3379ABC12A8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5:26.696" v="2381" actId="1076"/>
          <ac:spMkLst>
            <pc:docMk/>
            <pc:sldMk cId="689766239" sldId="2134804294"/>
            <ac:spMk id="7" creationId="{52FE2391-690B-4D13-B0BE-AD54BD4AFEA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45" creationId="{A11713A1-A10D-481C-88FE-F4218C21E34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46" creationId="{6B85F83C-1F4E-4C9F-945A-BF3A010998C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47" creationId="{2E9313C2-48BF-4BEC-84FF-27E4DA635C0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48" creationId="{4724087F-5CE9-4DDB-BAFD-F7A2BCA8A16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8.456" v="2162" actId="1076"/>
          <ac:spMkLst>
            <pc:docMk/>
            <pc:sldMk cId="689766239" sldId="2134804294"/>
            <ac:spMk id="49" creationId="{BD5C92D0-454D-4F3C-9980-21CD644F1A9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51" creationId="{6961FD83-C140-4088-BCE9-20920D3BA6C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43.784" v="2164" actId="1076"/>
          <ac:spMkLst>
            <pc:docMk/>
            <pc:sldMk cId="689766239" sldId="2134804294"/>
            <ac:spMk id="52" creationId="{D51C7D30-E0C6-45B8-A151-C992F84F77A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5:04.164" v="1147" actId="1076"/>
          <ac:spMkLst>
            <pc:docMk/>
            <pc:sldMk cId="689766239" sldId="2134804294"/>
            <ac:spMk id="55" creationId="{49F2795A-5140-4AC5-A7B3-7D9E1FDA715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5:02.261" v="1146" actId="1076"/>
          <ac:spMkLst>
            <pc:docMk/>
            <pc:sldMk cId="689766239" sldId="2134804294"/>
            <ac:spMk id="56" creationId="{DB12A4C4-1175-4202-AE66-75E4184D488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40.648" v="2181" actId="1076"/>
          <ac:spMkLst>
            <pc:docMk/>
            <pc:sldMk cId="689766239" sldId="2134804294"/>
            <ac:spMk id="57" creationId="{6D2C0EC2-9819-47A8-BF97-F113A3CCB2B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5:44.691" v="1157" actId="108"/>
          <ac:spMkLst>
            <pc:docMk/>
            <pc:sldMk cId="689766239" sldId="2134804294"/>
            <ac:spMk id="58" creationId="{9B8439E9-756C-4802-AE86-DE4E66184BA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32.224" v="2179" actId="1076"/>
          <ac:spMkLst>
            <pc:docMk/>
            <pc:sldMk cId="689766239" sldId="2134804294"/>
            <ac:spMk id="59" creationId="{37A5FDFB-B4F6-4C26-ACAC-D5D3A3FE6F0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28.776" v="2178" actId="1076"/>
          <ac:spMkLst>
            <pc:docMk/>
            <pc:sldMk cId="689766239" sldId="2134804294"/>
            <ac:spMk id="61" creationId="{650A9289-5CB4-4614-BEDF-A6E766DF033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9:27.861" v="1218" actId="1035"/>
          <ac:spMkLst>
            <pc:docMk/>
            <pc:sldMk cId="689766239" sldId="2134804294"/>
            <ac:spMk id="62" creationId="{5419A0C4-DA63-40D3-B1C1-7D649744C96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9:27.861" v="1218" actId="1035"/>
          <ac:spMkLst>
            <pc:docMk/>
            <pc:sldMk cId="689766239" sldId="2134804294"/>
            <ac:spMk id="63" creationId="{921FDB8B-D26D-44D7-8FDF-62CCF1ED0C2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9:27.861" v="1218" actId="1035"/>
          <ac:spMkLst>
            <pc:docMk/>
            <pc:sldMk cId="689766239" sldId="2134804294"/>
            <ac:spMk id="64" creationId="{67034597-84B8-4A8E-A718-F04F8D12DA1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9:27.861" v="1218" actId="1035"/>
          <ac:spMkLst>
            <pc:docMk/>
            <pc:sldMk cId="689766239" sldId="2134804294"/>
            <ac:spMk id="65" creationId="{EFD704C2-B677-43C1-868E-4733842A450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0.260" v="2161" actId="408"/>
          <ac:spMkLst>
            <pc:docMk/>
            <pc:sldMk cId="689766239" sldId="2134804294"/>
            <ac:spMk id="66" creationId="{E3715D34-037A-4075-AD33-D36B88DE8DA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0.260" v="2161" actId="408"/>
          <ac:spMkLst>
            <pc:docMk/>
            <pc:sldMk cId="689766239" sldId="2134804294"/>
            <ac:spMk id="67" creationId="{E41D27C7-41BB-46FF-B584-1636633442B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59.608" v="2168" actId="1076"/>
          <ac:spMkLst>
            <pc:docMk/>
            <pc:sldMk cId="689766239" sldId="2134804294"/>
            <ac:spMk id="70" creationId="{464D1786-51BC-4285-B1A0-B0A00A5B60C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08.424" v="2171" actId="1076"/>
          <ac:spMkLst>
            <pc:docMk/>
            <pc:sldMk cId="689766239" sldId="2134804294"/>
            <ac:spMk id="71" creationId="{4836D068-702B-4045-B7A8-99FF08023F6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10.297" v="2172" actId="1076"/>
          <ac:spMkLst>
            <pc:docMk/>
            <pc:sldMk cId="689766239" sldId="2134804294"/>
            <ac:spMk id="72" creationId="{89DE429E-CB9E-4D81-ABF0-57B74A17076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37.991" v="2180" actId="1076"/>
          <ac:spMkLst>
            <pc:docMk/>
            <pc:sldMk cId="689766239" sldId="2134804294"/>
            <ac:spMk id="73" creationId="{D2C8D331-431F-450E-984A-A362AB966BA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18.691" v="2160" actId="12788"/>
          <ac:spMkLst>
            <pc:docMk/>
            <pc:sldMk cId="689766239" sldId="2134804294"/>
            <ac:spMk id="74" creationId="{028EA49A-637B-4697-A40E-1F22C345964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75" creationId="{36F5D3BB-A7D0-4A8C-9E56-AD51794C8B3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8:45.757" v="1204" actId="1582"/>
          <ac:spMkLst>
            <pc:docMk/>
            <pc:sldMk cId="689766239" sldId="2134804294"/>
            <ac:spMk id="75" creationId="{FD204494-7569-4731-B89B-3E85FD58A95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18.691" v="2160" actId="12788"/>
          <ac:spMkLst>
            <pc:docMk/>
            <pc:sldMk cId="689766239" sldId="2134804294"/>
            <ac:spMk id="76" creationId="{25A852B0-8475-4C60-AEB9-D1040C49C3B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79" creationId="{96BF9551-9FEA-4954-A77D-F8AFBC56E9AC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34:48.526" v="631" actId="478"/>
          <ac:spMkLst>
            <pc:docMk/>
            <pc:sldMk cId="689766239" sldId="2134804294"/>
            <ac:spMk id="79" creationId="{F4AC12F4-C7D5-4C22-8F18-06AA239ED79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80" creationId="{C6A910C1-B499-416B-A7BE-D3F536129FD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81" creationId="{BE7AF71D-F3B8-4736-8BBC-A3ECDC06C206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2" creationId="{52F33BC3-0C9E-457C-80B3-CA30A53B63A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7:01.624" v="2169" actId="1076"/>
          <ac:spMkLst>
            <pc:docMk/>
            <pc:sldMk cId="689766239" sldId="2134804294"/>
            <ac:spMk id="82" creationId="{F356FE48-7C2B-4E8A-AABF-3B844FDD347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7:03.545" v="2170" actId="1076"/>
          <ac:spMkLst>
            <pc:docMk/>
            <pc:sldMk cId="689766239" sldId="2134804294"/>
            <ac:spMk id="83" creationId="{22BF857A-F1CA-4AEA-B4B8-103A1EDFD797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3" creationId="{78D30227-9D03-4483-8BE9-D3A80CA3BBB1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4" creationId="{38F4F5E2-3958-4DBD-88A5-B5E2B526A3B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7:51.153" v="2183" actId="1076"/>
          <ac:spMkLst>
            <pc:docMk/>
            <pc:sldMk cId="689766239" sldId="2134804294"/>
            <ac:spMk id="84" creationId="{5B4C9EEB-37B7-4FDB-BA09-0170AE7E657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6:40.409" v="2163" actId="1076"/>
          <ac:spMkLst>
            <pc:docMk/>
            <pc:sldMk cId="689766239" sldId="2134804294"/>
            <ac:spMk id="85" creationId="{04A383B3-6D49-4DC2-BACB-FF985F0E8C83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5" creationId="{49D70C4F-FB92-433A-AD31-17F2D7CC58E4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6" creationId="{B71CA7B4-75A2-489B-A9DD-3ED48ED9A291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8:45.757" v="1204" actId="1582"/>
          <ac:spMkLst>
            <pc:docMk/>
            <pc:sldMk cId="689766239" sldId="2134804294"/>
            <ac:spMk id="86" creationId="{D7955715-186E-4199-A93E-2F8E9EFDEB1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6:51.136" v="2167" actId="1076"/>
          <ac:spMkLst>
            <pc:docMk/>
            <pc:sldMk cId="689766239" sldId="2134804294"/>
            <ac:spMk id="87" creationId="{9B7D4F54-F021-45C4-9755-1C8F1059DA04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7" creationId="{FCD9CCAD-0E6A-4C52-BC4E-505C9A9F373C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8" creationId="{1FD648DB-F788-4C08-910C-78E21BDE386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6:46.040" v="2165" actId="1076"/>
          <ac:spMkLst>
            <pc:docMk/>
            <pc:sldMk cId="689766239" sldId="2134804294"/>
            <ac:spMk id="88" creationId="{82527907-F5EC-4CCE-BAA8-8DAB1B60210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8:45.757" v="1204" actId="1582"/>
          <ac:spMkLst>
            <pc:docMk/>
            <pc:sldMk cId="689766239" sldId="2134804294"/>
            <ac:spMk id="89" creationId="{ADA745C2-514E-40AF-A0D2-08040B35925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9" creationId="{AFADC86E-CD33-4DD0-819B-2E6EA0166612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0" creationId="{BFAF2D39-729F-4E52-AD88-9F019250252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8:45.757" v="1204" actId="1582"/>
          <ac:spMkLst>
            <pc:docMk/>
            <pc:sldMk cId="689766239" sldId="2134804294"/>
            <ac:spMk id="90" creationId="{C3DD3E09-9FA7-487F-A866-E5D82217FCF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8:45.757" v="1204" actId="1582"/>
          <ac:spMkLst>
            <pc:docMk/>
            <pc:sldMk cId="689766239" sldId="2134804294"/>
            <ac:spMk id="91" creationId="{C67D0DCE-05A3-4FF0-85F8-E5DB56576E0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1" creationId="{FF224A3B-31A8-4D4C-A373-597E98CA9042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2" creationId="{6DBEC22B-9D94-4FC7-A913-37AEBD6BD28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92" creationId="{8A053AC2-EF30-4F5C-AA51-AC69CC0756B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92" creationId="{B6BC9C1F-4948-4942-BB2B-F59536D05E18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3" creationId="{1AA7BE16-CAA3-4AF5-8E68-17285FF8FB9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93" creationId="{DB106391-370D-41E9-86ED-6E235447381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93" creationId="{E94BFC3F-9F6C-42F4-A8DD-4AFEE31A546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94" creationId="{A24AC212-9538-47C7-A4B6-0B667AF1704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94" creationId="{E385AA24-92C9-402C-969C-D84244B0B5CD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4" creationId="{FF0FA873-1998-49D3-951B-09C97D461BD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0.260" v="2161" actId="408"/>
          <ac:spMkLst>
            <pc:docMk/>
            <pc:sldMk cId="689766239" sldId="2134804294"/>
            <ac:spMk id="96" creationId="{1DFEF71A-A80A-4597-AAC9-DB256058084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97" creationId="{99300021-C267-43BD-A0F5-B3ECE622345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98" creationId="{1479C003-90D3-4E56-9E1F-ED1D67631897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8" creationId="{4D2C3281-A9CB-49DD-8934-EA33C9AA15B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98" creationId="{A8260689-92F1-447F-A74B-87E8BD11A40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0.260" v="2161" actId="408"/>
          <ac:spMkLst>
            <pc:docMk/>
            <pc:sldMk cId="689766239" sldId="2134804294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0.260" v="2161" actId="408"/>
          <ac:spMkLst>
            <pc:docMk/>
            <pc:sldMk cId="689766239" sldId="2134804294"/>
            <ac:spMk id="100" creationId="{1835F856-5B59-4AFF-86DE-2F0968B76CF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1" creationId="{637D293E-8013-4B70-A08A-A16B842FB129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1" creationId="{D3918EAE-EF6B-45DC-8F80-8A1A66B080D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1" creationId="{E04FC7C9-EDC1-4FFD-A09A-917FE4F8D0D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2" creationId="{8CAE9728-52E7-459C-A1A1-47B55704408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2" creationId="{CE18E381-5C57-48C4-BE18-9CF05418C88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2" creationId="{D23F1BEB-8181-4068-93C1-33B71433055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3" creationId="{190A9AD0-5D39-4D84-99C5-919AC374234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3" creationId="{3C8F8908-D5EC-4129-86A9-42BA2DD5C28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3" creationId="{EEBF7B74-64E0-4F1A-BD07-F4B73D59343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5" creationId="{14E36546-3D04-436C-AF02-4204E1709BF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5" creationId="{1C4791CD-12A5-4515-8939-3717DC7B03E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5" creationId="{5132C157-CE39-4F69-AB06-97BAFAFF8C5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8" creationId="{6201E5F7-E5AC-4A40-9ACD-3E4D1B4299E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8" creationId="{99651913-1F51-4275-B66C-8D5E1E606A10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8" creationId="{9A40F502-D75D-4D3F-B8ED-9B85DF8B9C6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9" creationId="{2F221CD5-39A5-49C8-B2FE-8D931D6E8BD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9" creationId="{8A9F45B3-7173-469A-A773-F75BF2EE87F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9" creationId="{DD152DA8-5FE7-4636-842B-1E17B7820CC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0" creationId="{08CB2E0C-21BA-4D9C-BC50-BE3CE1E90FBD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10" creationId="{1918690C-6A45-489A-956F-1F15E74CDBB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10" creationId="{BAF593AF-387F-46A3-89EF-6A328FA4A9C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1" creationId="{D5AF685A-BADF-4E90-BD56-8A638460FC2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1" creationId="{D6D13D8E-BE8F-407B-AA0B-8139CDF49B4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2" creationId="{AD77674F-97B6-427A-95AE-8987C555E39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2" creationId="{BAC4DEAB-9826-4E08-979A-1D8A3231EBE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3" creationId="{11FE2E6B-35CA-4784-9415-CC1022E8DA2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3" creationId="{D9A6F5EF-6218-4607-B7B6-5CF83DC65FE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4" creationId="{929CF16E-AA9B-473B-9708-40E40AED027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4" creationId="{EFBD1A4E-F31D-4ED9-81CF-5657837B687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5" creationId="{2A987C20-1A74-461B-84AF-83C4834F9E9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5" creationId="{6CCDDBC1-7DB7-41E7-B40B-3804C0FDE41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6" creationId="{19DA7A6A-ACA2-4170-9EE5-C84DE723A99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6" creationId="{3B3FE97C-A936-40B7-9FB1-F2427B132CF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7" creationId="{00972433-3C47-45CF-A640-0AE99530F78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7" creationId="{FEE9613C-2DCC-453E-A0F4-6F584BCEF06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8" creationId="{890A5435-CD20-4522-A7FE-17138E53473C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8" creationId="{C84BB3BD-9C3B-4B87-8A5C-AE7384ED58A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9" creationId="{5EE368D3-7200-4289-B092-82ACCF68DEE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9" creationId="{67A41122-5E0E-4F48-A0F8-F42FC6AA3C5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0" creationId="{37B2255A-6377-482B-930E-20F6720F429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0" creationId="{7A866ABB-1884-44B1-94A6-F995BB370A0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1" creationId="{65F3C51C-1C5A-4A95-986D-86ACB4193DF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1" creationId="{BF037C9A-27AB-4237-9BEA-E6D6727962B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2" creationId="{8DE74ADF-E70E-4FA5-B15F-BBD5A2DB097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2" creationId="{BC234726-ACB1-45A9-B683-455537CED26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3" creationId="{4EFAF154-B92C-4BB4-9E68-C0D9C30BD64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3" creationId="{5FD88287-5002-41E5-9D91-1952EBDEC78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4" creationId="{0FEEE94A-8198-4091-85EE-B80DC6F7E1D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4" creationId="{4363B974-9ED2-4569-B91D-EC000FC37B7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5" creationId="{B18B3DA7-16D9-429C-AA52-FB99113F549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5" creationId="{C7E24555-0D51-428D-9482-7F0320CCEAA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6" creationId="{4F85823B-AB1B-4CC7-A901-C563942FAC5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6" creationId="{6C011046-75C5-444B-8003-5A60717CA6D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27" creationId="{73BEC0EA-3959-416F-A4C5-525162D5F07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7" creationId="{F0247E91-0427-4382-AA5E-C8FAAD5683D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8" creationId="{23C3A2E1-964E-4EAA-A17D-709EAE177C2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5:29.202" v="2387" actId="1038"/>
          <ac:spMkLst>
            <pc:docMk/>
            <pc:sldMk cId="689766239" sldId="2134804294"/>
            <ac:spMk id="128" creationId="{889B266B-D890-4175-B6C4-661B7A5088E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29" creationId="{1B1D8368-9D03-4A1F-BB5C-FA8A693650E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9" creationId="{2B7E35BB-A18B-4797-B404-0E70292EF71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30" creationId="{8260B20C-AB6D-4566-B9CD-27295A9871F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0" creationId="{EE8A6937-8934-42CF-8F04-92239A952AE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31" creationId="{701692AE-08F9-425C-9483-596BE294AA3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1" creationId="{A20E4F12-875E-47FE-8A33-74B6A44D0A5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2" creationId="{4F2FD083-C369-4561-BE25-9CBDC30055F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32" creationId="{6E51D379-AA5B-4D85-AE87-24AA6F62F28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3" creationId="{20250544-0C4F-4167-8A78-3DE0C74007A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3" creationId="{4F5AED61-E128-4E7D-95D4-B1FA6027342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4" creationId="{0A7BD798-2908-4DBB-B7B0-E4B252C6BA9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4" creationId="{5B999821-E384-44A1-B7FF-A4C4ED48356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5" creationId="{30B2ADE0-229F-46B2-B6F6-C43C9BB4193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5" creationId="{CED7C5F3-B86F-4DA0-9994-24F7FD6B35F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6" creationId="{C5D5E455-D81F-4E95-BFE4-B32686ED51D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6" creationId="{FDB88927-277F-4AE8-8FA3-9CA1A1700B7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7" creationId="{7D914DAC-D1DF-46DE-A380-7B1552FD63D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7" creationId="{F8F8DA14-A950-4AEB-A24B-177C3F20837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8" creationId="{BF99A66B-120F-49B2-A1CC-739047837BB6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8" creationId="{F05BCB12-BBE4-4978-AD92-9DA633A2802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9" creationId="{0D3B2834-7475-4EEA-88DF-049C7FC503D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9" creationId="{844A1674-BCC7-4A52-8278-32D0CC73CF5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5:52.985" v="2414" actId="1038"/>
          <ac:spMkLst>
            <pc:docMk/>
            <pc:sldMk cId="689766239" sldId="2134804294"/>
            <ac:spMk id="140" creationId="{2062ABD7-3E18-481C-BE0F-59304E710CA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1" creationId="{2623DE4E-1861-4CAA-B94A-BFAA4D5F0DB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1" creationId="{E245F208-0B34-4ADE-B4A6-42CA696883C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2" creationId="{49E740BE-8500-4117-AD0B-2E67208BD20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2" creationId="{C955ED9A-78FE-476E-B3D8-5FA3F9D4128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3" creationId="{5ADA3367-9B9F-4519-A50F-89EC9039CB3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3" creationId="{85DA9DFF-D70E-46DA-B2A5-4567F9D5D10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4" creationId="{1C5981FC-047F-4A69-9B6A-7E8815CED43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4" creationId="{3A031171-63FE-41BD-A5BD-2CCF12B9041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5" creationId="{DC519FD0-9445-4201-946D-656A5D5D6C8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5" creationId="{F2C4EE6D-19E4-46A7-92FB-D364DCBC37E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146" creationId="{D86974CC-32BF-439F-A6E2-D1E82520294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7" creationId="{313853FA-2E51-4F3E-AE01-DDDAF6E9656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7" creationId="{34EB6A70-E7BE-4797-BF9F-E3877330217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58.459" v="1143" actId="478"/>
          <ac:spMkLst>
            <pc:docMk/>
            <pc:sldMk cId="689766239" sldId="2134804294"/>
            <ac:spMk id="148" creationId="{432EAA1A-992E-4ABC-BDA2-09CDB6C08D6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8" creationId="{8C87CB62-0687-409F-B127-BA52AD58058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49" creationId="{6C380BA4-35C1-4332-914A-D9BAB399A35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9" creationId="{B0906DC3-598D-4F7D-A64E-183CF387ABF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0" creationId="{41F6E8B5-9D97-4BA1-9EEB-DCFF2BD13CA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50" creationId="{95A4036D-3FC3-43CB-9298-3B8A996F570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1" creationId="{62081328-F323-4DA1-9DDE-784A46EE4A9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13.347" v="1165" actId="6549"/>
          <ac:spMkLst>
            <pc:docMk/>
            <pc:sldMk cId="689766239" sldId="2134804294"/>
            <ac:spMk id="151" creationId="{82F2EF05-F5E1-44F9-BA83-E53933A9713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2" creationId="{29496DDD-4F17-477A-B207-9AA829455B4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52" creationId="{97BE40F1-2174-4251-B2D5-927A60AC22D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08.327" v="1164" actId="6549"/>
          <ac:spMkLst>
            <pc:docMk/>
            <pc:sldMk cId="689766239" sldId="2134804294"/>
            <ac:spMk id="153" creationId="{6D1027CA-D4ED-41B3-A42D-9259ED3A176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3" creationId="{DC0FBCC4-989D-4976-8983-34825D2D904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4" creationId="{28C5640B-AA7B-4F00-B56A-C8EE9FA8497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54" creationId="{2A087ECA-B500-43A8-99AB-0397E8C89DF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5" creationId="{454F4380-4BE4-4E21-AAAC-6B3C9286D5B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55" creationId="{D6322CF1-A49E-467A-B762-331C9A3EBBE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15.503" v="1167" actId="6549"/>
          <ac:spMkLst>
            <pc:docMk/>
            <pc:sldMk cId="689766239" sldId="2134804294"/>
            <ac:spMk id="156" creationId="{B7ACC6A2-1D3D-4980-B9B4-EA9E9EB7778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6" creationId="{DF074B77-3C37-42D5-918A-F5C84802F78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57" creationId="{C62AB9D5-A511-4120-940F-81B331E5632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14.092" v="1166" actId="6549"/>
          <ac:spMkLst>
            <pc:docMk/>
            <pc:sldMk cId="689766239" sldId="2134804294"/>
            <ac:spMk id="158" creationId="{29062A0E-9DC0-42B5-9A38-6A743088921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16.263" v="1168" actId="6549"/>
          <ac:spMkLst>
            <pc:docMk/>
            <pc:sldMk cId="689766239" sldId="2134804294"/>
            <ac:spMk id="159" creationId="{4B4AA29D-CC88-45F1-A870-1ADC6DE767B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0" creationId="{23415F4C-21A3-425D-A623-F9781A2F680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1" creationId="{2B25826D-EA39-4DDB-AC0F-5252B8221FA1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16.801" v="1169" actId="6549"/>
          <ac:spMkLst>
            <pc:docMk/>
            <pc:sldMk cId="689766239" sldId="2134804294"/>
            <ac:spMk id="162" creationId="{90898057-2BFF-4905-8D7D-A8309C0FDD3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3" creationId="{D7FB9EFB-B8BF-4997-A740-74761B94F86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20.507" v="1170" actId="20577"/>
          <ac:spMkLst>
            <pc:docMk/>
            <pc:sldMk cId="689766239" sldId="2134804294"/>
            <ac:spMk id="164" creationId="{45989E3C-F984-4E4A-9754-029F4362A77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5" creationId="{5DA3C30B-3C57-4020-B19E-0BC7C9E07C5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6" creationId="{D58D3B44-51A5-41D4-93FA-BC18F79B30F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6:23.476" v="1173" actId="20577"/>
          <ac:spMkLst>
            <pc:docMk/>
            <pc:sldMk cId="689766239" sldId="2134804294"/>
            <ac:spMk id="167" creationId="{895B9FE7-281A-4D3B-A363-85B971887E1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24.252" v="1174" actId="20577"/>
          <ac:spMkLst>
            <pc:docMk/>
            <pc:sldMk cId="689766239" sldId="2134804294"/>
            <ac:spMk id="168" creationId="{C9C6E52E-C496-4919-A209-17987D94CD4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9" creationId="{A29756DE-96BC-41A3-B1EC-D41A9957387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27.685" v="1176" actId="20577"/>
          <ac:spMkLst>
            <pc:docMk/>
            <pc:sldMk cId="689766239" sldId="2134804294"/>
            <ac:spMk id="170" creationId="{A037A168-B6E0-4BA1-A94D-842E080A47F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71" creationId="{E9DCBF7B-CFBB-4B8E-83CA-8CB37171508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26.551" v="1175" actId="20577"/>
          <ac:spMkLst>
            <pc:docMk/>
            <pc:sldMk cId="689766239" sldId="2134804294"/>
            <ac:spMk id="172" creationId="{39687600-E9FD-4B31-A5FE-DA3B3A7DFDC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1.582" v="1133" actId="478"/>
          <ac:spMkLst>
            <pc:docMk/>
            <pc:sldMk cId="689766239" sldId="2134804294"/>
            <ac:spMk id="173" creationId="{35840A4C-ADF7-4399-9D89-20541894B57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1.582" v="1133" actId="478"/>
          <ac:spMkLst>
            <pc:docMk/>
            <pc:sldMk cId="689766239" sldId="2134804294"/>
            <ac:spMk id="174" creationId="{35E78ABF-CA29-4F70-A678-06C13CD9D66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1.582" v="1133" actId="478"/>
          <ac:spMkLst>
            <pc:docMk/>
            <pc:sldMk cId="689766239" sldId="2134804294"/>
            <ac:spMk id="175" creationId="{F9D5F2D6-ABF0-49BB-8471-59B8353CCF0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5.979" v="1136" actId="478"/>
          <ac:spMkLst>
            <pc:docMk/>
            <pc:sldMk cId="689766239" sldId="2134804294"/>
            <ac:spMk id="176" creationId="{DDB825AB-A73F-4929-899A-749D6612C12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5.979" v="1136" actId="478"/>
          <ac:spMkLst>
            <pc:docMk/>
            <pc:sldMk cId="689766239" sldId="2134804294"/>
            <ac:spMk id="177" creationId="{EB1393D4-7B6D-45F0-A233-892179EC9C0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5.979" v="1136" actId="478"/>
          <ac:spMkLst>
            <pc:docMk/>
            <pc:sldMk cId="689766239" sldId="2134804294"/>
            <ac:spMk id="178" creationId="{E6C434A4-96E5-40A9-AD7D-40AF6233D9A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6:03.273" v="1163" actId="478"/>
          <ac:spMkLst>
            <pc:docMk/>
            <pc:sldMk cId="689766239" sldId="2134804294"/>
            <ac:spMk id="179" creationId="{3DBD1A28-F3D9-4B09-8BAB-1786DAE1DDE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6:01.628" v="1161" actId="478"/>
          <ac:spMkLst>
            <pc:docMk/>
            <pc:sldMk cId="689766239" sldId="2134804294"/>
            <ac:spMk id="180" creationId="{34E3A26A-762C-4ECE-990D-C6F02A44FDD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6:02.472" v="1162" actId="478"/>
          <ac:spMkLst>
            <pc:docMk/>
            <pc:sldMk cId="689766239" sldId="2134804294"/>
            <ac:spMk id="181" creationId="{B6EF11B9-F5BA-42A8-948A-877236FF372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5:00.300" v="1145" actId="478"/>
          <ac:spMkLst>
            <pc:docMk/>
            <pc:sldMk cId="689766239" sldId="2134804294"/>
            <ac:spMk id="182" creationId="{A4B39E3B-FFB6-4FBE-A5BE-3F745E1CC2B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6:00.104" v="1160" actId="478"/>
          <ac:spMkLst>
            <pc:docMk/>
            <pc:sldMk cId="689766239" sldId="2134804294"/>
            <ac:spMk id="183" creationId="{70362806-FFE9-4BAC-A513-B894EB4BD49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59.280" v="1144" actId="478"/>
          <ac:spMkLst>
            <pc:docMk/>
            <pc:sldMk cId="689766239" sldId="2134804294"/>
            <ac:spMk id="184" creationId="{827D5781-9EC5-44DD-BB3D-5CA6ACB0DFC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4:39.736" v="1138" actId="1076"/>
          <ac:spMkLst>
            <pc:docMk/>
            <pc:sldMk cId="689766239" sldId="2134804294"/>
            <ac:spMk id="185" creationId="{8B3637CA-31A1-4DBA-8C04-67A44B1549F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4:39.736" v="1138" actId="1076"/>
          <ac:spMkLst>
            <pc:docMk/>
            <pc:sldMk cId="689766239" sldId="2134804294"/>
            <ac:spMk id="186" creationId="{0E211D7E-4773-45B2-A656-28BD766EFD8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4:39.736" v="1138" actId="1076"/>
          <ac:spMkLst>
            <pc:docMk/>
            <pc:sldMk cId="689766239" sldId="2134804294"/>
            <ac:spMk id="187" creationId="{DA463F29-4FA2-4C21-AA9D-A20DB26C4D7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44.360" v="2182" actId="1076"/>
          <ac:spMkLst>
            <pc:docMk/>
            <pc:sldMk cId="689766239" sldId="2134804294"/>
            <ac:spMk id="188" creationId="{FF7A2263-A063-406E-858B-519AB44EEF98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2" creationId="{DD973C30-230A-49D8-8079-1604855F7DE3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3" creationId="{9C659D4C-F784-47E0-B96B-9EAB371FAC8C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4" creationId="{5EA43E41-DC89-4249-899F-B62D5D31268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5" creationId="{1B38E54F-D2C4-48D7-8E66-4D0006BBD8F7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6" creationId="{2F6DBD2B-E3D5-4851-9F96-36768DA0202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7" creationId="{46C39B70-C0F0-4D5C-AE92-64941801B1FC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8" creationId="{44963480-E080-4765-AC54-577F126544F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9" creationId="{EF0966C2-0C99-48A0-878A-904712CA4194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0" creationId="{84B4EFD2-53D3-4D08-B607-BE878C299BB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1" creationId="{99E89184-64B4-4C52-B228-E8313152C17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2" creationId="{75D8A2E0-995D-4B0F-B317-CD82265F6372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3" creationId="{44712E19-14A1-422C-B360-A67E8FAF4E29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4" creationId="{9A54F4A7-C7AB-44C8-B218-0A3429424B04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5" creationId="{15606857-9140-4CDE-9B0A-443B1A11FDB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6" creationId="{AFCA9E3D-8AF5-42A1-AEDD-346A1D024BA4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7" creationId="{4B63333A-DDAF-4BAD-8B14-C2732BA8C536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8" creationId="{50AEBB48-9389-4242-B514-5F1C1D9D595D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9" creationId="{ED2065D7-2311-4BDF-A2C6-0EFE0AFE6BF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0" creationId="{DEF47C99-F164-459A-B4C0-126B6AC2B60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1" creationId="{E0976D2E-4CF3-4B06-B56B-68F08B0BAB6C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2" creationId="{90477727-68E8-47AF-8A16-7B0FB367457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3" creationId="{2428866B-5560-48DE-B827-4993D168318E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4" creationId="{A6DC3205-89CF-46C3-803C-6C81031B75F2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5" creationId="{BD1DA7AF-D047-4D52-9145-B3976D93869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6" creationId="{EA5170C2-DB8B-4ECF-8FE5-B341BFE00AD2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7" creationId="{E94F5464-1951-4D6D-A252-244A280F4481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8" creationId="{D082A999-F92D-403F-A972-CC73F7AED6F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9" creationId="{6629F352-E68A-41C1-85DA-89868318551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50" creationId="{8B284878-1850-4CB9-84A3-8C00F81070AE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51" creationId="{FB21F4ED-43BF-4C0F-93B4-B30925FBB51D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52" creationId="{87DEDE34-9F94-492C-847E-2F682B487BA9}"/>
          </ac:spMkLst>
        </pc:spChg>
      </pc:sldChg>
      <pc:sldChg chg="addSp modSp mod">
        <pc:chgData name="Mariam Daniela Tristancho Pineda (MISION TEMPORAL LTDA)" userId="a45a17f7-7950-4cb5-bfab-f5c894f959a9" providerId="ADAL" clId="{1440674F-A918-4BC9-A66E-0A6A8DD6A97A}" dt="2020-06-18T19:47:12.399" v="1368" actId="1035"/>
        <pc:sldMkLst>
          <pc:docMk/>
          <pc:sldMk cId="2197550008" sldId="2134804299"/>
        </pc:sldMkLst>
        <pc:spChg chg="add mod">
          <ac:chgData name="Mariam Daniela Tristancho Pineda (MISION TEMPORAL LTDA)" userId="a45a17f7-7950-4cb5-bfab-f5c894f959a9" providerId="ADAL" clId="{1440674F-A918-4BC9-A66E-0A6A8DD6A97A}" dt="2020-06-18T19:47:12.399" v="1368" actId="1035"/>
          <ac:spMkLst>
            <pc:docMk/>
            <pc:sldMk cId="2197550008" sldId="2134804299"/>
            <ac:spMk id="13" creationId="{0C105355-B353-4974-AE3C-CAE77E3666F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8T19:45:56.147" v="1291" actId="20577"/>
          <ac:spMkLst>
            <pc:docMk/>
            <pc:sldMk cId="2197550008" sldId="2134804299"/>
            <ac:spMk id="65" creationId="{14BA1960-1B77-46A9-B4B9-CBCBDCFAF42D}"/>
          </ac:spMkLst>
        </pc:spChg>
      </pc:sldChg>
      <pc:sldChg chg="addSp delSp modSp add del mod">
        <pc:chgData name="Mariam Daniela Tristancho Pineda (MISION TEMPORAL LTDA)" userId="a45a17f7-7950-4cb5-bfab-f5c894f959a9" providerId="ADAL" clId="{1440674F-A918-4BC9-A66E-0A6A8DD6A97A}" dt="2020-06-24T14:45:38.433" v="1933" actId="47"/>
        <pc:sldMkLst>
          <pc:docMk/>
          <pc:sldMk cId="228226795" sldId="2134804311"/>
        </pc:sldMkLst>
        <pc:spChg chg="add del">
          <ac:chgData name="Mariam Daniela Tristancho Pineda (MISION TEMPORAL LTDA)" userId="a45a17f7-7950-4cb5-bfab-f5c894f959a9" providerId="ADAL" clId="{1440674F-A918-4BC9-A66E-0A6A8DD6A97A}" dt="2020-06-24T14:19:41.257" v="1458" actId="478"/>
          <ac:spMkLst>
            <pc:docMk/>
            <pc:sldMk cId="228226795" sldId="2134804311"/>
            <ac:spMk id="3" creationId="{815B10B7-60B3-4C63-8431-70CC556387C9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8" creationId="{DD71BF06-B04C-46D4-9585-65ACB77D82D1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9" creationId="{6F922DD3-801F-4B3D-9B4D-DBEC1EC37D57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3" creationId="{D1CF4700-4906-4F29-B146-BA40E72EA40A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40" creationId="{D1132571-22C6-4A24-931F-862227F6062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41" creationId="{CCB4BB0D-CEFB-4C0D-841C-32888E931D7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42" creationId="{D738484B-A1FE-4D14-B0E6-2C43B61812C6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43" creationId="{9E99B233-8A5B-44E6-A802-87EAA9553E2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44" creationId="{E239B605-6964-49EB-B22A-9FCE640E48B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25:49.890" v="1491" actId="14100"/>
          <ac:spMkLst>
            <pc:docMk/>
            <pc:sldMk cId="228226795" sldId="2134804311"/>
            <ac:spMk id="45" creationId="{FE8ED9F7-3608-4810-95FA-CCA357FF8DD5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47" creationId="{BF5EEC85-5BBC-4AC0-BFF6-FC2E72B5FA1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48" creationId="{42AE1721-865B-4FA1-9DB2-04731ADDC02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49" creationId="{AA424A2E-6D9A-4F45-8D12-089063FB713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2" creationId="{2AD1363D-77A4-4B18-8087-0B267A4558E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4" creationId="{C38A9719-1AF0-4D7F-AF9E-714FBC13357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5" creationId="{3303E99B-C92B-47E7-8D82-C8AAB6B8C380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6" creationId="{4F0BB8E1-0E03-4A52-9BB1-7AC2ED86FFB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7" creationId="{0FB34961-9380-4A9B-A2B6-992F21508C6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8" creationId="{74F606FB-9410-44F0-9F53-ACCA9F228C2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9" creationId="{97F69600-5EC2-415F-899E-3158E1DD0E4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0" creationId="{E78B2A6C-DEF5-4176-9EC8-F1C34E8F7D5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1" creationId="{1F7F6559-3F08-4F7E-A909-B96E01AB7528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2" creationId="{1F18B743-7CA7-4168-93CE-0B2A698A9D4B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3" creationId="{AB5F3A10-3A0A-4AD1-810F-ECFBAF93D3A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4" creationId="{C1641CFC-CF7F-498D-B4D0-3EC07F8B6FCA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6" creationId="{C1B3BC7F-010E-4F7C-9215-3BC0CB51B95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71" creationId="{A69B7E9C-1301-476B-9B8D-50B1CA3CB77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20:14.877" v="1462" actId="478"/>
          <ac:spMkLst>
            <pc:docMk/>
            <pc:sldMk cId="228226795" sldId="2134804311"/>
            <ac:spMk id="73" creationId="{504BE693-A6BF-4CAB-971A-BC7D1287E952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74" creationId="{B5886F35-849B-48A6-97F5-BE8E727DCABB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75" creationId="{6145BB97-3119-4821-8D9F-A6CBDE6564FA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76" creationId="{C4889BF1-BFE2-4B20-AB47-50C8708C5811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77" creationId="{FE57AFEB-C555-4E4A-8CCA-35D95283E0B0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78" creationId="{29484C37-A93F-435C-BB46-AAD296179DA7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79" creationId="{E7635D01-CF5B-467A-AD0E-714418970E68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80" creationId="{D66A88FF-E3F2-4BEC-8E12-DCBEE6A096E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81" creationId="{A742467B-5CB0-468E-8115-5070DDA010C6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20:13.568" v="1461" actId="478"/>
          <ac:spMkLst>
            <pc:docMk/>
            <pc:sldMk cId="228226795" sldId="2134804311"/>
            <ac:spMk id="82" creationId="{9F1674CE-F25C-4C2A-AA04-EC08592CA6B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83" creationId="{C506A4AA-FCB3-45B4-B3F4-65268296A051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84" creationId="{AE70C292-631F-4FBA-9407-4F63FA529DB7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85" creationId="{20DF9912-3C8C-4E4C-AED3-8A1393F70375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89" creationId="{C663BB5A-D4A1-45C8-A094-4E132713CB94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00.322" v="1494" actId="478"/>
          <ac:spMkLst>
            <pc:docMk/>
            <pc:sldMk cId="228226795" sldId="2134804311"/>
            <ac:spMk id="90" creationId="{D070B5C3-1D91-4ABC-8CA2-D9852AE59C86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06.684" v="1495" actId="478"/>
          <ac:spMkLst>
            <pc:docMk/>
            <pc:sldMk cId="228226795" sldId="2134804311"/>
            <ac:spMk id="91" creationId="{E9A3AA28-23D6-47BB-8D8B-D4ED69D1F80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7:06.684" v="1495" actId="478"/>
          <ac:spMkLst>
            <pc:docMk/>
            <pc:sldMk cId="228226795" sldId="2134804311"/>
            <ac:spMk id="92" creationId="{B404AA0F-91B0-4410-8B25-EB5940513BC2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06.684" v="1495" actId="478"/>
          <ac:spMkLst>
            <pc:docMk/>
            <pc:sldMk cId="228226795" sldId="2134804311"/>
            <ac:spMk id="93" creationId="{E3B1BFC0-0F6B-4D43-B6C9-9918CEE2AF1E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00.322" v="1494" actId="478"/>
          <ac:spMkLst>
            <pc:docMk/>
            <pc:sldMk cId="228226795" sldId="2134804311"/>
            <ac:spMk id="94" creationId="{0B056E8D-65FF-4D24-83C8-C3B9A4850D2B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12.662" v="1497" actId="478"/>
          <ac:spMkLst>
            <pc:docMk/>
            <pc:sldMk cId="228226795" sldId="2134804311"/>
            <ac:spMk id="96" creationId="{39E59936-B3B2-4279-BD62-172D1DD8C52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97" creationId="{99300021-C267-43BD-A0F5-B3ECE622345E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12.662" v="1497" actId="478"/>
          <ac:spMkLst>
            <pc:docMk/>
            <pc:sldMk cId="228226795" sldId="2134804311"/>
            <ac:spMk id="98" creationId="{AA0AA2E3-2CBF-4610-B9BC-42530A64D44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3.543" v="1456" actId="478"/>
          <ac:spMkLst>
            <pc:docMk/>
            <pc:sldMk cId="228226795" sldId="2134804311"/>
            <ac:spMk id="99" creationId="{90CC82AC-D82E-4F89-AC67-093894759099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3.543" v="1456" actId="478"/>
          <ac:spMkLst>
            <pc:docMk/>
            <pc:sldMk cId="228226795" sldId="2134804311"/>
            <ac:spMk id="100" creationId="{1835F856-5B59-4AFF-86DE-2F0968B76CF7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3.543" v="1456" actId="478"/>
          <ac:spMkLst>
            <pc:docMk/>
            <pc:sldMk cId="228226795" sldId="2134804311"/>
            <ac:spMk id="101" creationId="{50D1281F-8266-4D64-9227-2DC0FCFC26CB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5.098" v="1455" actId="478"/>
          <ac:spMkLst>
            <pc:docMk/>
            <pc:sldMk cId="228226795" sldId="2134804311"/>
            <ac:spMk id="102" creationId="{101F3273-AA10-47F1-9872-07AD50130DF5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03" creationId="{BDBCDC72-F935-45A4-AE31-C045019965A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41.257" v="1458" actId="478"/>
          <ac:spMkLst>
            <pc:docMk/>
            <pc:sldMk cId="228226795" sldId="2134804311"/>
            <ac:spMk id="104" creationId="{0326A105-08B6-409E-9596-07BD7645DEA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41.257" v="1458" actId="478"/>
          <ac:spMkLst>
            <pc:docMk/>
            <pc:sldMk cId="228226795" sldId="2134804311"/>
            <ac:spMk id="105" creationId="{DC633C75-4D21-4E37-ABEB-B69D06C0A22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3.543" v="1456" actId="478"/>
          <ac:spMkLst>
            <pc:docMk/>
            <pc:sldMk cId="228226795" sldId="2134804311"/>
            <ac:spMk id="106" creationId="{8BF155F6-9EE4-4410-BB22-DEE4B18E9FE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41.257" v="1458" actId="478"/>
          <ac:spMkLst>
            <pc:docMk/>
            <pc:sldMk cId="228226795" sldId="2134804311"/>
            <ac:spMk id="107" creationId="{4802A65C-C4BA-49C6-A107-DC404BE5C336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41.257" v="1458" actId="478"/>
          <ac:spMkLst>
            <pc:docMk/>
            <pc:sldMk cId="228226795" sldId="2134804311"/>
            <ac:spMk id="108" creationId="{E7417F2C-4445-4433-AA31-1B1D9A1C89B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09" creationId="{71C13042-3BAB-49AE-B302-BF1FC184D1C0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10" creationId="{016FFF86-9DDE-4B71-B999-66D87A5DF4D8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11" creationId="{6C1EF8A6-0FB5-47E0-9CD3-2DB37B17039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12" creationId="{F172C649-196A-458A-9FD2-06A9617C5DA1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14" creationId="{AE25D562-47A5-4429-8752-D107F6B610B2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12.662" v="1497" actId="478"/>
          <ac:spMkLst>
            <pc:docMk/>
            <pc:sldMk cId="228226795" sldId="2134804311"/>
            <ac:spMk id="115" creationId="{94F79E1E-E9A3-4AEB-B0CE-FE7770D984D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20:34.621" v="1467" actId="14100"/>
          <ac:spMkLst>
            <pc:docMk/>
            <pc:sldMk cId="228226795" sldId="2134804311"/>
            <ac:spMk id="116" creationId="{C945C427-3EB0-4440-84F5-2EF138AB310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20:44.380" v="1471" actId="14100"/>
          <ac:spMkLst>
            <pc:docMk/>
            <pc:sldMk cId="228226795" sldId="2134804311"/>
            <ac:spMk id="117" creationId="{33BA16BF-6D1E-4C62-84EA-EAF265457B1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20:52.550" v="1473" actId="1076"/>
          <ac:spMkLst>
            <pc:docMk/>
            <pc:sldMk cId="228226795" sldId="2134804311"/>
            <ac:spMk id="118" creationId="{6400BD5C-7E92-46BC-AFB8-7B1437F648B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1:16.502" v="1486" actId="108"/>
          <ac:spMkLst>
            <pc:docMk/>
            <pc:sldMk cId="228226795" sldId="2134804311"/>
            <ac:spMk id="119" creationId="{074D049A-9820-4942-BDC8-2B662C2E961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37" creationId="{F2F1441C-82E3-4978-ADB4-2E81AB714A12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38" creationId="{B7572FF5-C3B2-41FB-AC8B-11068157874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39" creationId="{2227F15F-B01E-49E7-B6F1-35FB5511773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40" creationId="{2062ABD7-3E18-481C-BE0F-59304E710CA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42" creationId="{9660C67C-C249-4C29-87B1-2E22B67DE74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44" creationId="{25AF8D90-7CF9-4004-AFE7-8FD9BCD562C6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45" creationId="{1FACAF7C-6304-4959-827F-E5EC80E0E805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46" creationId="{D86974CC-32BF-439F-A6E2-D1E82520294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47" creationId="{58F0CDC2-9414-439E-A3CB-C4B6F7ADCE1B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48" creationId="{3D0EFFEA-E9FE-4053-B9D8-C9F8D8881270}"/>
          </ac:spMkLst>
        </pc:spChg>
        <pc:cxn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cxnSpMkLst>
            <pc:docMk/>
            <pc:sldMk cId="228226795" sldId="2134804311"/>
            <ac:cxnSpMk id="88" creationId="{72E252A3-F8E1-4DDE-822C-DFEF6DF55A06}"/>
          </ac:cxnSpMkLst>
        </pc:cxnChg>
      </pc:sldChg>
    </pc:docChg>
  </pc:docChgLst>
  <pc:docChgLst>
    <pc:chgData name="Andrea Mogollon Nossa (CENIT)" userId="S::andrea.mogollon@cenit-transporte.com::f6a3e592-cc27-4858-b185-ff86be206069" providerId="AD" clId="Web-{B253ADF3-2429-90E1-EDC9-E9B9A97694F7}"/>
    <pc:docChg chg="modSld">
      <pc:chgData name="Andrea Mogollon Nossa (CENIT)" userId="S::andrea.mogollon@cenit-transporte.com::f6a3e592-cc27-4858-b185-ff86be206069" providerId="AD" clId="Web-{B253ADF3-2429-90E1-EDC9-E9B9A97694F7}" dt="2020-07-27T19:50:44.658" v="0" actId="20577"/>
      <pc:docMkLst>
        <pc:docMk/>
      </pc:docMkLst>
      <pc:sldChg chg="modSp">
        <pc:chgData name="Andrea Mogollon Nossa (CENIT)" userId="S::andrea.mogollon@cenit-transporte.com::f6a3e592-cc27-4858-b185-ff86be206069" providerId="AD" clId="Web-{B253ADF3-2429-90E1-EDC9-E9B9A97694F7}" dt="2020-07-27T19:50:44.658" v="0" actId="20577"/>
        <pc:sldMkLst>
          <pc:docMk/>
          <pc:sldMk cId="3396100439" sldId="2134804337"/>
        </pc:sldMkLst>
        <pc:spChg chg="mod">
          <ac:chgData name="Andrea Mogollon Nossa (CENIT)" userId="S::andrea.mogollon@cenit-transporte.com::f6a3e592-cc27-4858-b185-ff86be206069" providerId="AD" clId="Web-{B253ADF3-2429-90E1-EDC9-E9B9A97694F7}" dt="2020-07-27T19:50:44.658" v="0" actId="20577"/>
          <ac:spMkLst>
            <pc:docMk/>
            <pc:sldMk cId="3396100439" sldId="2134804337"/>
            <ac:spMk id="15" creationId="{62B74417-9DDC-43EE-A726-A2B51719A76E}"/>
          </ac:spMkLst>
        </pc:spChg>
      </pc:sldChg>
    </pc:docChg>
  </pc:docChgLst>
  <pc:docChgLst>
    <pc:chgData name="Andrea Mogollon Nossa (CENIT)" userId="f6a3e592-cc27-4858-b185-ff86be206069" providerId="ADAL" clId="{2CAEC1E3-2241-4370-8FDB-F4FAA904BB83}"/>
    <pc:docChg chg="undo custSel addSld delSld modSld sldOrd">
      <pc:chgData name="Andrea Mogollon Nossa (CENIT)" userId="f6a3e592-cc27-4858-b185-ff86be206069" providerId="ADAL" clId="{2CAEC1E3-2241-4370-8FDB-F4FAA904BB83}" dt="2020-06-18T02:32:15.077" v="6569" actId="167"/>
      <pc:docMkLst>
        <pc:docMk/>
      </pc:docMkLst>
      <pc:sldChg chg="del">
        <pc:chgData name="Andrea Mogollon Nossa (CENIT)" userId="f6a3e592-cc27-4858-b185-ff86be206069" providerId="ADAL" clId="{2CAEC1E3-2241-4370-8FDB-F4FAA904BB83}" dt="2020-06-17T13:09:57.099" v="2763" actId="47"/>
        <pc:sldMkLst>
          <pc:docMk/>
          <pc:sldMk cId="2393305083" sldId="342"/>
        </pc:sldMkLst>
      </pc:sldChg>
      <pc:sldChg chg="modSp mod">
        <pc:chgData name="Andrea Mogollon Nossa (CENIT)" userId="f6a3e592-cc27-4858-b185-ff86be206069" providerId="ADAL" clId="{2CAEC1E3-2241-4370-8FDB-F4FAA904BB83}" dt="2020-06-17T19:34:43.355" v="5407" actId="20577"/>
        <pc:sldMkLst>
          <pc:docMk/>
          <pc:sldMk cId="4180204205" sldId="2134804244"/>
        </pc:sldMkLst>
        <pc:spChg chg="mod">
          <ac:chgData name="Andrea Mogollon Nossa (CENIT)" userId="f6a3e592-cc27-4858-b185-ff86be206069" providerId="ADAL" clId="{2CAEC1E3-2241-4370-8FDB-F4FAA904BB83}" dt="2020-06-17T19:34:43.355" v="5407" actId="20577"/>
          <ac:spMkLst>
            <pc:docMk/>
            <pc:sldMk cId="4180204205" sldId="2134804244"/>
            <ac:spMk id="4" creationId="{9B0CE30D-625A-4CD9-98D4-3AF33243D194}"/>
          </ac:spMkLst>
        </pc:spChg>
        <pc:spChg chg="mod">
          <ac:chgData name="Andrea Mogollon Nossa (CENIT)" userId="f6a3e592-cc27-4858-b185-ff86be206069" providerId="ADAL" clId="{2CAEC1E3-2241-4370-8FDB-F4FAA904BB83}" dt="2020-06-16T22:55:59.670" v="2248" actId="1076"/>
          <ac:spMkLst>
            <pc:docMk/>
            <pc:sldMk cId="4180204205" sldId="2134804244"/>
            <ac:spMk id="26" creationId="{3EDC8468-03BA-421C-9E09-E07D908AFD96}"/>
          </ac:spMkLst>
        </pc:spChg>
        <pc:spChg chg="mod">
          <ac:chgData name="Andrea Mogollon Nossa (CENIT)" userId="f6a3e592-cc27-4858-b185-ff86be206069" providerId="ADAL" clId="{2CAEC1E3-2241-4370-8FDB-F4FAA904BB83}" dt="2020-06-16T15:44:29.715" v="96" actId="20577"/>
          <ac:spMkLst>
            <pc:docMk/>
            <pc:sldMk cId="4180204205" sldId="2134804244"/>
            <ac:spMk id="57" creationId="{5166C191-948B-4DBA-805B-CFA30673C6A1}"/>
          </ac:spMkLst>
        </pc:spChg>
        <pc:spChg chg="mod">
          <ac:chgData name="Andrea Mogollon Nossa (CENIT)" userId="f6a3e592-cc27-4858-b185-ff86be206069" providerId="ADAL" clId="{2CAEC1E3-2241-4370-8FDB-F4FAA904BB83}" dt="2020-06-16T15:44:34.134" v="98" actId="20577"/>
          <ac:spMkLst>
            <pc:docMk/>
            <pc:sldMk cId="4180204205" sldId="2134804244"/>
            <ac:spMk id="59" creationId="{59ACAE5A-D20F-4C0C-AF16-1F585FF5F4FE}"/>
          </ac:spMkLst>
        </pc:spChg>
        <pc:graphicFrameChg chg="modGraphic">
          <ac:chgData name="Andrea Mogollon Nossa (CENIT)" userId="f6a3e592-cc27-4858-b185-ff86be206069" providerId="ADAL" clId="{2CAEC1E3-2241-4370-8FDB-F4FAA904BB83}" dt="2020-06-16T15:42:59.450" v="91" actId="6549"/>
          <ac:graphicFrameMkLst>
            <pc:docMk/>
            <pc:sldMk cId="4180204205" sldId="2134804244"/>
            <ac:graphicFrameMk id="29" creationId="{2F369745-5DCF-4E94-9909-B52D2D1A1EF4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5:44:14.843" v="92" actId="20577"/>
          <ac:graphicFrameMkLst>
            <pc:docMk/>
            <pc:sldMk cId="4180204205" sldId="2134804244"/>
            <ac:graphicFrameMk id="56" creationId="{8CFF7275-2CFD-476E-AC6D-F148C64CF6BF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5:44:24.247" v="94" actId="20577"/>
          <ac:graphicFrameMkLst>
            <pc:docMk/>
            <pc:sldMk cId="4180204205" sldId="2134804244"/>
            <ac:graphicFrameMk id="58" creationId="{6199EDC1-5ECC-42C2-8661-38367D51AC10}"/>
          </ac:graphicFrameMkLst>
        </pc:graphicFrameChg>
      </pc:sldChg>
      <pc:sldChg chg="addSp delSp modSp mod">
        <pc:chgData name="Andrea Mogollon Nossa (CENIT)" userId="f6a3e592-cc27-4858-b185-ff86be206069" providerId="ADAL" clId="{2CAEC1E3-2241-4370-8FDB-F4FAA904BB83}" dt="2020-06-16T22:53:04.007" v="2097" actId="122"/>
        <pc:sldMkLst>
          <pc:docMk/>
          <pc:sldMk cId="1803203511" sldId="2134804247"/>
        </pc:sldMkLst>
        <pc:spChg chg="add del mod">
          <ac:chgData name="Andrea Mogollon Nossa (CENIT)" userId="f6a3e592-cc27-4858-b185-ff86be206069" providerId="ADAL" clId="{2CAEC1E3-2241-4370-8FDB-F4FAA904BB83}" dt="2020-06-16T22:49:13.364" v="2026" actId="478"/>
          <ac:spMkLst>
            <pc:docMk/>
            <pc:sldMk cId="1803203511" sldId="2134804247"/>
            <ac:spMk id="6" creationId="{ED2D84AD-F8CF-4A81-A20A-5246F2012F87}"/>
          </ac:spMkLst>
        </pc:spChg>
        <pc:spChg chg="add del mod">
          <ac:chgData name="Andrea Mogollon Nossa (CENIT)" userId="f6a3e592-cc27-4858-b185-ff86be206069" providerId="ADAL" clId="{2CAEC1E3-2241-4370-8FDB-F4FAA904BB83}" dt="2020-06-16T22:49:54.424" v="2029" actId="478"/>
          <ac:spMkLst>
            <pc:docMk/>
            <pc:sldMk cId="1803203511" sldId="2134804247"/>
            <ac:spMk id="38" creationId="{B082C2BD-C553-4CB0-9FDE-8A6F3C00EA1F}"/>
          </ac:spMkLst>
        </pc:spChg>
        <pc:spChg chg="add del mod">
          <ac:chgData name="Andrea Mogollon Nossa (CENIT)" userId="f6a3e592-cc27-4858-b185-ff86be206069" providerId="ADAL" clId="{2CAEC1E3-2241-4370-8FDB-F4FAA904BB83}" dt="2020-06-16T22:49:56.274" v="2030" actId="478"/>
          <ac:spMkLst>
            <pc:docMk/>
            <pc:sldMk cId="1803203511" sldId="2134804247"/>
            <ac:spMk id="39" creationId="{F03D88D5-0821-4E5C-9ADA-D1759EE16B1A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45" creationId="{46FC1909-641C-4539-A7D0-5E82469215D0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52" creationId="{84C7AB52-6EFF-4A44-9199-12A28F702C73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54" creationId="{C38A9719-1AF0-4D7F-AF9E-714FBC133573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56" creationId="{75723924-AC15-4E29-B327-BFC385846EEF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57" creationId="{2E80FBBF-803F-4EC5-B223-5D4906B35A85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61" creationId="{C87FE99B-24ED-4ABE-A147-3F40BB4005B1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62" creationId="{D9F7050B-AB20-4124-9287-3191CFC4E73D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63" creationId="{B37A63F7-53C5-409B-8312-F8C6EEC6B40D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64" creationId="{36339DB7-6593-4CC6-82FE-7BA3B324D9B7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65" creationId="{E508D2A7-2CAB-4CE7-891D-BBF691367054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0" creationId="{B7775212-C797-4934-96C9-E7DE33ADEA63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2" creationId="{908A24E3-100F-4B4F-A320-94D6B6130CE6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3" creationId="{88283A3B-E333-4703-B4EA-F83989300B81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7" creationId="{FD37A0F8-A2A3-43BD-8BC7-9A5118F0D753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8" creationId="{919B56D3-B798-432E-AEA6-FAE593D866F1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9" creationId="{EF05A18C-11F3-4F9D-8EE9-C21D3616819A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84" creationId="{5B500FA3-C232-46A0-8615-7D75EC026ABD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85" creationId="{2E8A8CB0-646A-47DC-A38E-55BCE175046E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86" creationId="{9696AF26-CCFE-4022-B4A0-276940E771D0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89" creationId="{795399CE-E92A-4E7E-B6B3-8E5EC89CE499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90" creationId="{9D6E8225-3269-4AAF-8396-E7266AD4FC3E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91" creationId="{F932B860-F50E-4412-9403-29B4BBCB77D2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92" creationId="{30AC11BB-E312-4AF6-B7E2-43CFEA999256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94" creationId="{8C9A6A51-23F6-4E40-965F-6AA73D06FAEA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96" creationId="{8AEAB956-0537-4480-8841-89E6A7289C6A}"/>
          </ac:spMkLst>
        </pc:spChg>
        <pc:grpChg chg="mod">
          <ac:chgData name="Andrea Mogollon Nossa (CENIT)" userId="f6a3e592-cc27-4858-b185-ff86be206069" providerId="ADAL" clId="{2CAEC1E3-2241-4370-8FDB-F4FAA904BB83}" dt="2020-06-16T22:50:22.581" v="2032" actId="1076"/>
          <ac:grpSpMkLst>
            <pc:docMk/>
            <pc:sldMk cId="1803203511" sldId="2134804247"/>
            <ac:grpSpMk id="50" creationId="{70F85EF3-A98E-43D8-A39C-98423713D9AE}"/>
          </ac:grpSpMkLst>
        </pc:grpChg>
        <pc:graphicFrameChg chg="mod modGraphic">
          <ac:chgData name="Andrea Mogollon Nossa (CENIT)" userId="f6a3e592-cc27-4858-b185-ff86be206069" providerId="ADAL" clId="{2CAEC1E3-2241-4370-8FDB-F4FAA904BB83}" dt="2020-06-16T22:53:04.007" v="2097" actId="122"/>
          <ac:graphicFrameMkLst>
            <pc:docMk/>
            <pc:sldMk cId="1803203511" sldId="2134804247"/>
            <ac:graphicFrameMk id="11" creationId="{9D9D1D21-7943-4251-B296-312E588F0E7D}"/>
          </ac:graphicFrameMkLst>
        </pc:graphicFrameChg>
      </pc:sldChg>
      <pc:sldChg chg="delSp modSp mod">
        <pc:chgData name="Andrea Mogollon Nossa (CENIT)" userId="f6a3e592-cc27-4858-b185-ff86be206069" providerId="ADAL" clId="{2CAEC1E3-2241-4370-8FDB-F4FAA904BB83}" dt="2020-06-16T22:12:13.371" v="1955" actId="478"/>
        <pc:sldMkLst>
          <pc:docMk/>
          <pc:sldMk cId="2248502622" sldId="2134804265"/>
        </pc:sldMkLst>
        <pc:spChg chg="del mod">
          <ac:chgData name="Andrea Mogollon Nossa (CENIT)" userId="f6a3e592-cc27-4858-b185-ff86be206069" providerId="ADAL" clId="{2CAEC1E3-2241-4370-8FDB-F4FAA904BB83}" dt="2020-06-16T22:12:13.371" v="1955" actId="478"/>
          <ac:spMkLst>
            <pc:docMk/>
            <pc:sldMk cId="2248502622" sldId="2134804265"/>
            <ac:spMk id="70" creationId="{8EDE28D6-DF40-4364-B0BE-AB10109D0147}"/>
          </ac:spMkLst>
        </pc:spChg>
      </pc:sldChg>
      <pc:sldChg chg="modSp mod">
        <pc:chgData name="Andrea Mogollon Nossa (CENIT)" userId="f6a3e592-cc27-4858-b185-ff86be206069" providerId="ADAL" clId="{2CAEC1E3-2241-4370-8FDB-F4FAA904BB83}" dt="2020-06-17T20:28:49.293" v="5695" actId="1076"/>
        <pc:sldMkLst>
          <pc:docMk/>
          <pc:sldMk cId="5164804" sldId="2134804270"/>
        </pc:sldMkLst>
        <pc:spChg chg="mod">
          <ac:chgData name="Andrea Mogollon Nossa (CENIT)" userId="f6a3e592-cc27-4858-b185-ff86be206069" providerId="ADAL" clId="{2CAEC1E3-2241-4370-8FDB-F4FAA904BB83}" dt="2020-06-17T20:28:49.293" v="5695" actId="1076"/>
          <ac:spMkLst>
            <pc:docMk/>
            <pc:sldMk cId="5164804" sldId="2134804270"/>
            <ac:spMk id="22" creationId="{7565957D-73CC-497F-A9EE-BA5F2A79250A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7T21:25:09.571" v="6378" actId="20577"/>
        <pc:sldMkLst>
          <pc:docMk/>
          <pc:sldMk cId="685398324" sldId="2134804277"/>
        </pc:sldMkLst>
        <pc:spChg chg="del mod">
          <ac:chgData name="Andrea Mogollon Nossa (CENIT)" userId="f6a3e592-cc27-4858-b185-ff86be206069" providerId="ADAL" clId="{2CAEC1E3-2241-4370-8FDB-F4FAA904BB83}" dt="2020-06-17T21:01:21.624" v="6073" actId="478"/>
          <ac:spMkLst>
            <pc:docMk/>
            <pc:sldMk cId="685398324" sldId="2134804277"/>
            <ac:spMk id="3" creationId="{815B10B7-60B3-4C63-8431-70CC556387C9}"/>
          </ac:spMkLst>
        </pc:spChg>
        <pc:spChg chg="mod">
          <ac:chgData name="Andrea Mogollon Nossa (CENIT)" userId="f6a3e592-cc27-4858-b185-ff86be206069" providerId="ADAL" clId="{2CAEC1E3-2241-4370-8FDB-F4FAA904BB83}" dt="2020-06-17T21:14:19.278" v="6257" actId="1076"/>
          <ac:spMkLst>
            <pc:docMk/>
            <pc:sldMk cId="685398324" sldId="2134804277"/>
            <ac:spMk id="6" creationId="{6F097E8B-274A-49AC-8761-8119E3C5B68F}"/>
          </ac:spMkLst>
        </pc:spChg>
        <pc:spChg chg="mod">
          <ac:chgData name="Andrea Mogollon Nossa (CENIT)" userId="f6a3e592-cc27-4858-b185-ff86be206069" providerId="ADAL" clId="{2CAEC1E3-2241-4370-8FDB-F4FAA904BB83}" dt="2020-06-16T17:12:31.924" v="1597" actId="1076"/>
          <ac:spMkLst>
            <pc:docMk/>
            <pc:sldMk cId="685398324" sldId="2134804277"/>
            <ac:spMk id="7" creationId="{52FE2391-690B-4D13-B0BE-AD54BD4AFEAA}"/>
          </ac:spMkLst>
        </pc:spChg>
        <pc:spChg chg="mod">
          <ac:chgData name="Andrea Mogollon Nossa (CENIT)" userId="f6a3e592-cc27-4858-b185-ff86be206069" providerId="ADAL" clId="{2CAEC1E3-2241-4370-8FDB-F4FAA904BB83}" dt="2020-06-16T17:10:42.260" v="1581" actId="1076"/>
          <ac:spMkLst>
            <pc:docMk/>
            <pc:sldMk cId="685398324" sldId="2134804277"/>
            <ac:spMk id="8" creationId="{782E4B7C-0F35-45FE-B943-FBCAA2C30BC3}"/>
          </ac:spMkLst>
        </pc:spChg>
        <pc:spChg chg="add del mod">
          <ac:chgData name="Andrea Mogollon Nossa (CENIT)" userId="f6a3e592-cc27-4858-b185-ff86be206069" providerId="ADAL" clId="{2CAEC1E3-2241-4370-8FDB-F4FAA904BB83}" dt="2020-06-17T21:03:08.974" v="6102"/>
          <ac:spMkLst>
            <pc:docMk/>
            <pc:sldMk cId="685398324" sldId="2134804277"/>
            <ac:spMk id="9" creationId="{9F0786F2-DEE4-4172-840F-CF551EC2D37B}"/>
          </ac:spMkLst>
        </pc:spChg>
        <pc:spChg chg="add mod">
          <ac:chgData name="Andrea Mogollon Nossa (CENIT)" userId="f6a3e592-cc27-4858-b185-ff86be206069" providerId="ADAL" clId="{2CAEC1E3-2241-4370-8FDB-F4FAA904BB83}" dt="2020-06-17T21:12:55.686" v="6239" actId="1076"/>
          <ac:spMkLst>
            <pc:docMk/>
            <pc:sldMk cId="685398324" sldId="2134804277"/>
            <ac:spMk id="10" creationId="{581EF6D6-B646-4C41-9412-D3C8807256CB}"/>
          </ac:spMkLst>
        </pc:spChg>
        <pc:spChg chg="mod">
          <ac:chgData name="Andrea Mogollon Nossa (CENIT)" userId="f6a3e592-cc27-4858-b185-ff86be206069" providerId="ADAL" clId="{2CAEC1E3-2241-4370-8FDB-F4FAA904BB83}" dt="2020-06-16T17:10:45.596" v="1583" actId="1076"/>
          <ac:spMkLst>
            <pc:docMk/>
            <pc:sldMk cId="685398324" sldId="2134804277"/>
            <ac:spMk id="11" creationId="{81DFC592-E154-4591-B5A9-F56C74872769}"/>
          </ac:spMkLst>
        </pc:spChg>
        <pc:spChg chg="add mod">
          <ac:chgData name="Andrea Mogollon Nossa (CENIT)" userId="f6a3e592-cc27-4858-b185-ff86be206069" providerId="ADAL" clId="{2CAEC1E3-2241-4370-8FDB-F4FAA904BB83}" dt="2020-06-17T21:12:55.686" v="6239" actId="1076"/>
          <ac:spMkLst>
            <pc:docMk/>
            <pc:sldMk cId="685398324" sldId="2134804277"/>
            <ac:spMk id="12" creationId="{C439253A-F324-4629-9301-79D1D68D6668}"/>
          </ac:spMkLst>
        </pc:spChg>
        <pc:spChg chg="mod">
          <ac:chgData name="Andrea Mogollon Nossa (CENIT)" userId="f6a3e592-cc27-4858-b185-ff86be206069" providerId="ADAL" clId="{2CAEC1E3-2241-4370-8FDB-F4FAA904BB83}" dt="2020-06-17T21:14:14.309" v="6256" actId="1076"/>
          <ac:spMkLst>
            <pc:docMk/>
            <pc:sldMk cId="685398324" sldId="2134804277"/>
            <ac:spMk id="40" creationId="{2631D492-951C-4EB3-926A-C7A33457A10A}"/>
          </ac:spMkLst>
        </pc:spChg>
        <pc:spChg chg="mod">
          <ac:chgData name="Andrea Mogollon Nossa (CENIT)" userId="f6a3e592-cc27-4858-b185-ff86be206069" providerId="ADAL" clId="{2CAEC1E3-2241-4370-8FDB-F4FAA904BB83}" dt="2020-06-16T17:10:43.979" v="1582" actId="1076"/>
          <ac:spMkLst>
            <pc:docMk/>
            <pc:sldMk cId="685398324" sldId="2134804277"/>
            <ac:spMk id="42" creationId="{4B77028B-8CAF-4678-ACA2-D711B0894F35}"/>
          </ac:spMkLst>
        </pc:spChg>
        <pc:spChg chg="mod">
          <ac:chgData name="Andrea Mogollon Nossa (CENIT)" userId="f6a3e592-cc27-4858-b185-ff86be206069" providerId="ADAL" clId="{2CAEC1E3-2241-4370-8FDB-F4FAA904BB83}" dt="2020-06-16T16:47:05.466" v="1270" actId="1076"/>
          <ac:spMkLst>
            <pc:docMk/>
            <pc:sldMk cId="685398324" sldId="2134804277"/>
            <ac:spMk id="45" creationId="{8D1FB81A-0B27-4127-BC86-B03428D1F59A}"/>
          </ac:spMkLst>
        </pc:spChg>
        <pc:spChg chg="mod">
          <ac:chgData name="Andrea Mogollon Nossa (CENIT)" userId="f6a3e592-cc27-4858-b185-ff86be206069" providerId="ADAL" clId="{2CAEC1E3-2241-4370-8FDB-F4FAA904BB83}" dt="2020-06-17T21:12:36.941" v="6235" actId="1076"/>
          <ac:spMkLst>
            <pc:docMk/>
            <pc:sldMk cId="685398324" sldId="2134804277"/>
            <ac:spMk id="46" creationId="{27981B7C-00A6-4188-89CE-D66C37A27448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47" creationId="{CEEB4B6C-D333-4CA0-857A-0570DA1879D6}"/>
          </ac:spMkLst>
        </pc:spChg>
        <pc:spChg chg="del mod">
          <ac:chgData name="Andrea Mogollon Nossa (CENIT)" userId="f6a3e592-cc27-4858-b185-ff86be206069" providerId="ADAL" clId="{2CAEC1E3-2241-4370-8FDB-F4FAA904BB83}" dt="2020-06-16T17:08:05.026" v="1542" actId="478"/>
          <ac:spMkLst>
            <pc:docMk/>
            <pc:sldMk cId="685398324" sldId="2134804277"/>
            <ac:spMk id="48" creationId="{FC964F82-1EE8-4416-BD74-FC36A34AA10C}"/>
          </ac:spMkLst>
        </pc:spChg>
        <pc:spChg chg="del mod">
          <ac:chgData name="Andrea Mogollon Nossa (CENIT)" userId="f6a3e592-cc27-4858-b185-ff86be206069" providerId="ADAL" clId="{2CAEC1E3-2241-4370-8FDB-F4FAA904BB83}" dt="2020-06-16T17:08:06.757" v="1543" actId="478"/>
          <ac:spMkLst>
            <pc:docMk/>
            <pc:sldMk cId="685398324" sldId="2134804277"/>
            <ac:spMk id="49" creationId="{52D2904A-8DAC-4AB7-AEDA-42A5AAB092C8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50" creationId="{0D2050D4-4DE1-4E76-B678-1A10ADCB62DD}"/>
          </ac:spMkLst>
        </pc:spChg>
        <pc:spChg chg="mod">
          <ac:chgData name="Andrea Mogollon Nossa (CENIT)" userId="f6a3e592-cc27-4858-b185-ff86be206069" providerId="ADAL" clId="{2CAEC1E3-2241-4370-8FDB-F4FAA904BB83}" dt="2020-06-17T21:12:41.645" v="6237" actId="1076"/>
          <ac:spMkLst>
            <pc:docMk/>
            <pc:sldMk cId="685398324" sldId="2134804277"/>
            <ac:spMk id="51" creationId="{D1BBB9FD-BBB2-4DBE-B91B-1ABE54C48C86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52" creationId="{7B36949A-E22B-4AD5-9F62-88623E4F7646}"/>
          </ac:spMkLst>
        </pc:spChg>
        <pc:spChg chg="mod">
          <ac:chgData name="Andrea Mogollon Nossa (CENIT)" userId="f6a3e592-cc27-4858-b185-ff86be206069" providerId="ADAL" clId="{2CAEC1E3-2241-4370-8FDB-F4FAA904BB83}" dt="2020-06-17T21:25:09.571" v="6378" actId="20577"/>
          <ac:spMkLst>
            <pc:docMk/>
            <pc:sldMk cId="685398324" sldId="2134804277"/>
            <ac:spMk id="53" creationId="{F9C857D3-C5F6-4D00-8D9C-646D1DA60918}"/>
          </ac:spMkLst>
        </pc:spChg>
        <pc:spChg chg="mod">
          <ac:chgData name="Andrea Mogollon Nossa (CENIT)" userId="f6a3e592-cc27-4858-b185-ff86be206069" providerId="ADAL" clId="{2CAEC1E3-2241-4370-8FDB-F4FAA904BB83}" dt="2020-06-17T21:14:52.045" v="6268" actId="1076"/>
          <ac:spMkLst>
            <pc:docMk/>
            <pc:sldMk cId="685398324" sldId="2134804277"/>
            <ac:spMk id="54" creationId="{C38A9719-1AF0-4D7F-AF9E-714FBC133573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55" creationId="{1FD77C8B-497F-49C8-BA15-58B743F47C9C}"/>
          </ac:spMkLst>
        </pc:spChg>
        <pc:spChg chg="del mod">
          <ac:chgData name="Andrea Mogollon Nossa (CENIT)" userId="f6a3e592-cc27-4858-b185-ff86be206069" providerId="ADAL" clId="{2CAEC1E3-2241-4370-8FDB-F4FAA904BB83}" dt="2020-06-16T17:10:38.250" v="1580" actId="478"/>
          <ac:spMkLst>
            <pc:docMk/>
            <pc:sldMk cId="685398324" sldId="2134804277"/>
            <ac:spMk id="56" creationId="{0C89EF90-E082-46D6-862E-1A2368BBAAD1}"/>
          </ac:spMkLst>
        </pc:spChg>
        <pc:spChg chg="mod">
          <ac:chgData name="Andrea Mogollon Nossa (CENIT)" userId="f6a3e592-cc27-4858-b185-ff86be206069" providerId="ADAL" clId="{2CAEC1E3-2241-4370-8FDB-F4FAA904BB83}" dt="2020-06-17T21:02:00.709" v="6082" actId="20577"/>
          <ac:spMkLst>
            <pc:docMk/>
            <pc:sldMk cId="685398324" sldId="2134804277"/>
            <ac:spMk id="57" creationId="{48380FA4-D73B-4203-B6A3-A6970B4FD90E}"/>
          </ac:spMkLst>
        </pc:spChg>
        <pc:spChg chg="del mod">
          <ac:chgData name="Andrea Mogollon Nossa (CENIT)" userId="f6a3e592-cc27-4858-b185-ff86be206069" providerId="ADAL" clId="{2CAEC1E3-2241-4370-8FDB-F4FAA904BB83}" dt="2020-06-17T17:28:05.202" v="4569" actId="21"/>
          <ac:spMkLst>
            <pc:docMk/>
            <pc:sldMk cId="685398324" sldId="2134804277"/>
            <ac:spMk id="58" creationId="{B70591EC-E81F-4CD5-ACA8-E7BB012CA019}"/>
          </ac:spMkLst>
        </pc:spChg>
        <pc:spChg chg="mod">
          <ac:chgData name="Andrea Mogollon Nossa (CENIT)" userId="f6a3e592-cc27-4858-b185-ff86be206069" providerId="ADAL" clId="{2CAEC1E3-2241-4370-8FDB-F4FAA904BB83}" dt="2020-06-16T16:46:33.990" v="1262" actId="1076"/>
          <ac:spMkLst>
            <pc:docMk/>
            <pc:sldMk cId="685398324" sldId="2134804277"/>
            <ac:spMk id="59" creationId="{EAF78979-5F8E-4AF6-BC74-2B4E7343311B}"/>
          </ac:spMkLst>
        </pc:spChg>
        <pc:spChg chg="del mod">
          <ac:chgData name="Andrea Mogollon Nossa (CENIT)" userId="f6a3e592-cc27-4858-b185-ff86be206069" providerId="ADAL" clId="{2CAEC1E3-2241-4370-8FDB-F4FAA904BB83}" dt="2020-06-17T17:28:05.202" v="4569" actId="21"/>
          <ac:spMkLst>
            <pc:docMk/>
            <pc:sldMk cId="685398324" sldId="2134804277"/>
            <ac:spMk id="60" creationId="{8B8E41D3-64E3-4652-94B3-5581B127D9B5}"/>
          </ac:spMkLst>
        </pc:spChg>
        <pc:spChg chg="del mod">
          <ac:chgData name="Andrea Mogollon Nossa (CENIT)" userId="f6a3e592-cc27-4858-b185-ff86be206069" providerId="ADAL" clId="{2CAEC1E3-2241-4370-8FDB-F4FAA904BB83}" dt="2020-06-16T16:47:39.492" v="1283" actId="478"/>
          <ac:spMkLst>
            <pc:docMk/>
            <pc:sldMk cId="685398324" sldId="2134804277"/>
            <ac:spMk id="61" creationId="{EF8176E4-1C62-447B-BB4C-614EE33F0B4C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2" creationId="{C943C293-D6A5-4E23-9057-9CB9E811710D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3" creationId="{251B6818-04AE-4E98-A8D8-1764E1402EC6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4" creationId="{605776FE-6ADA-4565-B87C-88C11BFDB125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5" creationId="{68FBB0A4-0A8F-416D-8C0F-45B680FA8527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6" creationId="{0023F4B2-A6B9-4F4E-B661-501E096A8B1D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7" creationId="{3B32CDC6-1447-49FC-AD86-4FF3888AACEE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8" creationId="{8B56D9E3-D85C-48EB-B3B2-86BA74C1EE16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9" creationId="{578E352A-3F8C-489E-A51F-CF34A90D83DB}"/>
          </ac:spMkLst>
        </pc:spChg>
        <pc:spChg chg="mod">
          <ac:chgData name="Andrea Mogollon Nossa (CENIT)" userId="f6a3e592-cc27-4858-b185-ff86be206069" providerId="ADAL" clId="{2CAEC1E3-2241-4370-8FDB-F4FAA904BB83}" dt="2020-06-17T21:02:26.349" v="6088" actId="1076"/>
          <ac:spMkLst>
            <pc:docMk/>
            <pc:sldMk cId="685398324" sldId="2134804277"/>
            <ac:spMk id="69" creationId="{C8FFD2CE-E309-4072-9297-68D81274B40A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0" creationId="{01DC31C0-E978-49D9-8F02-DCCACF189CBE}"/>
          </ac:spMkLst>
        </pc:spChg>
        <pc:spChg chg="mod">
          <ac:chgData name="Andrea Mogollon Nossa (CENIT)" userId="f6a3e592-cc27-4858-b185-ff86be206069" providerId="ADAL" clId="{2CAEC1E3-2241-4370-8FDB-F4FAA904BB83}" dt="2020-06-17T21:02:36.020" v="6091" actId="1076"/>
          <ac:spMkLst>
            <pc:docMk/>
            <pc:sldMk cId="685398324" sldId="2134804277"/>
            <ac:spMk id="70" creationId="{10CEAC64-42D3-4879-B6BE-C8E72BFE35E5}"/>
          </ac:spMkLst>
        </pc:spChg>
        <pc:spChg chg="mod">
          <ac:chgData name="Andrea Mogollon Nossa (CENIT)" userId="f6a3e592-cc27-4858-b185-ff86be206069" providerId="ADAL" clId="{2CAEC1E3-2241-4370-8FDB-F4FAA904BB83}" dt="2020-06-17T21:02:42.085" v="6093" actId="1076"/>
          <ac:spMkLst>
            <pc:docMk/>
            <pc:sldMk cId="685398324" sldId="2134804277"/>
            <ac:spMk id="71" creationId="{90F0F570-83E8-4E69-A9A0-FCCDD1A6305C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1" creationId="{D9E72CCB-2FF7-48F3-9627-F57E7B0ECB24}"/>
          </ac:spMkLst>
        </pc:spChg>
        <pc:spChg chg="mod">
          <ac:chgData name="Andrea Mogollon Nossa (CENIT)" userId="f6a3e592-cc27-4858-b185-ff86be206069" providerId="ADAL" clId="{2CAEC1E3-2241-4370-8FDB-F4FAA904BB83}" dt="2020-06-17T21:02:50.596" v="6096" actId="1076"/>
          <ac:spMkLst>
            <pc:docMk/>
            <pc:sldMk cId="685398324" sldId="2134804277"/>
            <ac:spMk id="72" creationId="{4260919B-02F7-4252-A8DC-A6A9A717EDBD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2" creationId="{D176F647-5957-492E-BA16-E7B55478DF1B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3" creationId="{7689BECD-027C-40B8-980F-1294DF4CA22C}"/>
          </ac:spMkLst>
        </pc:spChg>
        <pc:spChg chg="del">
          <ac:chgData name="Andrea Mogollon Nossa (CENIT)" userId="f6a3e592-cc27-4858-b185-ff86be206069" providerId="ADAL" clId="{2CAEC1E3-2241-4370-8FDB-F4FAA904BB83}" dt="2020-06-17T17:28:05.202" v="4569" actId="21"/>
          <ac:spMkLst>
            <pc:docMk/>
            <pc:sldMk cId="685398324" sldId="2134804277"/>
            <ac:spMk id="73" creationId="{DC0659CB-DE42-44D1-B937-66C385216598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4" creationId="{214236B6-275B-4440-B4F3-DF97552BD417}"/>
          </ac:spMkLst>
        </pc:spChg>
        <pc:spChg chg="mod">
          <ac:chgData name="Andrea Mogollon Nossa (CENIT)" userId="f6a3e592-cc27-4858-b185-ff86be206069" providerId="ADAL" clId="{2CAEC1E3-2241-4370-8FDB-F4FAA904BB83}" dt="2020-06-17T21:10:51.853" v="6209" actId="1076"/>
          <ac:spMkLst>
            <pc:docMk/>
            <pc:sldMk cId="685398324" sldId="2134804277"/>
            <ac:spMk id="74" creationId="{B33AE336-9430-49D7-A74B-E3F446F53353}"/>
          </ac:spMkLst>
        </pc:spChg>
        <pc:spChg chg="mod">
          <ac:chgData name="Andrea Mogollon Nossa (CENIT)" userId="f6a3e592-cc27-4858-b185-ff86be206069" providerId="ADAL" clId="{2CAEC1E3-2241-4370-8FDB-F4FAA904BB83}" dt="2020-06-17T17:28:57.797" v="4575" actId="1076"/>
          <ac:spMkLst>
            <pc:docMk/>
            <pc:sldMk cId="685398324" sldId="2134804277"/>
            <ac:spMk id="75" creationId="{10CA6977-1DFC-403C-A45F-5C7F8E4CD4C3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5" creationId="{30FEED49-D357-438D-8918-A6479390E327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6" creationId="{C3B2599F-09F3-4F7A-8D54-ECE97E4C34F4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76" creationId="{F6C39026-16E8-46B2-BBB2-C363EF966425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77" creationId="{250DDC32-7399-472D-8369-461782ED2483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7" creationId="{C06629C1-31FD-44D9-9335-4506F888955E}"/>
          </ac:spMkLst>
        </pc:spChg>
        <pc:spChg chg="mod ord">
          <ac:chgData name="Andrea Mogollon Nossa (CENIT)" userId="f6a3e592-cc27-4858-b185-ff86be206069" providerId="ADAL" clId="{2CAEC1E3-2241-4370-8FDB-F4FAA904BB83}" dt="2020-06-17T21:08:46.156" v="6183" actId="1076"/>
          <ac:spMkLst>
            <pc:docMk/>
            <pc:sldMk cId="685398324" sldId="2134804277"/>
            <ac:spMk id="78" creationId="{9207C83B-D9D1-4EF5-A6BA-47A0F83FCE5C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8" creationId="{BEC4AE2F-4612-4DC8-9B96-87BFC6AD1D7E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9" creationId="{B3A8629E-5487-40A8-B701-24D3AD37BC67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79" creationId="{D1B5F9E2-B140-409E-964D-510149FDA0A6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80" creationId="{C25A11B5-4722-44F3-97DC-AD1AA7C23465}"/>
          </ac:spMkLst>
        </pc:spChg>
        <pc:spChg chg="mod">
          <ac:chgData name="Andrea Mogollon Nossa (CENIT)" userId="f6a3e592-cc27-4858-b185-ff86be206069" providerId="ADAL" clId="{2CAEC1E3-2241-4370-8FDB-F4FAA904BB83}" dt="2020-06-17T21:10:43.077" v="6206" actId="1076"/>
          <ac:spMkLst>
            <pc:docMk/>
            <pc:sldMk cId="685398324" sldId="2134804277"/>
            <ac:spMk id="80" creationId="{EECEA763-7F2B-4DAF-B4D2-08130142AA14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81" creationId="{1B6056EF-3CE2-4FDC-A063-081EFD440973}"/>
          </ac:spMkLst>
        </pc:spChg>
        <pc:spChg chg="mod">
          <ac:chgData name="Andrea Mogollon Nossa (CENIT)" userId="f6a3e592-cc27-4858-b185-ff86be206069" providerId="ADAL" clId="{2CAEC1E3-2241-4370-8FDB-F4FAA904BB83}" dt="2020-06-17T20:58:41.805" v="6067" actId="1076"/>
          <ac:spMkLst>
            <pc:docMk/>
            <pc:sldMk cId="685398324" sldId="2134804277"/>
            <ac:spMk id="81" creationId="{C631E4FA-DE7B-421C-942A-141780DC78A4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82" creationId="{3D282625-2AED-415F-B5BC-78211C2F0390}"/>
          </ac:spMkLst>
        </pc:spChg>
        <pc:spChg chg="mod">
          <ac:chgData name="Andrea Mogollon Nossa (CENIT)" userId="f6a3e592-cc27-4858-b185-ff86be206069" providerId="ADAL" clId="{2CAEC1E3-2241-4370-8FDB-F4FAA904BB83}" dt="2020-06-17T21:14:24.861" v="6258" actId="1076"/>
          <ac:spMkLst>
            <pc:docMk/>
            <pc:sldMk cId="685398324" sldId="2134804277"/>
            <ac:spMk id="82" creationId="{A365855A-28E1-4840-82FA-0C3F7779753F}"/>
          </ac:spMkLst>
        </pc:spChg>
        <pc:spChg chg="mod or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83" creationId="{832E5B7E-355E-4CF8-BAC5-D34E4003AA45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83" creationId="{E0F3E01F-DBC8-4005-A369-A295B53F998E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84" creationId="{3B98216E-DC2F-4390-961F-BE0EB0E250F0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85" creationId="{AE2D9D29-BC81-469A-8CAD-0C139F7719DF}"/>
          </ac:spMkLst>
        </pc:spChg>
        <pc:spChg chg="add del mod">
          <ac:chgData name="Andrea Mogollon Nossa (CENIT)" userId="f6a3e592-cc27-4858-b185-ff86be206069" providerId="ADAL" clId="{2CAEC1E3-2241-4370-8FDB-F4FAA904BB83}" dt="2020-06-16T16:56:44.031" v="1347" actId="478"/>
          <ac:spMkLst>
            <pc:docMk/>
            <pc:sldMk cId="685398324" sldId="2134804277"/>
            <ac:spMk id="86" creationId="{17E8EC5B-7109-40F8-96D4-854ECE46FFB4}"/>
          </ac:spMkLst>
        </pc:spChg>
        <pc:spChg chg="add del mod">
          <ac:chgData name="Andrea Mogollon Nossa (CENIT)" userId="f6a3e592-cc27-4858-b185-ff86be206069" providerId="ADAL" clId="{2CAEC1E3-2241-4370-8FDB-F4FAA904BB83}" dt="2020-06-16T16:56:42.305" v="1346" actId="478"/>
          <ac:spMkLst>
            <pc:docMk/>
            <pc:sldMk cId="685398324" sldId="2134804277"/>
            <ac:spMk id="87" creationId="{C573C151-E165-4C59-A087-897A75B570BD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88" creationId="{3F0796D2-A0E5-443F-A291-1129C93AA015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89" creationId="{69F5D981-11FE-48D8-B3E3-802E2C0D83C5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0" creationId="{67CE6F3A-B94B-4A26-844D-3F185948A155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1" creationId="{6221D484-9F63-4FA4-A3CF-73D14E33DA49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2" creationId="{09B54264-CAA8-410D-82E1-25534FB79555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3" creationId="{69439CBA-5330-4F9E-86B0-7C7F34734D00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4" creationId="{58DABFF9-7337-4569-9991-2CA1D5825D6D}"/>
          </ac:spMkLst>
        </pc:spChg>
        <pc:spChg chg="mod">
          <ac:chgData name="Andrea Mogollon Nossa (CENIT)" userId="f6a3e592-cc27-4858-b185-ff86be206069" providerId="ADAL" clId="{2CAEC1E3-2241-4370-8FDB-F4FAA904BB83}" dt="2020-06-17T21:12:29.156" v="6232" actId="1076"/>
          <ac:spMkLst>
            <pc:docMk/>
            <pc:sldMk cId="685398324" sldId="2134804277"/>
            <ac:spMk id="96" creationId="{1DFEF71A-A80A-4597-AAC9-DB256058084B}"/>
          </ac:spMkLst>
        </pc:spChg>
        <pc:spChg chg="mod">
          <ac:chgData name="Andrea Mogollon Nossa (CENIT)" userId="f6a3e592-cc27-4858-b185-ff86be206069" providerId="ADAL" clId="{2CAEC1E3-2241-4370-8FDB-F4FAA904BB83}" dt="2020-06-17T13:13:18.463" v="2769" actId="255"/>
          <ac:spMkLst>
            <pc:docMk/>
            <pc:sldMk cId="685398324" sldId="2134804277"/>
            <ac:spMk id="97" creationId="{99300021-C267-43BD-A0F5-B3ECE622345E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8" creationId="{6428A7A9-3122-4006-8875-CC7495A32344}"/>
          </ac:spMkLst>
        </pc:spChg>
        <pc:spChg chg="mod">
          <ac:chgData name="Andrea Mogollon Nossa (CENIT)" userId="f6a3e592-cc27-4858-b185-ff86be206069" providerId="ADAL" clId="{2CAEC1E3-2241-4370-8FDB-F4FAA904BB83}" dt="2020-06-17T21:12:31.750" v="6233" actId="1076"/>
          <ac:spMkLst>
            <pc:docMk/>
            <pc:sldMk cId="685398324" sldId="2134804277"/>
            <ac:spMk id="99" creationId="{90CC82AC-D82E-4F89-AC67-093894759099}"/>
          </ac:spMkLst>
        </pc:spChg>
        <pc:spChg chg="mod">
          <ac:chgData name="Andrea Mogollon Nossa (CENIT)" userId="f6a3e592-cc27-4858-b185-ff86be206069" providerId="ADAL" clId="{2CAEC1E3-2241-4370-8FDB-F4FAA904BB83}" dt="2020-06-17T21:14:07.429" v="6254" actId="1076"/>
          <ac:spMkLst>
            <pc:docMk/>
            <pc:sldMk cId="685398324" sldId="2134804277"/>
            <ac:spMk id="100" creationId="{1835F856-5B59-4AFF-86DE-2F0968B76CF7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01" creationId="{049DE981-EBD9-4BAC-84C9-A3484C813847}"/>
          </ac:spMkLst>
        </pc:spChg>
        <pc:spChg chg="mod">
          <ac:chgData name="Andrea Mogollon Nossa (CENIT)" userId="f6a3e592-cc27-4858-b185-ff86be206069" providerId="ADAL" clId="{2CAEC1E3-2241-4370-8FDB-F4FAA904BB83}" dt="2020-06-17T21:10:05.725" v="6201" actId="1076"/>
          <ac:spMkLst>
            <pc:docMk/>
            <pc:sldMk cId="685398324" sldId="2134804277"/>
            <ac:spMk id="102" creationId="{101F3273-AA10-47F1-9872-07AD50130DF5}"/>
          </ac:spMkLst>
        </pc:spChg>
        <pc:spChg chg="mod">
          <ac:chgData name="Andrea Mogollon Nossa (CENIT)" userId="f6a3e592-cc27-4858-b185-ff86be206069" providerId="ADAL" clId="{2CAEC1E3-2241-4370-8FDB-F4FAA904BB83}" dt="2020-06-17T21:12:34.725" v="6234" actId="1076"/>
          <ac:spMkLst>
            <pc:docMk/>
            <pc:sldMk cId="685398324" sldId="2134804277"/>
            <ac:spMk id="103" creationId="{BDBCDC72-F935-45A4-AE31-C045019965AF}"/>
          </ac:spMkLst>
        </pc:spChg>
        <pc:spChg chg="mod">
          <ac:chgData name="Andrea Mogollon Nossa (CENIT)" userId="f6a3e592-cc27-4858-b185-ff86be206069" providerId="ADAL" clId="{2CAEC1E3-2241-4370-8FDB-F4FAA904BB83}" dt="2020-06-17T21:14:38.517" v="6265" actId="1076"/>
          <ac:spMkLst>
            <pc:docMk/>
            <pc:sldMk cId="685398324" sldId="2134804277"/>
            <ac:spMk id="104" creationId="{0326A105-08B6-409E-9596-07BD7645DEAE}"/>
          </ac:spMkLst>
        </pc:spChg>
        <pc:spChg chg="mod">
          <ac:chgData name="Andrea Mogollon Nossa (CENIT)" userId="f6a3e592-cc27-4858-b185-ff86be206069" providerId="ADAL" clId="{2CAEC1E3-2241-4370-8FDB-F4FAA904BB83}" dt="2020-06-17T21:14:02.122" v="6252" actId="20577"/>
          <ac:spMkLst>
            <pc:docMk/>
            <pc:sldMk cId="685398324" sldId="2134804277"/>
            <ac:spMk id="105" creationId="{DC633C75-4D21-4E37-ABEB-B69D06C0A224}"/>
          </ac:spMkLst>
        </pc:spChg>
        <pc:spChg chg="mod">
          <ac:chgData name="Andrea Mogollon Nossa (CENIT)" userId="f6a3e592-cc27-4858-b185-ff86be206069" providerId="ADAL" clId="{2CAEC1E3-2241-4370-8FDB-F4FAA904BB83}" dt="2020-06-17T21:14:36.154" v="6264" actId="20577"/>
          <ac:spMkLst>
            <pc:docMk/>
            <pc:sldMk cId="685398324" sldId="2134804277"/>
            <ac:spMk id="106" creationId="{8BF155F6-9EE4-4410-BB22-DEE4B18E9FEF}"/>
          </ac:spMkLst>
        </pc:spChg>
        <pc:spChg chg="del mod">
          <ac:chgData name="Andrea Mogollon Nossa (CENIT)" userId="f6a3e592-cc27-4858-b185-ff86be206069" providerId="ADAL" clId="{2CAEC1E3-2241-4370-8FDB-F4FAA904BB83}" dt="2020-06-17T21:14:47.702" v="6267" actId="478"/>
          <ac:spMkLst>
            <pc:docMk/>
            <pc:sldMk cId="685398324" sldId="2134804277"/>
            <ac:spMk id="107" creationId="{4802A65C-C4BA-49C6-A107-DC404BE5C336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08" creationId="{E7417F2C-4445-4433-AA31-1B1D9A1C89B3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09" creationId="{6463A0B1-5B58-42DB-A202-6581174CE01D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0" creationId="{6CA8880C-7297-4174-BC36-D5CDB344EAEA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1" creationId="{7651DAC1-53EC-4E6B-B1FF-AB831EF6324C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2" creationId="{71E31981-C587-4065-8156-651DF015C5EC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3" creationId="{4E834FEC-74F4-4453-802C-616311326C63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4" creationId="{5109FFEF-797A-4DD5-98F8-3029CB19579D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5" creationId="{DCC16FB7-C640-44A4-A363-B24E38A387ED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6" creationId="{3590FC42-11A3-4C5F-AE41-25EB11148DAA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7" creationId="{2340CB77-F894-42D1-82AC-A7EF0DF485D9}"/>
          </ac:spMkLst>
        </pc:spChg>
        <pc:spChg chg="add del mod or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8" creationId="{521244BA-9DC2-4DE8-92EB-10F732712929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9" creationId="{66F535F0-66AD-4FAC-8020-93625EF3AFFE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20" creationId="{94191329-95ED-4032-9272-887D408A35B7}"/>
          </ac:spMkLst>
        </pc:spChg>
        <pc:spChg chg="add mod ord">
          <ac:chgData name="Andrea Mogollon Nossa (CENIT)" userId="f6a3e592-cc27-4858-b185-ff86be206069" providerId="ADAL" clId="{2CAEC1E3-2241-4370-8FDB-F4FAA904BB83}" dt="2020-06-17T21:22:40.833" v="6346" actId="14100"/>
          <ac:spMkLst>
            <pc:docMk/>
            <pc:sldMk cId="685398324" sldId="2134804277"/>
            <ac:spMk id="121" creationId="{B090BFCE-20D4-4C2E-AB13-0B67385FA7AD}"/>
          </ac:spMkLst>
        </pc:spChg>
        <pc:spChg chg="add mod">
          <ac:chgData name="Andrea Mogollon Nossa (CENIT)" userId="f6a3e592-cc27-4858-b185-ff86be206069" providerId="ADAL" clId="{2CAEC1E3-2241-4370-8FDB-F4FAA904BB83}" dt="2020-06-17T21:23:00.646" v="6348" actId="1076"/>
          <ac:spMkLst>
            <pc:docMk/>
            <pc:sldMk cId="685398324" sldId="2134804277"/>
            <ac:spMk id="122" creationId="{86903DE0-ADCA-4DC8-9E6D-E9AED1F442A0}"/>
          </ac:spMkLst>
        </pc:spChg>
        <pc:spChg chg="add mod">
          <ac:chgData name="Andrea Mogollon Nossa (CENIT)" userId="f6a3e592-cc27-4858-b185-ff86be206069" providerId="ADAL" clId="{2CAEC1E3-2241-4370-8FDB-F4FAA904BB83}" dt="2020-06-17T17:37:29.882" v="4711" actId="1076"/>
          <ac:spMkLst>
            <pc:docMk/>
            <pc:sldMk cId="685398324" sldId="2134804277"/>
            <ac:spMk id="123" creationId="{EA803C8F-BBB1-4354-90E8-720062F397E0}"/>
          </ac:spMkLst>
        </pc:spChg>
        <pc:spChg chg="add mod">
          <ac:chgData name="Andrea Mogollon Nossa (CENIT)" userId="f6a3e592-cc27-4858-b185-ff86be206069" providerId="ADAL" clId="{2CAEC1E3-2241-4370-8FDB-F4FAA904BB83}" dt="2020-06-17T21:17:50.526" v="6300" actId="20577"/>
          <ac:spMkLst>
            <pc:docMk/>
            <pc:sldMk cId="685398324" sldId="2134804277"/>
            <ac:spMk id="124" creationId="{E0A25213-98A0-4D9C-B905-69EC0D854861}"/>
          </ac:spMkLst>
        </pc:spChg>
        <pc:spChg chg="add mod">
          <ac:chgData name="Andrea Mogollon Nossa (CENIT)" userId="f6a3e592-cc27-4858-b185-ff86be206069" providerId="ADAL" clId="{2CAEC1E3-2241-4370-8FDB-F4FAA904BB83}" dt="2020-06-17T17:37:25.654" v="4709" actId="1076"/>
          <ac:spMkLst>
            <pc:docMk/>
            <pc:sldMk cId="685398324" sldId="2134804277"/>
            <ac:spMk id="125" creationId="{6EEE8AFC-471F-4452-9936-7BAF0D8C6B67}"/>
          </ac:spMkLst>
        </pc:spChg>
        <pc:spChg chg="add mod">
          <ac:chgData name="Andrea Mogollon Nossa (CENIT)" userId="f6a3e592-cc27-4858-b185-ff86be206069" providerId="ADAL" clId="{2CAEC1E3-2241-4370-8FDB-F4FAA904BB83}" dt="2020-06-17T21:17:43.570" v="6298" actId="20577"/>
          <ac:spMkLst>
            <pc:docMk/>
            <pc:sldMk cId="685398324" sldId="2134804277"/>
            <ac:spMk id="126" creationId="{B3717873-697F-451F-BA49-9F0AB4550A45}"/>
          </ac:spMkLst>
        </pc:spChg>
        <pc:spChg chg="add mod">
          <ac:chgData name="Andrea Mogollon Nossa (CENIT)" userId="f6a3e592-cc27-4858-b185-ff86be206069" providerId="ADAL" clId="{2CAEC1E3-2241-4370-8FDB-F4FAA904BB83}" dt="2020-06-17T21:18:14.787" v="6308" actId="20577"/>
          <ac:spMkLst>
            <pc:docMk/>
            <pc:sldMk cId="685398324" sldId="2134804277"/>
            <ac:spMk id="127" creationId="{21108AA1-2B9D-4188-BBCC-74BBBE9302C7}"/>
          </ac:spMkLst>
        </pc:spChg>
        <pc:spChg chg="add mod">
          <ac:chgData name="Andrea Mogollon Nossa (CENIT)" userId="f6a3e592-cc27-4858-b185-ff86be206069" providerId="ADAL" clId="{2CAEC1E3-2241-4370-8FDB-F4FAA904BB83}" dt="2020-06-17T17:38:17.187" v="4728" actId="1076"/>
          <ac:spMkLst>
            <pc:docMk/>
            <pc:sldMk cId="685398324" sldId="2134804277"/>
            <ac:spMk id="128" creationId="{DCF3D11F-3DD2-486A-8119-9C38A5A436D5}"/>
          </ac:spMkLst>
        </pc:spChg>
        <pc:spChg chg="add mod">
          <ac:chgData name="Andrea Mogollon Nossa (CENIT)" userId="f6a3e592-cc27-4858-b185-ff86be206069" providerId="ADAL" clId="{2CAEC1E3-2241-4370-8FDB-F4FAA904BB83}" dt="2020-06-17T21:18:43.697" v="6320" actId="20577"/>
          <ac:spMkLst>
            <pc:docMk/>
            <pc:sldMk cId="685398324" sldId="2134804277"/>
            <ac:spMk id="129" creationId="{AF127B43-599C-4DF7-9C76-8EFCDD84F269}"/>
          </ac:spMkLst>
        </pc:spChg>
        <pc:spChg chg="add mod">
          <ac:chgData name="Andrea Mogollon Nossa (CENIT)" userId="f6a3e592-cc27-4858-b185-ff86be206069" providerId="ADAL" clId="{2CAEC1E3-2241-4370-8FDB-F4FAA904BB83}" dt="2020-06-17T17:37:33.793" v="4713" actId="1076"/>
          <ac:spMkLst>
            <pc:docMk/>
            <pc:sldMk cId="685398324" sldId="2134804277"/>
            <ac:spMk id="130" creationId="{4EFB3025-4C2C-44FD-B2C8-39B360082221}"/>
          </ac:spMkLst>
        </pc:spChg>
        <pc:spChg chg="add mod">
          <ac:chgData name="Andrea Mogollon Nossa (CENIT)" userId="f6a3e592-cc27-4858-b185-ff86be206069" providerId="ADAL" clId="{2CAEC1E3-2241-4370-8FDB-F4FAA904BB83}" dt="2020-06-17T17:38:18.828" v="4729" actId="1076"/>
          <ac:spMkLst>
            <pc:docMk/>
            <pc:sldMk cId="685398324" sldId="2134804277"/>
            <ac:spMk id="131" creationId="{865EADF7-6A89-4769-AC5C-AA4FA77A6660}"/>
          </ac:spMkLst>
        </pc:spChg>
        <pc:spChg chg="add mod">
          <ac:chgData name="Andrea Mogollon Nossa (CENIT)" userId="f6a3e592-cc27-4858-b185-ff86be206069" providerId="ADAL" clId="{2CAEC1E3-2241-4370-8FDB-F4FAA904BB83}" dt="2020-06-17T21:18:16.481" v="6310" actId="20577"/>
          <ac:spMkLst>
            <pc:docMk/>
            <pc:sldMk cId="685398324" sldId="2134804277"/>
            <ac:spMk id="132" creationId="{FC03C305-04BA-46AF-B7D7-D94598B2FE83}"/>
          </ac:spMkLst>
        </pc:spChg>
        <pc:spChg chg="add mod">
          <ac:chgData name="Andrea Mogollon Nossa (CENIT)" userId="f6a3e592-cc27-4858-b185-ff86be206069" providerId="ADAL" clId="{2CAEC1E3-2241-4370-8FDB-F4FAA904BB83}" dt="2020-06-17T21:18:12.698" v="6306" actId="20577"/>
          <ac:spMkLst>
            <pc:docMk/>
            <pc:sldMk cId="685398324" sldId="2134804277"/>
            <ac:spMk id="133" creationId="{310CB3A5-C87B-4760-B9D3-E7FEB278DACA}"/>
          </ac:spMkLst>
        </pc:spChg>
        <pc:spChg chg="add mod">
          <ac:chgData name="Andrea Mogollon Nossa (CENIT)" userId="f6a3e592-cc27-4858-b185-ff86be206069" providerId="ADAL" clId="{2CAEC1E3-2241-4370-8FDB-F4FAA904BB83}" dt="2020-06-17T17:38:20.178" v="4730" actId="1076"/>
          <ac:spMkLst>
            <pc:docMk/>
            <pc:sldMk cId="685398324" sldId="2134804277"/>
            <ac:spMk id="134" creationId="{B2D44EE1-B15C-4463-8E05-2A1954C1E647}"/>
          </ac:spMkLst>
        </pc:spChg>
        <pc:spChg chg="add mod">
          <ac:chgData name="Andrea Mogollon Nossa (CENIT)" userId="f6a3e592-cc27-4858-b185-ff86be206069" providerId="ADAL" clId="{2CAEC1E3-2241-4370-8FDB-F4FAA904BB83}" dt="2020-06-17T21:18:53.876" v="6322" actId="20577"/>
          <ac:spMkLst>
            <pc:docMk/>
            <pc:sldMk cId="685398324" sldId="2134804277"/>
            <ac:spMk id="135" creationId="{94A77529-CA0E-46B5-943E-8812CDB7A78D}"/>
          </ac:spMkLst>
        </pc:spChg>
        <pc:spChg chg="add mod">
          <ac:chgData name="Andrea Mogollon Nossa (CENIT)" userId="f6a3e592-cc27-4858-b185-ff86be206069" providerId="ADAL" clId="{2CAEC1E3-2241-4370-8FDB-F4FAA904BB83}" dt="2020-06-17T17:39:03.310" v="4745" actId="1076"/>
          <ac:spMkLst>
            <pc:docMk/>
            <pc:sldMk cId="685398324" sldId="2134804277"/>
            <ac:spMk id="136" creationId="{CDAAE380-0192-4B9C-B37C-FE9CD8489A0A}"/>
          </ac:spMkLst>
        </pc:spChg>
        <pc:spChg chg="mod">
          <ac:chgData name="Andrea Mogollon Nossa (CENIT)" userId="f6a3e592-cc27-4858-b185-ff86be206069" providerId="ADAL" clId="{2CAEC1E3-2241-4370-8FDB-F4FAA904BB83}" dt="2020-06-17T21:02:28.236" v="6089" actId="20577"/>
          <ac:spMkLst>
            <pc:docMk/>
            <pc:sldMk cId="685398324" sldId="2134804277"/>
            <ac:spMk id="137" creationId="{F2F1441C-82E3-4978-ADB4-2E81AB714A12}"/>
          </ac:spMkLst>
        </pc:spChg>
        <pc:spChg chg="mod">
          <ac:chgData name="Andrea Mogollon Nossa (CENIT)" userId="f6a3e592-cc27-4858-b185-ff86be206069" providerId="ADAL" clId="{2CAEC1E3-2241-4370-8FDB-F4FAA904BB83}" dt="2020-06-16T17:04:15.661" v="1482" actId="1582"/>
          <ac:spMkLst>
            <pc:docMk/>
            <pc:sldMk cId="685398324" sldId="2134804277"/>
            <ac:spMk id="138" creationId="{B7572FF5-C3B2-41FB-AC8B-11068157874D}"/>
          </ac:spMkLst>
        </pc:spChg>
        <pc:spChg chg="mod">
          <ac:chgData name="Andrea Mogollon Nossa (CENIT)" userId="f6a3e592-cc27-4858-b185-ff86be206069" providerId="ADAL" clId="{2CAEC1E3-2241-4370-8FDB-F4FAA904BB83}" dt="2020-06-16T16:58:01.701" v="1353" actId="1582"/>
          <ac:spMkLst>
            <pc:docMk/>
            <pc:sldMk cId="685398324" sldId="2134804277"/>
            <ac:spMk id="139" creationId="{2227F15F-B01E-49E7-B6F1-35FB55117734}"/>
          </ac:spMkLst>
        </pc:spChg>
        <pc:spChg chg="mod">
          <ac:chgData name="Andrea Mogollon Nossa (CENIT)" userId="f6a3e592-cc27-4858-b185-ff86be206069" providerId="ADAL" clId="{2CAEC1E3-2241-4370-8FDB-F4FAA904BB83}" dt="2020-06-17T21:11:48.108" v="6221" actId="1076"/>
          <ac:spMkLst>
            <pc:docMk/>
            <pc:sldMk cId="685398324" sldId="2134804277"/>
            <ac:spMk id="140" creationId="{2062ABD7-3E18-481C-BE0F-59304E710CAD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41" creationId="{6DFBB2A7-5F2D-4D91-9156-98CB032BD858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42" creationId="{9660C67C-C249-4C29-87B1-2E22B67DE74F}"/>
          </ac:spMkLst>
        </pc:spChg>
        <pc:spChg chg="add mod">
          <ac:chgData name="Andrea Mogollon Nossa (CENIT)" userId="f6a3e592-cc27-4858-b185-ff86be206069" providerId="ADAL" clId="{2CAEC1E3-2241-4370-8FDB-F4FAA904BB83}" dt="2020-06-17T21:20:14.493" v="6333" actId="20577"/>
          <ac:spMkLst>
            <pc:docMk/>
            <pc:sldMk cId="685398324" sldId="2134804277"/>
            <ac:spMk id="143" creationId="{92043131-3755-4946-AA99-1BAB416E79D7}"/>
          </ac:spMkLst>
        </pc:spChg>
        <pc:spChg chg="mod">
          <ac:chgData name="Andrea Mogollon Nossa (CENIT)" userId="f6a3e592-cc27-4858-b185-ff86be206069" providerId="ADAL" clId="{2CAEC1E3-2241-4370-8FDB-F4FAA904BB83}" dt="2020-06-17T21:14:05.533" v="6253" actId="1076"/>
          <ac:spMkLst>
            <pc:docMk/>
            <pc:sldMk cId="685398324" sldId="2134804277"/>
            <ac:spMk id="144" creationId="{25AF8D90-7CF9-4004-AFE7-8FD9BCD562C6}"/>
          </ac:spMkLst>
        </pc:spChg>
        <pc:spChg chg="mod">
          <ac:chgData name="Andrea Mogollon Nossa (CENIT)" userId="f6a3e592-cc27-4858-b185-ff86be206069" providerId="ADAL" clId="{2CAEC1E3-2241-4370-8FDB-F4FAA904BB83}" dt="2020-06-17T21:14:10.069" v="6255" actId="1076"/>
          <ac:spMkLst>
            <pc:docMk/>
            <pc:sldMk cId="685398324" sldId="2134804277"/>
            <ac:spMk id="145" creationId="{1FACAF7C-6304-4959-827F-E5EC80E0E805}"/>
          </ac:spMkLst>
        </pc:spChg>
        <pc:spChg chg="mod">
          <ac:chgData name="Andrea Mogollon Nossa (CENIT)" userId="f6a3e592-cc27-4858-b185-ff86be206069" providerId="ADAL" clId="{2CAEC1E3-2241-4370-8FDB-F4FAA904BB83}" dt="2020-06-17T21:10:39.397" v="6205" actId="14100"/>
          <ac:spMkLst>
            <pc:docMk/>
            <pc:sldMk cId="685398324" sldId="2134804277"/>
            <ac:spMk id="146" creationId="{D86974CC-32BF-439F-A6E2-D1E82520294D}"/>
          </ac:spMkLst>
        </pc:spChg>
        <pc:spChg chg="mod">
          <ac:chgData name="Andrea Mogollon Nossa (CENIT)" userId="f6a3e592-cc27-4858-b185-ff86be206069" providerId="ADAL" clId="{2CAEC1E3-2241-4370-8FDB-F4FAA904BB83}" dt="2020-06-17T21:10:47.317" v="6207" actId="1076"/>
          <ac:spMkLst>
            <pc:docMk/>
            <pc:sldMk cId="685398324" sldId="2134804277"/>
            <ac:spMk id="147" creationId="{58F0CDC2-9414-439E-A3CB-C4B6F7ADCE1B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48" creationId="{3D0EFFEA-E9FE-4053-B9D8-C9F8D8881270}"/>
          </ac:spMkLst>
        </pc:spChg>
        <pc:spChg chg="add mod">
          <ac:chgData name="Andrea Mogollon Nossa (CENIT)" userId="f6a3e592-cc27-4858-b185-ff86be206069" providerId="ADAL" clId="{2CAEC1E3-2241-4370-8FDB-F4FAA904BB83}" dt="2020-06-17T21:18:05.605" v="6304" actId="20577"/>
          <ac:spMkLst>
            <pc:docMk/>
            <pc:sldMk cId="685398324" sldId="2134804277"/>
            <ac:spMk id="149" creationId="{7DD301E2-FD8B-473E-AC06-7B1BEE6BC359}"/>
          </ac:spMkLst>
        </pc:spChg>
        <pc:spChg chg="add mod">
          <ac:chgData name="Andrea Mogollon Nossa (CENIT)" userId="f6a3e592-cc27-4858-b185-ff86be206069" providerId="ADAL" clId="{2CAEC1E3-2241-4370-8FDB-F4FAA904BB83}" dt="2020-06-17T17:39:07.747" v="4746" actId="1076"/>
          <ac:spMkLst>
            <pc:docMk/>
            <pc:sldMk cId="685398324" sldId="2134804277"/>
            <ac:spMk id="150" creationId="{18B0FAF4-B25E-430A-B44F-BB89581DF8C7}"/>
          </ac:spMkLst>
        </pc:spChg>
        <pc:spChg chg="add mod">
          <ac:chgData name="Andrea Mogollon Nossa (CENIT)" userId="f6a3e592-cc27-4858-b185-ff86be206069" providerId="ADAL" clId="{2CAEC1E3-2241-4370-8FDB-F4FAA904BB83}" dt="2020-06-17T17:39:10.372" v="4747" actId="1076"/>
          <ac:spMkLst>
            <pc:docMk/>
            <pc:sldMk cId="685398324" sldId="2134804277"/>
            <ac:spMk id="151" creationId="{6759F741-D2BA-47AD-9BE9-B5F911C114F3}"/>
          </ac:spMkLst>
        </pc:spChg>
        <pc:spChg chg="add mod">
          <ac:chgData name="Andrea Mogollon Nossa (CENIT)" userId="f6a3e592-cc27-4858-b185-ff86be206069" providerId="ADAL" clId="{2CAEC1E3-2241-4370-8FDB-F4FAA904BB83}" dt="2020-06-17T21:17:14.189" v="6294" actId="1076"/>
          <ac:spMkLst>
            <pc:docMk/>
            <pc:sldMk cId="685398324" sldId="2134804277"/>
            <ac:spMk id="152" creationId="{7A395937-9DFA-4F55-91C6-913660069E89}"/>
          </ac:spMkLst>
        </pc:spChg>
        <pc:spChg chg="add mod">
          <ac:chgData name="Andrea Mogollon Nossa (CENIT)" userId="f6a3e592-cc27-4858-b185-ff86be206069" providerId="ADAL" clId="{2CAEC1E3-2241-4370-8FDB-F4FAA904BB83}" dt="2020-06-17T21:17:21.484" v="6296" actId="1076"/>
          <ac:spMkLst>
            <pc:docMk/>
            <pc:sldMk cId="685398324" sldId="2134804277"/>
            <ac:spMk id="153" creationId="{4D3DF7EF-4C67-47D9-B3B2-1EE8EBA2B408}"/>
          </ac:spMkLst>
        </pc:spChg>
        <pc:spChg chg="add mod">
          <ac:chgData name="Andrea Mogollon Nossa (CENIT)" userId="f6a3e592-cc27-4858-b185-ff86be206069" providerId="ADAL" clId="{2CAEC1E3-2241-4370-8FDB-F4FAA904BB83}" dt="2020-06-17T21:22:15.366" v="6340" actId="1076"/>
          <ac:spMkLst>
            <pc:docMk/>
            <pc:sldMk cId="685398324" sldId="2134804277"/>
            <ac:spMk id="154" creationId="{7CCA0A5A-A0E7-4CFD-87B3-1917D7D6D482}"/>
          </ac:spMkLst>
        </pc:spChg>
        <pc:spChg chg="add mod">
          <ac:chgData name="Andrea Mogollon Nossa (CENIT)" userId="f6a3e592-cc27-4858-b185-ff86be206069" providerId="ADAL" clId="{2CAEC1E3-2241-4370-8FDB-F4FAA904BB83}" dt="2020-06-17T21:19:19.421" v="6323" actId="1076"/>
          <ac:spMkLst>
            <pc:docMk/>
            <pc:sldMk cId="685398324" sldId="2134804277"/>
            <ac:spMk id="155" creationId="{35F89E97-6F48-4EEF-A953-195B7A0A5828}"/>
          </ac:spMkLst>
        </pc:spChg>
        <pc:spChg chg="add mod">
          <ac:chgData name="Andrea Mogollon Nossa (CENIT)" userId="f6a3e592-cc27-4858-b185-ff86be206069" providerId="ADAL" clId="{2CAEC1E3-2241-4370-8FDB-F4FAA904BB83}" dt="2020-06-17T21:11:38.332" v="6219" actId="1076"/>
          <ac:spMkLst>
            <pc:docMk/>
            <pc:sldMk cId="685398324" sldId="2134804277"/>
            <ac:spMk id="156" creationId="{E9BCE429-585B-45A6-85A4-C7E36494C46F}"/>
          </ac:spMkLst>
        </pc:spChg>
        <pc:spChg chg="add del mod">
          <ac:chgData name="Andrea Mogollon Nossa (CENIT)" userId="f6a3e592-cc27-4858-b185-ff86be206069" providerId="ADAL" clId="{2CAEC1E3-2241-4370-8FDB-F4FAA904BB83}" dt="2020-06-17T17:32:47.743" v="4608" actId="478"/>
          <ac:spMkLst>
            <pc:docMk/>
            <pc:sldMk cId="685398324" sldId="2134804277"/>
            <ac:spMk id="157" creationId="{DD5D718D-B25C-437E-BC96-1A7CE8E6136A}"/>
          </ac:spMkLst>
        </pc:spChg>
        <pc:spChg chg="add del mod">
          <ac:chgData name="Andrea Mogollon Nossa (CENIT)" userId="f6a3e592-cc27-4858-b185-ff86be206069" providerId="ADAL" clId="{2CAEC1E3-2241-4370-8FDB-F4FAA904BB83}" dt="2020-06-17T17:34:12.191" v="4654" actId="478"/>
          <ac:spMkLst>
            <pc:docMk/>
            <pc:sldMk cId="685398324" sldId="2134804277"/>
            <ac:spMk id="158" creationId="{F86C3756-4DC3-4B09-AB0A-AC45886C3934}"/>
          </ac:spMkLst>
        </pc:spChg>
        <pc:spChg chg="add mod">
          <ac:chgData name="Andrea Mogollon Nossa (CENIT)" userId="f6a3e592-cc27-4858-b185-ff86be206069" providerId="ADAL" clId="{2CAEC1E3-2241-4370-8FDB-F4FAA904BB83}" dt="2020-06-17T21:13:38.013" v="6246" actId="1076"/>
          <ac:spMkLst>
            <pc:docMk/>
            <pc:sldMk cId="685398324" sldId="2134804277"/>
            <ac:spMk id="159" creationId="{0414BD16-5AD5-4608-995D-08C9D27746E1}"/>
          </ac:spMkLst>
        </pc:spChg>
        <pc:spChg chg="add mod">
          <ac:chgData name="Andrea Mogollon Nossa (CENIT)" userId="f6a3e592-cc27-4858-b185-ff86be206069" providerId="ADAL" clId="{2CAEC1E3-2241-4370-8FDB-F4FAA904BB83}" dt="2020-06-17T21:13:44.776" v="6248" actId="20577"/>
          <ac:spMkLst>
            <pc:docMk/>
            <pc:sldMk cId="685398324" sldId="2134804277"/>
            <ac:spMk id="160" creationId="{D8414B9E-A552-4BCE-AE55-8089DA4FCB0A}"/>
          </ac:spMkLst>
        </pc:spChg>
        <pc:spChg chg="add mod">
          <ac:chgData name="Andrea Mogollon Nossa (CENIT)" userId="f6a3e592-cc27-4858-b185-ff86be206069" providerId="ADAL" clId="{2CAEC1E3-2241-4370-8FDB-F4FAA904BB83}" dt="2020-06-17T21:13:41.940" v="6247" actId="1076"/>
          <ac:spMkLst>
            <pc:docMk/>
            <pc:sldMk cId="685398324" sldId="2134804277"/>
            <ac:spMk id="161" creationId="{53AD37EB-B346-4460-9981-82CA1C730DF2}"/>
          </ac:spMkLst>
        </pc:spChg>
        <pc:spChg chg="add mod">
          <ac:chgData name="Andrea Mogollon Nossa (CENIT)" userId="f6a3e592-cc27-4858-b185-ff86be206069" providerId="ADAL" clId="{2CAEC1E3-2241-4370-8FDB-F4FAA904BB83}" dt="2020-06-17T21:17:19.014" v="6295" actId="1076"/>
          <ac:spMkLst>
            <pc:docMk/>
            <pc:sldMk cId="685398324" sldId="2134804277"/>
            <ac:spMk id="162" creationId="{340970B5-B4C0-44C0-A487-91F5170AC55E}"/>
          </ac:spMkLst>
        </pc:spChg>
        <pc:spChg chg="add mod">
          <ac:chgData name="Andrea Mogollon Nossa (CENIT)" userId="f6a3e592-cc27-4858-b185-ff86be206069" providerId="ADAL" clId="{2CAEC1E3-2241-4370-8FDB-F4FAA904BB83}" dt="2020-06-17T21:17:19.014" v="6295" actId="1076"/>
          <ac:spMkLst>
            <pc:docMk/>
            <pc:sldMk cId="685398324" sldId="2134804277"/>
            <ac:spMk id="163" creationId="{E68DC65A-93B8-4587-BF1A-B897E00D4BA9}"/>
          </ac:spMkLst>
        </pc:spChg>
        <pc:spChg chg="add mod">
          <ac:chgData name="Andrea Mogollon Nossa (CENIT)" userId="f6a3e592-cc27-4858-b185-ff86be206069" providerId="ADAL" clId="{2CAEC1E3-2241-4370-8FDB-F4FAA904BB83}" dt="2020-06-17T21:13:55.580" v="6250" actId="1076"/>
          <ac:spMkLst>
            <pc:docMk/>
            <pc:sldMk cId="685398324" sldId="2134804277"/>
            <ac:spMk id="164" creationId="{C61A6580-57EA-404B-8AB3-3154ED4D91E2}"/>
          </ac:spMkLst>
        </pc:spChg>
        <pc:spChg chg="add mod">
          <ac:chgData name="Andrea Mogollon Nossa (CENIT)" userId="f6a3e592-cc27-4858-b185-ff86be206069" providerId="ADAL" clId="{2CAEC1E3-2241-4370-8FDB-F4FAA904BB83}" dt="2020-06-17T21:19:34.998" v="6327" actId="1076"/>
          <ac:spMkLst>
            <pc:docMk/>
            <pc:sldMk cId="685398324" sldId="2134804277"/>
            <ac:spMk id="165" creationId="{5ECB6BAB-01A4-4031-AFF5-666CA1F7C303}"/>
          </ac:spMkLst>
        </pc:spChg>
        <pc:spChg chg="add mod">
          <ac:chgData name="Andrea Mogollon Nossa (CENIT)" userId="f6a3e592-cc27-4858-b185-ff86be206069" providerId="ADAL" clId="{2CAEC1E3-2241-4370-8FDB-F4FAA904BB83}" dt="2020-06-17T21:22:28.270" v="6345" actId="1076"/>
          <ac:spMkLst>
            <pc:docMk/>
            <pc:sldMk cId="685398324" sldId="2134804277"/>
            <ac:spMk id="166" creationId="{D622807D-0029-496D-9FF0-3E3E825043ED}"/>
          </ac:spMkLst>
        </pc:spChg>
        <pc:spChg chg="add mod">
          <ac:chgData name="Andrea Mogollon Nossa (CENIT)" userId="f6a3e592-cc27-4858-b185-ff86be206069" providerId="ADAL" clId="{2CAEC1E3-2241-4370-8FDB-F4FAA904BB83}" dt="2020-06-17T21:19:30.070" v="6326" actId="1076"/>
          <ac:spMkLst>
            <pc:docMk/>
            <pc:sldMk cId="685398324" sldId="2134804277"/>
            <ac:spMk id="167" creationId="{775B6AE0-CB44-4723-A497-8EAECD1943BD}"/>
          </ac:spMkLst>
        </pc:spChg>
        <pc:spChg chg="add mod">
          <ac:chgData name="Andrea Mogollon Nossa (CENIT)" userId="f6a3e592-cc27-4858-b185-ff86be206069" providerId="ADAL" clId="{2CAEC1E3-2241-4370-8FDB-F4FAA904BB83}" dt="2020-06-17T21:22:23.414" v="6343" actId="1076"/>
          <ac:spMkLst>
            <pc:docMk/>
            <pc:sldMk cId="685398324" sldId="2134804277"/>
            <ac:spMk id="168" creationId="{27CE3CF4-8552-4668-8C92-72492F9C7EDE}"/>
          </ac:spMkLst>
        </pc:spChg>
        <pc:spChg chg="add mod">
          <ac:chgData name="Andrea Mogollon Nossa (CENIT)" userId="f6a3e592-cc27-4858-b185-ff86be206069" providerId="ADAL" clId="{2CAEC1E3-2241-4370-8FDB-F4FAA904BB83}" dt="2020-06-17T21:12:39.046" v="6236" actId="1076"/>
          <ac:spMkLst>
            <pc:docMk/>
            <pc:sldMk cId="685398324" sldId="2134804277"/>
            <ac:spMk id="169" creationId="{815661F8-4E4B-455A-B8FB-8F4E2F66C8A0}"/>
          </ac:spMkLst>
        </pc:spChg>
        <pc:spChg chg="add mod">
          <ac:chgData name="Andrea Mogollon Nossa (CENIT)" userId="f6a3e592-cc27-4858-b185-ff86be206069" providerId="ADAL" clId="{2CAEC1E3-2241-4370-8FDB-F4FAA904BB83}" dt="2020-06-17T21:22:19.357" v="6341" actId="1076"/>
          <ac:spMkLst>
            <pc:docMk/>
            <pc:sldMk cId="685398324" sldId="2134804277"/>
            <ac:spMk id="170" creationId="{B2F3BBE0-6656-46AE-B393-9E0F8F4D849B}"/>
          </ac:spMkLst>
        </pc:spChg>
        <pc:spChg chg="add mod">
          <ac:chgData name="Andrea Mogollon Nossa (CENIT)" userId="f6a3e592-cc27-4858-b185-ff86be206069" providerId="ADAL" clId="{2CAEC1E3-2241-4370-8FDB-F4FAA904BB83}" dt="2020-06-17T21:22:21.270" v="6342" actId="1076"/>
          <ac:spMkLst>
            <pc:docMk/>
            <pc:sldMk cId="685398324" sldId="2134804277"/>
            <ac:spMk id="171" creationId="{E70F20BE-E504-47E7-80A0-49DF0D1CB34F}"/>
          </ac:spMkLst>
        </pc:spChg>
        <pc:spChg chg="add 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72" creationId="{170F7383-CBE6-4527-BD9C-0DABD3EFC817}"/>
          </ac:spMkLst>
        </pc:spChg>
        <pc:spChg chg="add del mod">
          <ac:chgData name="Andrea Mogollon Nossa (CENIT)" userId="f6a3e592-cc27-4858-b185-ff86be206069" providerId="ADAL" clId="{2CAEC1E3-2241-4370-8FDB-F4FAA904BB83}" dt="2020-06-17T21:11:43.132" v="6220" actId="478"/>
          <ac:spMkLst>
            <pc:docMk/>
            <pc:sldMk cId="685398324" sldId="2134804277"/>
            <ac:spMk id="173" creationId="{DA14828A-44F9-42BF-9DE4-4EB6F289D131}"/>
          </ac:spMkLst>
        </pc:spChg>
        <pc:spChg chg="add 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74" creationId="{DC1FC889-7C64-4E13-8CA3-F2AA0C731F2C}"/>
          </ac:spMkLst>
        </pc:spChg>
        <pc:spChg chg="add mod">
          <ac:chgData name="Andrea Mogollon Nossa (CENIT)" userId="f6a3e592-cc27-4858-b185-ff86be206069" providerId="ADAL" clId="{2CAEC1E3-2241-4370-8FDB-F4FAA904BB83}" dt="2020-06-17T21:13:25.574" v="6243" actId="14100"/>
          <ac:spMkLst>
            <pc:docMk/>
            <pc:sldMk cId="685398324" sldId="2134804277"/>
            <ac:spMk id="175" creationId="{C6A85CE0-D516-4D47-80B2-B2B61C459D20}"/>
          </ac:spMkLst>
        </pc:spChg>
        <pc:spChg chg="add mod">
          <ac:chgData name="Andrea Mogollon Nossa (CENIT)" userId="f6a3e592-cc27-4858-b185-ff86be206069" providerId="ADAL" clId="{2CAEC1E3-2241-4370-8FDB-F4FAA904BB83}" dt="2020-06-17T21:14:33.980" v="6262" actId="20577"/>
          <ac:spMkLst>
            <pc:docMk/>
            <pc:sldMk cId="685398324" sldId="2134804277"/>
            <ac:spMk id="176" creationId="{B0F58865-93CC-435C-AAD7-8207773D551B}"/>
          </ac:spMkLst>
        </pc:spChg>
        <pc:cxnChg chg="mod">
          <ac:chgData name="Andrea Mogollon Nossa (CENIT)" userId="f6a3e592-cc27-4858-b185-ff86be206069" providerId="ADAL" clId="{2CAEC1E3-2241-4370-8FDB-F4FAA904BB83}" dt="2020-06-17T21:12:49.253" v="6238" actId="14100"/>
          <ac:cxnSpMkLst>
            <pc:docMk/>
            <pc:sldMk cId="685398324" sldId="2134804277"/>
            <ac:cxnSpMk id="95" creationId="{992CCE25-00CE-4C15-881A-068C6B1A3F0E}"/>
          </ac:cxnSpMkLst>
        </pc:cxnChg>
      </pc:sldChg>
      <pc:sldChg chg="addSp modSp mod">
        <pc:chgData name="Andrea Mogollon Nossa (CENIT)" userId="f6a3e592-cc27-4858-b185-ff86be206069" providerId="ADAL" clId="{2CAEC1E3-2241-4370-8FDB-F4FAA904BB83}" dt="2020-06-17T21:29:21.120" v="6504" actId="113"/>
        <pc:sldMkLst>
          <pc:docMk/>
          <pc:sldMk cId="3831308622" sldId="2134804279"/>
        </pc:sldMkLst>
        <pc:spChg chg="add mod">
          <ac:chgData name="Andrea Mogollon Nossa (CENIT)" userId="f6a3e592-cc27-4858-b185-ff86be206069" providerId="ADAL" clId="{2CAEC1E3-2241-4370-8FDB-F4FAA904BB83}" dt="2020-06-17T21:29:18.550" v="6503" actId="1076"/>
          <ac:spMkLst>
            <pc:docMk/>
            <pc:sldMk cId="3831308622" sldId="2134804279"/>
            <ac:spMk id="3" creationId="{E0EBDA24-5DF4-4E0C-BF25-069E22B9B239}"/>
          </ac:spMkLst>
        </pc:spChg>
        <pc:spChg chg="mod">
          <ac:chgData name="Andrea Mogollon Nossa (CENIT)" userId="f6a3e592-cc27-4858-b185-ff86be206069" providerId="ADAL" clId="{2CAEC1E3-2241-4370-8FDB-F4FAA904BB83}" dt="2020-06-17T21:28:23.514" v="6493" actId="113"/>
          <ac:spMkLst>
            <pc:docMk/>
            <pc:sldMk cId="3831308622" sldId="2134804279"/>
            <ac:spMk id="14" creationId="{B16B2FAC-B20E-4A14-9B33-3B759C960A1E}"/>
          </ac:spMkLst>
        </pc:spChg>
        <pc:spChg chg="mod">
          <ac:chgData name="Andrea Mogollon Nossa (CENIT)" userId="f6a3e592-cc27-4858-b185-ff86be206069" providerId="ADAL" clId="{2CAEC1E3-2241-4370-8FDB-F4FAA904BB83}" dt="2020-06-17T14:34:31.011" v="4123" actId="20577"/>
          <ac:spMkLst>
            <pc:docMk/>
            <pc:sldMk cId="3831308622" sldId="2134804279"/>
            <ac:spMk id="29" creationId="{5E8189E1-D7BC-4F4A-993D-EDC8B0EBCF1A}"/>
          </ac:spMkLst>
        </pc:spChg>
        <pc:spChg chg="mod">
          <ac:chgData name="Andrea Mogollon Nossa (CENIT)" userId="f6a3e592-cc27-4858-b185-ff86be206069" providerId="ADAL" clId="{2CAEC1E3-2241-4370-8FDB-F4FAA904BB83}" dt="2020-06-17T14:35:24.340" v="4128" actId="1076"/>
          <ac:spMkLst>
            <pc:docMk/>
            <pc:sldMk cId="3831308622" sldId="2134804279"/>
            <ac:spMk id="47" creationId="{549F76F1-522F-428A-AB55-523D393B185B}"/>
          </ac:spMkLst>
        </pc:spChg>
        <pc:spChg chg="mod">
          <ac:chgData name="Andrea Mogollon Nossa (CENIT)" userId="f6a3e592-cc27-4858-b185-ff86be206069" providerId="ADAL" clId="{2CAEC1E3-2241-4370-8FDB-F4FAA904BB83}" dt="2020-06-17T21:29:13.540" v="6502" actId="14100"/>
          <ac:spMkLst>
            <pc:docMk/>
            <pc:sldMk cId="3831308622" sldId="2134804279"/>
            <ac:spMk id="57" creationId="{847A2F3C-9402-4AD0-BF56-28ABDAE59259}"/>
          </ac:spMkLst>
        </pc:spChg>
        <pc:spChg chg="mod">
          <ac:chgData name="Andrea Mogollon Nossa (CENIT)" userId="f6a3e592-cc27-4858-b185-ff86be206069" providerId="ADAL" clId="{2CAEC1E3-2241-4370-8FDB-F4FAA904BB83}" dt="2020-06-17T21:29:21.120" v="6504" actId="113"/>
          <ac:spMkLst>
            <pc:docMk/>
            <pc:sldMk cId="3831308622" sldId="2134804279"/>
            <ac:spMk id="58" creationId="{DAC27579-E9C2-4134-9476-72F607D7F944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7T20:42:12.205" v="5973" actId="14100"/>
        <pc:sldMkLst>
          <pc:docMk/>
          <pc:sldMk cId="383958496" sldId="2134804281"/>
        </pc:sldMkLst>
        <pc:spChg chg="mod">
          <ac:chgData name="Andrea Mogollon Nossa (CENIT)" userId="f6a3e592-cc27-4858-b185-ff86be206069" providerId="ADAL" clId="{2CAEC1E3-2241-4370-8FDB-F4FAA904BB83}" dt="2020-06-17T20:42:12.205" v="5973" actId="14100"/>
          <ac:spMkLst>
            <pc:docMk/>
            <pc:sldMk cId="383958496" sldId="2134804281"/>
            <ac:spMk id="4" creationId="{9B0CE30D-625A-4CD9-98D4-3AF33243D194}"/>
          </ac:spMkLst>
        </pc:spChg>
        <pc:spChg chg="add mod">
          <ac:chgData name="Andrea Mogollon Nossa (CENIT)" userId="f6a3e592-cc27-4858-b185-ff86be206069" providerId="ADAL" clId="{2CAEC1E3-2241-4370-8FDB-F4FAA904BB83}" dt="2020-06-16T15:48:10.563" v="120" actId="1076"/>
          <ac:spMkLst>
            <pc:docMk/>
            <pc:sldMk cId="383958496" sldId="2134804281"/>
            <ac:spMk id="33" creationId="{257A51C8-EB6E-4CAA-8ED7-3E4E7C0B3A8A}"/>
          </ac:spMkLst>
        </pc:spChg>
        <pc:spChg chg="mod">
          <ac:chgData name="Andrea Mogollon Nossa (CENIT)" userId="f6a3e592-cc27-4858-b185-ff86be206069" providerId="ADAL" clId="{2CAEC1E3-2241-4370-8FDB-F4FAA904BB83}" dt="2020-06-16T15:47:50.855" v="118" actId="20577"/>
          <ac:spMkLst>
            <pc:docMk/>
            <pc:sldMk cId="383958496" sldId="2134804281"/>
            <ac:spMk id="54" creationId="{18FCD16F-84E8-4671-A091-C0264D480522}"/>
          </ac:spMkLst>
        </pc:spChg>
        <pc:spChg chg="mod">
          <ac:chgData name="Andrea Mogollon Nossa (CENIT)" userId="f6a3e592-cc27-4858-b185-ff86be206069" providerId="ADAL" clId="{2CAEC1E3-2241-4370-8FDB-F4FAA904BB83}" dt="2020-06-16T15:49:45.905" v="132" actId="20577"/>
          <ac:spMkLst>
            <pc:docMk/>
            <pc:sldMk cId="383958496" sldId="2134804281"/>
            <ac:spMk id="59" creationId="{59ACAE5A-D20F-4C0C-AF16-1F585FF5F4FE}"/>
          </ac:spMkLst>
        </pc:spChg>
        <pc:graphicFrameChg chg="add del mod">
          <ac:chgData name="Andrea Mogollon Nossa (CENIT)" userId="f6a3e592-cc27-4858-b185-ff86be206069" providerId="ADAL" clId="{2CAEC1E3-2241-4370-8FDB-F4FAA904BB83}" dt="2020-06-16T15:49:39.881" v="129" actId="1076"/>
          <ac:graphicFrameMkLst>
            <pc:docMk/>
            <pc:sldMk cId="383958496" sldId="2134804281"/>
            <ac:graphicFrameMk id="34" creationId="{02B2869B-7E4D-490B-8846-042149DA7C69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5:49:05.676" v="122" actId="20577"/>
          <ac:graphicFrameMkLst>
            <pc:docMk/>
            <pc:sldMk cId="383958496" sldId="2134804281"/>
            <ac:graphicFrameMk id="56" creationId="{8CFF7275-2CFD-476E-AC6D-F148C64CF6BF}"/>
          </ac:graphicFrameMkLst>
        </pc:graphicFrameChg>
      </pc:sldChg>
      <pc:sldChg chg="delSp modSp mod">
        <pc:chgData name="Andrea Mogollon Nossa (CENIT)" userId="f6a3e592-cc27-4858-b185-ff86be206069" providerId="ADAL" clId="{2CAEC1E3-2241-4370-8FDB-F4FAA904BB83}" dt="2020-06-17T20:42:03.897" v="5960" actId="20577"/>
        <pc:sldMkLst>
          <pc:docMk/>
          <pc:sldMk cId="4094272692" sldId="2134804282"/>
        </pc:sldMkLst>
        <pc:spChg chg="mod">
          <ac:chgData name="Andrea Mogollon Nossa (CENIT)" userId="f6a3e592-cc27-4858-b185-ff86be206069" providerId="ADAL" clId="{2CAEC1E3-2241-4370-8FDB-F4FAA904BB83}" dt="2020-06-17T20:42:03.897" v="5960" actId="20577"/>
          <ac:spMkLst>
            <pc:docMk/>
            <pc:sldMk cId="4094272692" sldId="2134804282"/>
            <ac:spMk id="4" creationId="{9B0CE30D-625A-4CD9-98D4-3AF33243D194}"/>
          </ac:spMkLst>
        </pc:spChg>
        <pc:spChg chg="del mod">
          <ac:chgData name="Andrea Mogollon Nossa (CENIT)" userId="f6a3e592-cc27-4858-b185-ff86be206069" providerId="ADAL" clId="{2CAEC1E3-2241-4370-8FDB-F4FAA904BB83}" dt="2020-06-17T13:12:11.975" v="2768" actId="478"/>
          <ac:spMkLst>
            <pc:docMk/>
            <pc:sldMk cId="4094272692" sldId="2134804282"/>
            <ac:spMk id="43" creationId="{BCBC9E1C-A934-4193-BA31-51F1F2C04CFD}"/>
          </ac:spMkLst>
        </pc:spChg>
        <pc:spChg chg="mod">
          <ac:chgData name="Andrea Mogollon Nossa (CENIT)" userId="f6a3e592-cc27-4858-b185-ff86be206069" providerId="ADAL" clId="{2CAEC1E3-2241-4370-8FDB-F4FAA904BB83}" dt="2020-06-17T13:12:05.754" v="2767" actId="108"/>
          <ac:spMkLst>
            <pc:docMk/>
            <pc:sldMk cId="4094272692" sldId="2134804282"/>
            <ac:spMk id="47" creationId="{89F53308-CD6C-40B8-8AE9-97110B2DCF26}"/>
          </ac:spMkLst>
        </pc:spChg>
        <pc:spChg chg="mod">
          <ac:chgData name="Andrea Mogollon Nossa (CENIT)" userId="f6a3e592-cc27-4858-b185-ff86be206069" providerId="ADAL" clId="{2CAEC1E3-2241-4370-8FDB-F4FAA904BB83}" dt="2020-06-16T16:42:01.459" v="1126" actId="1076"/>
          <ac:spMkLst>
            <pc:docMk/>
            <pc:sldMk cId="4094272692" sldId="2134804282"/>
            <ac:spMk id="61" creationId="{138DCF18-9876-4282-8277-FD5C3720C955}"/>
          </ac:spMkLst>
        </pc:spChg>
        <pc:spChg chg="mod">
          <ac:chgData name="Andrea Mogollon Nossa (CENIT)" userId="f6a3e592-cc27-4858-b185-ff86be206069" providerId="ADAL" clId="{2CAEC1E3-2241-4370-8FDB-F4FAA904BB83}" dt="2020-06-17T14:04:33.659" v="3040" actId="1076"/>
          <ac:spMkLst>
            <pc:docMk/>
            <pc:sldMk cId="4094272692" sldId="2134804282"/>
            <ac:spMk id="71" creationId="{E9DE0F76-2326-4291-B0EE-DDA9C039E05F}"/>
          </ac:spMkLst>
        </pc:spChg>
        <pc:graphicFrameChg chg="modGraphic">
          <ac:chgData name="Andrea Mogollon Nossa (CENIT)" userId="f6a3e592-cc27-4858-b185-ff86be206069" providerId="ADAL" clId="{2CAEC1E3-2241-4370-8FDB-F4FAA904BB83}" dt="2020-06-16T16:39:27.821" v="1003" actId="20577"/>
          <ac:graphicFrameMkLst>
            <pc:docMk/>
            <pc:sldMk cId="4094272692" sldId="2134804282"/>
            <ac:graphicFrameMk id="6" creationId="{696E929C-842E-4A14-B3B2-9D0BBEE92173}"/>
          </ac:graphicFrameMkLst>
        </pc:graphicFrameChg>
        <pc:graphicFrameChg chg="modGraphic">
          <ac:chgData name="Andrea Mogollon Nossa (CENIT)" userId="f6a3e592-cc27-4858-b185-ff86be206069" providerId="ADAL" clId="{2CAEC1E3-2241-4370-8FDB-F4FAA904BB83}" dt="2020-06-17T14:06:06.150" v="3041" actId="14734"/>
          <ac:graphicFrameMkLst>
            <pc:docMk/>
            <pc:sldMk cId="4094272692" sldId="2134804282"/>
            <ac:graphicFrameMk id="8" creationId="{9EAC8BE2-E9F7-49C2-9B40-7EF667D4FE82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6:40:27.925" v="1009" actId="20577"/>
          <ac:graphicFrameMkLst>
            <pc:docMk/>
            <pc:sldMk cId="4094272692" sldId="2134804282"/>
            <ac:graphicFrameMk id="39" creationId="{5B59E694-0DBE-4A0B-901D-BEC487255BF4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6:44:25.745" v="1252" actId="20577"/>
          <ac:graphicFrameMkLst>
            <pc:docMk/>
            <pc:sldMk cId="4094272692" sldId="2134804282"/>
            <ac:graphicFrameMk id="42" creationId="{F76758D9-DF29-4C65-8046-FB9AE5C702A6}"/>
          </ac:graphicFrameMkLst>
        </pc:graphicFrameChg>
      </pc:sldChg>
      <pc:sldChg chg="modSp mod">
        <pc:chgData name="Andrea Mogollon Nossa (CENIT)" userId="f6a3e592-cc27-4858-b185-ff86be206069" providerId="ADAL" clId="{2CAEC1E3-2241-4370-8FDB-F4FAA904BB83}" dt="2020-06-17T20:41:19.503" v="5948" actId="122"/>
        <pc:sldMkLst>
          <pc:docMk/>
          <pc:sldMk cId="2275827461" sldId="2134804285"/>
        </pc:sldMkLst>
        <pc:spChg chg="mod">
          <ac:chgData name="Andrea Mogollon Nossa (CENIT)" userId="f6a3e592-cc27-4858-b185-ff86be206069" providerId="ADAL" clId="{2CAEC1E3-2241-4370-8FDB-F4FAA904BB83}" dt="2020-06-17T20:41:19.503" v="5948" actId="122"/>
          <ac:spMkLst>
            <pc:docMk/>
            <pc:sldMk cId="2275827461" sldId="2134804285"/>
            <ac:spMk id="55" creationId="{71D2E868-A54D-4479-B446-29F9C50FDEA5}"/>
          </ac:spMkLst>
        </pc:spChg>
      </pc:sldChg>
      <pc:sldChg chg="modSp mod">
        <pc:chgData name="Andrea Mogollon Nossa (CENIT)" userId="f6a3e592-cc27-4858-b185-ff86be206069" providerId="ADAL" clId="{2CAEC1E3-2241-4370-8FDB-F4FAA904BB83}" dt="2020-06-17T21:27:06.941" v="6487" actId="1076"/>
        <pc:sldMkLst>
          <pc:docMk/>
          <pc:sldMk cId="3055166102" sldId="2134804286"/>
        </pc:sldMkLst>
        <pc:spChg chg="mod">
          <ac:chgData name="Andrea Mogollon Nossa (CENIT)" userId="f6a3e592-cc27-4858-b185-ff86be206069" providerId="ADAL" clId="{2CAEC1E3-2241-4370-8FDB-F4FAA904BB83}" dt="2020-06-17T21:27:01.713" v="6485" actId="123"/>
          <ac:spMkLst>
            <pc:docMk/>
            <pc:sldMk cId="3055166102" sldId="2134804286"/>
            <ac:spMk id="21" creationId="{FCFE65B7-3A35-4722-84A8-FEC6DADDBA49}"/>
          </ac:spMkLst>
        </pc:spChg>
        <pc:spChg chg="mod">
          <ac:chgData name="Andrea Mogollon Nossa (CENIT)" userId="f6a3e592-cc27-4858-b185-ff86be206069" providerId="ADAL" clId="{2CAEC1E3-2241-4370-8FDB-F4FAA904BB83}" dt="2020-06-17T21:27:04.685" v="6486" actId="1076"/>
          <ac:spMkLst>
            <pc:docMk/>
            <pc:sldMk cId="3055166102" sldId="2134804286"/>
            <ac:spMk id="22" creationId="{7565957D-73CC-497F-A9EE-BA5F2A79250A}"/>
          </ac:spMkLst>
        </pc:spChg>
        <pc:spChg chg="mod">
          <ac:chgData name="Andrea Mogollon Nossa (CENIT)" userId="f6a3e592-cc27-4858-b185-ff86be206069" providerId="ADAL" clId="{2CAEC1E3-2241-4370-8FDB-F4FAA904BB83}" dt="2020-06-17T21:26:58.263" v="6483" actId="123"/>
          <ac:spMkLst>
            <pc:docMk/>
            <pc:sldMk cId="3055166102" sldId="2134804286"/>
            <ac:spMk id="23" creationId="{2090C287-4A91-45B9-8277-A5A2EF2B34A0}"/>
          </ac:spMkLst>
        </pc:spChg>
        <pc:spChg chg="mod">
          <ac:chgData name="Andrea Mogollon Nossa (CENIT)" userId="f6a3e592-cc27-4858-b185-ff86be206069" providerId="ADAL" clId="{2CAEC1E3-2241-4370-8FDB-F4FAA904BB83}" dt="2020-06-17T21:27:06.941" v="6487" actId="1076"/>
          <ac:spMkLst>
            <pc:docMk/>
            <pc:sldMk cId="3055166102" sldId="2134804286"/>
            <ac:spMk id="26" creationId="{DDE70F6C-1ADB-475F-BE97-D0A8A27E8FE6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7T21:26:08.518" v="6425" actId="20577"/>
        <pc:sldMkLst>
          <pc:docMk/>
          <pc:sldMk cId="3972105642" sldId="2134804288"/>
        </pc:sldMkLst>
        <pc:spChg chg="mod">
          <ac:chgData name="Andrea Mogollon Nossa (CENIT)" userId="f6a3e592-cc27-4858-b185-ff86be206069" providerId="ADAL" clId="{2CAEC1E3-2241-4370-8FDB-F4FAA904BB83}" dt="2020-06-16T23:16:52.478" v="2566" actId="1076"/>
          <ac:spMkLst>
            <pc:docMk/>
            <pc:sldMk cId="3972105642" sldId="2134804288"/>
            <ac:spMk id="3" creationId="{1524C45A-97FD-4A0C-A286-8B4FC211198E}"/>
          </ac:spMkLst>
        </pc:spChg>
        <pc:spChg chg="mod">
          <ac:chgData name="Andrea Mogollon Nossa (CENIT)" userId="f6a3e592-cc27-4858-b185-ff86be206069" providerId="ADAL" clId="{2CAEC1E3-2241-4370-8FDB-F4FAA904BB83}" dt="2020-06-17T21:26:08.518" v="6425" actId="20577"/>
          <ac:spMkLst>
            <pc:docMk/>
            <pc:sldMk cId="3972105642" sldId="2134804288"/>
            <ac:spMk id="4" creationId="{4E416E0B-B198-4FBD-9A5E-87C11F598EB2}"/>
          </ac:spMkLst>
        </pc:spChg>
        <pc:spChg chg="mod">
          <ac:chgData name="Andrea Mogollon Nossa (CENIT)" userId="f6a3e592-cc27-4858-b185-ff86be206069" providerId="ADAL" clId="{2CAEC1E3-2241-4370-8FDB-F4FAA904BB83}" dt="2020-06-16T23:00:36.286" v="2274" actId="14100"/>
          <ac:spMkLst>
            <pc:docMk/>
            <pc:sldMk cId="3972105642" sldId="2134804288"/>
            <ac:spMk id="5" creationId="{6E9A1754-20A7-4B35-82A8-CAADFE6AA79E}"/>
          </ac:spMkLst>
        </pc:spChg>
        <pc:spChg chg="del mod">
          <ac:chgData name="Andrea Mogollon Nossa (CENIT)" userId="f6a3e592-cc27-4858-b185-ff86be206069" providerId="ADAL" clId="{2CAEC1E3-2241-4370-8FDB-F4FAA904BB83}" dt="2020-06-16T23:03:58.804" v="2310" actId="478"/>
          <ac:spMkLst>
            <pc:docMk/>
            <pc:sldMk cId="3972105642" sldId="2134804288"/>
            <ac:spMk id="6" creationId="{36E1CC32-B124-41BD-9B60-B0A2BB29B3A3}"/>
          </ac:spMkLst>
        </pc:spChg>
        <pc:spChg chg="del mod">
          <ac:chgData name="Andrea Mogollon Nossa (CENIT)" userId="f6a3e592-cc27-4858-b185-ff86be206069" providerId="ADAL" clId="{2CAEC1E3-2241-4370-8FDB-F4FAA904BB83}" dt="2020-06-16T23:04:01.212" v="2311" actId="478"/>
          <ac:spMkLst>
            <pc:docMk/>
            <pc:sldMk cId="3972105642" sldId="2134804288"/>
            <ac:spMk id="7" creationId="{4796F9FF-6CFC-4E1F-90D6-8A91FC509433}"/>
          </ac:spMkLst>
        </pc:spChg>
        <pc:spChg chg="del mod">
          <ac:chgData name="Andrea Mogollon Nossa (CENIT)" userId="f6a3e592-cc27-4858-b185-ff86be206069" providerId="ADAL" clId="{2CAEC1E3-2241-4370-8FDB-F4FAA904BB83}" dt="2020-06-16T23:04:01.486" v="2312" actId="478"/>
          <ac:spMkLst>
            <pc:docMk/>
            <pc:sldMk cId="3972105642" sldId="2134804288"/>
            <ac:spMk id="8" creationId="{77BA9FDC-7761-4825-AE32-6FBFADCC2CE8}"/>
          </ac:spMkLst>
        </pc:spChg>
        <pc:spChg chg="del mod">
          <ac:chgData name="Andrea Mogollon Nossa (CENIT)" userId="f6a3e592-cc27-4858-b185-ff86be206069" providerId="ADAL" clId="{2CAEC1E3-2241-4370-8FDB-F4FAA904BB83}" dt="2020-06-16T23:04:02.298" v="2313" actId="478"/>
          <ac:spMkLst>
            <pc:docMk/>
            <pc:sldMk cId="3972105642" sldId="2134804288"/>
            <ac:spMk id="9" creationId="{8F4253BD-503A-4DF5-B588-0E1DDEF4B05C}"/>
          </ac:spMkLst>
        </pc:spChg>
        <pc:spChg chg="add mod">
          <ac:chgData name="Andrea Mogollon Nossa (CENIT)" userId="f6a3e592-cc27-4858-b185-ff86be206069" providerId="ADAL" clId="{2CAEC1E3-2241-4370-8FDB-F4FAA904BB83}" dt="2020-06-16T23:14:23.974" v="2520" actId="113"/>
          <ac:spMkLst>
            <pc:docMk/>
            <pc:sldMk cId="3972105642" sldId="2134804288"/>
            <ac:spMk id="10" creationId="{A192B800-F5BA-4DF6-AD24-3F9707FAC6B5}"/>
          </ac:spMkLst>
        </pc:spChg>
        <pc:spChg chg="del mod">
          <ac:chgData name="Andrea Mogollon Nossa (CENIT)" userId="f6a3e592-cc27-4858-b185-ff86be206069" providerId="ADAL" clId="{2CAEC1E3-2241-4370-8FDB-F4FAA904BB83}" dt="2020-06-16T23:04:03.552" v="2314" actId="478"/>
          <ac:spMkLst>
            <pc:docMk/>
            <pc:sldMk cId="3972105642" sldId="2134804288"/>
            <ac:spMk id="12" creationId="{942A6D2A-2C32-41F0-8999-85F328EEC4FC}"/>
          </ac:spMkLst>
        </pc:spChg>
        <pc:spChg chg="del">
          <ac:chgData name="Andrea Mogollon Nossa (CENIT)" userId="f6a3e592-cc27-4858-b185-ff86be206069" providerId="ADAL" clId="{2CAEC1E3-2241-4370-8FDB-F4FAA904BB83}" dt="2020-06-16T23:03:46.754" v="2305" actId="478"/>
          <ac:spMkLst>
            <pc:docMk/>
            <pc:sldMk cId="3972105642" sldId="2134804288"/>
            <ac:spMk id="13" creationId="{34D94376-F64F-4EC4-A2ED-32BE593E93F6}"/>
          </ac:spMkLst>
        </pc:spChg>
        <pc:spChg chg="del">
          <ac:chgData name="Andrea Mogollon Nossa (CENIT)" userId="f6a3e592-cc27-4858-b185-ff86be206069" providerId="ADAL" clId="{2CAEC1E3-2241-4370-8FDB-F4FAA904BB83}" dt="2020-06-16T23:03:49.534" v="2307" actId="478"/>
          <ac:spMkLst>
            <pc:docMk/>
            <pc:sldMk cId="3972105642" sldId="2134804288"/>
            <ac:spMk id="14" creationId="{4B440DE2-0BCC-4C08-B9A7-A5FC0AE54C67}"/>
          </ac:spMkLst>
        </pc:spChg>
        <pc:spChg chg="del">
          <ac:chgData name="Andrea Mogollon Nossa (CENIT)" userId="f6a3e592-cc27-4858-b185-ff86be206069" providerId="ADAL" clId="{2CAEC1E3-2241-4370-8FDB-F4FAA904BB83}" dt="2020-06-16T23:03:51.944" v="2309" actId="478"/>
          <ac:spMkLst>
            <pc:docMk/>
            <pc:sldMk cId="3972105642" sldId="2134804288"/>
            <ac:spMk id="16" creationId="{10660EED-74D3-43A0-B33D-A726B2D0CC0F}"/>
          </ac:spMkLst>
        </pc:spChg>
        <pc:spChg chg="del">
          <ac:chgData name="Andrea Mogollon Nossa (CENIT)" userId="f6a3e592-cc27-4858-b185-ff86be206069" providerId="ADAL" clId="{2CAEC1E3-2241-4370-8FDB-F4FAA904BB83}" dt="2020-06-16T23:03:47.602" v="2306" actId="478"/>
          <ac:spMkLst>
            <pc:docMk/>
            <pc:sldMk cId="3972105642" sldId="2134804288"/>
            <ac:spMk id="21" creationId="{8181986E-0514-4787-9C98-54C73075CD26}"/>
          </ac:spMkLst>
        </pc:spChg>
        <pc:spChg chg="del">
          <ac:chgData name="Andrea Mogollon Nossa (CENIT)" userId="f6a3e592-cc27-4858-b185-ff86be206069" providerId="ADAL" clId="{2CAEC1E3-2241-4370-8FDB-F4FAA904BB83}" dt="2020-06-16T23:03:51.308" v="2308" actId="478"/>
          <ac:spMkLst>
            <pc:docMk/>
            <pc:sldMk cId="3972105642" sldId="2134804288"/>
            <ac:spMk id="22" creationId="{9D8C9AC8-5BD8-4179-93CB-361E8AC503AE}"/>
          </ac:spMkLst>
        </pc:spChg>
        <pc:spChg chg="mod">
          <ac:chgData name="Andrea Mogollon Nossa (CENIT)" userId="f6a3e592-cc27-4858-b185-ff86be206069" providerId="ADAL" clId="{2CAEC1E3-2241-4370-8FDB-F4FAA904BB83}" dt="2020-06-16T22:59:59.215" v="2268" actId="1076"/>
          <ac:spMkLst>
            <pc:docMk/>
            <pc:sldMk cId="3972105642" sldId="2134804288"/>
            <ac:spMk id="24" creationId="{389B18D5-C39A-47EE-B3A9-7DEE4189E676}"/>
          </ac:spMkLst>
        </pc:spChg>
        <pc:spChg chg="mod">
          <ac:chgData name="Andrea Mogollon Nossa (CENIT)" userId="f6a3e592-cc27-4858-b185-ff86be206069" providerId="ADAL" clId="{2CAEC1E3-2241-4370-8FDB-F4FAA904BB83}" dt="2020-06-16T22:59:59.215" v="2268" actId="1076"/>
          <ac:spMkLst>
            <pc:docMk/>
            <pc:sldMk cId="3972105642" sldId="2134804288"/>
            <ac:spMk id="25" creationId="{52048D91-45AA-408F-9D1F-D2E9F2D37210}"/>
          </ac:spMkLst>
        </pc:spChg>
        <pc:spChg chg="del mod">
          <ac:chgData name="Andrea Mogollon Nossa (CENIT)" userId="f6a3e592-cc27-4858-b185-ff86be206069" providerId="ADAL" clId="{2CAEC1E3-2241-4370-8FDB-F4FAA904BB83}" dt="2020-06-16T23:03:45.117" v="2303" actId="478"/>
          <ac:spMkLst>
            <pc:docMk/>
            <pc:sldMk cId="3972105642" sldId="2134804288"/>
            <ac:spMk id="26" creationId="{BDEF7728-FC62-473C-967E-BFC849B89777}"/>
          </ac:spMkLst>
        </pc:spChg>
        <pc:spChg chg="mod">
          <ac:chgData name="Andrea Mogollon Nossa (CENIT)" userId="f6a3e592-cc27-4858-b185-ff86be206069" providerId="ADAL" clId="{2CAEC1E3-2241-4370-8FDB-F4FAA904BB83}" dt="2020-06-16T23:00:03.424" v="2269" actId="1076"/>
          <ac:spMkLst>
            <pc:docMk/>
            <pc:sldMk cId="3972105642" sldId="2134804288"/>
            <ac:spMk id="27" creationId="{626ADC92-4AB0-48C8-94D3-787A8F6B3965}"/>
          </ac:spMkLst>
        </pc:spChg>
        <pc:spChg chg="del mod">
          <ac:chgData name="Andrea Mogollon Nossa (CENIT)" userId="f6a3e592-cc27-4858-b185-ff86be206069" providerId="ADAL" clId="{2CAEC1E3-2241-4370-8FDB-F4FAA904BB83}" dt="2020-06-16T23:03:42.026" v="2301" actId="478"/>
          <ac:spMkLst>
            <pc:docMk/>
            <pc:sldMk cId="3972105642" sldId="2134804288"/>
            <ac:spMk id="30" creationId="{152FC885-7F3C-469B-8D07-51B372D4A99A}"/>
          </ac:spMkLst>
        </pc:spChg>
        <pc:spChg chg="del">
          <ac:chgData name="Andrea Mogollon Nossa (CENIT)" userId="f6a3e592-cc27-4858-b185-ff86be206069" providerId="ADAL" clId="{2CAEC1E3-2241-4370-8FDB-F4FAA904BB83}" dt="2020-06-16T23:03:45.858" v="2304" actId="478"/>
          <ac:spMkLst>
            <pc:docMk/>
            <pc:sldMk cId="3972105642" sldId="2134804288"/>
            <ac:spMk id="31" creationId="{4561B9E8-FD82-4164-AC7B-8EC56FB209DF}"/>
          </ac:spMkLst>
        </pc:spChg>
        <pc:spChg chg="del mod">
          <ac:chgData name="Andrea Mogollon Nossa (CENIT)" userId="f6a3e592-cc27-4858-b185-ff86be206069" providerId="ADAL" clId="{2CAEC1E3-2241-4370-8FDB-F4FAA904BB83}" dt="2020-06-16T23:05:46.455" v="2374" actId="478"/>
          <ac:spMkLst>
            <pc:docMk/>
            <pc:sldMk cId="3972105642" sldId="2134804288"/>
            <ac:spMk id="32" creationId="{2E03E595-6B8E-4EAD-8B72-53C1B453F5D0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33" creationId="{7789E6CD-12A8-49BE-BB62-0F2E7B9DA7BD}"/>
          </ac:spMkLst>
        </pc:spChg>
        <pc:spChg chg="add del mod">
          <ac:chgData name="Andrea Mogollon Nossa (CENIT)" userId="f6a3e592-cc27-4858-b185-ff86be206069" providerId="ADAL" clId="{2CAEC1E3-2241-4370-8FDB-F4FAA904BB83}" dt="2020-06-17T13:45:18.393" v="2969" actId="20577"/>
          <ac:spMkLst>
            <pc:docMk/>
            <pc:sldMk cId="3972105642" sldId="2134804288"/>
            <ac:spMk id="37" creationId="{3711A2D9-52BE-4CB1-B730-5A820326C85E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38" creationId="{DA34B12E-EB9B-46FF-91FB-EC5344118F0F}"/>
          </ac:spMkLst>
        </pc:spChg>
        <pc:spChg chg="del">
          <ac:chgData name="Andrea Mogollon Nossa (CENIT)" userId="f6a3e592-cc27-4858-b185-ff86be206069" providerId="ADAL" clId="{2CAEC1E3-2241-4370-8FDB-F4FAA904BB83}" dt="2020-06-16T23:01:16.161" v="2286" actId="478"/>
          <ac:spMkLst>
            <pc:docMk/>
            <pc:sldMk cId="3972105642" sldId="2134804288"/>
            <ac:spMk id="50" creationId="{E85ACB51-44A7-41E9-B936-2B072F1EF8B0}"/>
          </ac:spMkLst>
        </pc:spChg>
        <pc:spChg chg="del">
          <ac:chgData name="Andrea Mogollon Nossa (CENIT)" userId="f6a3e592-cc27-4858-b185-ff86be206069" providerId="ADAL" clId="{2CAEC1E3-2241-4370-8FDB-F4FAA904BB83}" dt="2020-06-16T23:04:39.735" v="2324" actId="478"/>
          <ac:spMkLst>
            <pc:docMk/>
            <pc:sldMk cId="3972105642" sldId="2134804288"/>
            <ac:spMk id="53" creationId="{264C4AF9-70B4-4918-82EC-234256610321}"/>
          </ac:spMkLst>
        </pc:spChg>
        <pc:spChg chg="del mod">
          <ac:chgData name="Andrea Mogollon Nossa (CENIT)" userId="f6a3e592-cc27-4858-b185-ff86be206069" providerId="ADAL" clId="{2CAEC1E3-2241-4370-8FDB-F4FAA904BB83}" dt="2020-06-16T23:04:38.535" v="2323" actId="478"/>
          <ac:spMkLst>
            <pc:docMk/>
            <pc:sldMk cId="3972105642" sldId="2134804288"/>
            <ac:spMk id="56" creationId="{AE881D4B-169B-4E47-B0A1-AEE50A186C6E}"/>
          </ac:spMkLst>
        </pc:spChg>
        <pc:spChg chg="del">
          <ac:chgData name="Andrea Mogollon Nossa (CENIT)" userId="f6a3e592-cc27-4858-b185-ff86be206069" providerId="ADAL" clId="{2CAEC1E3-2241-4370-8FDB-F4FAA904BB83}" dt="2020-06-16T23:04:35.794" v="2321" actId="478"/>
          <ac:spMkLst>
            <pc:docMk/>
            <pc:sldMk cId="3972105642" sldId="2134804288"/>
            <ac:spMk id="57" creationId="{83D25550-66EB-4BE6-8087-F110A09FCA2A}"/>
          </ac:spMkLst>
        </pc:spChg>
        <pc:spChg chg="del">
          <ac:chgData name="Andrea Mogollon Nossa (CENIT)" userId="f6a3e592-cc27-4858-b185-ff86be206069" providerId="ADAL" clId="{2CAEC1E3-2241-4370-8FDB-F4FAA904BB83}" dt="2020-06-16T23:04:46.150" v="2328" actId="478"/>
          <ac:spMkLst>
            <pc:docMk/>
            <pc:sldMk cId="3972105642" sldId="2134804288"/>
            <ac:spMk id="62" creationId="{560B3A00-37D0-4347-B18E-47C3D302FC45}"/>
          </ac:spMkLst>
        </pc:spChg>
        <pc:spChg chg="mod">
          <ac:chgData name="Andrea Mogollon Nossa (CENIT)" userId="f6a3e592-cc27-4858-b185-ff86be206069" providerId="ADAL" clId="{2CAEC1E3-2241-4370-8FDB-F4FAA904BB83}" dt="2020-06-17T13:40:38.372" v="2929" actId="1076"/>
          <ac:spMkLst>
            <pc:docMk/>
            <pc:sldMk cId="3972105642" sldId="2134804288"/>
            <ac:spMk id="62" creationId="{86B3BC84-3FA8-44F3-9E3E-59D0739B9318}"/>
          </ac:spMkLst>
        </pc:spChg>
        <pc:spChg chg="mod">
          <ac:chgData name="Andrea Mogollon Nossa (CENIT)" userId="f6a3e592-cc27-4858-b185-ff86be206069" providerId="ADAL" clId="{2CAEC1E3-2241-4370-8FDB-F4FAA904BB83}" dt="2020-06-17T13:47:36.321" v="3017" actId="14100"/>
          <ac:spMkLst>
            <pc:docMk/>
            <pc:sldMk cId="3972105642" sldId="2134804288"/>
            <ac:spMk id="63" creationId="{51677489-FC2B-4FD1-AEFD-56F1823C4DD5}"/>
          </ac:spMkLst>
        </pc:spChg>
        <pc:spChg chg="del">
          <ac:chgData name="Andrea Mogollon Nossa (CENIT)" userId="f6a3e592-cc27-4858-b185-ff86be206069" providerId="ADAL" clId="{2CAEC1E3-2241-4370-8FDB-F4FAA904BB83}" dt="2020-06-16T23:04:58.503" v="2338" actId="478"/>
          <ac:spMkLst>
            <pc:docMk/>
            <pc:sldMk cId="3972105642" sldId="2134804288"/>
            <ac:spMk id="63" creationId="{FB9675CF-27AB-4CDE-9855-95E82BCCE626}"/>
          </ac:spMkLst>
        </pc:spChg>
        <pc:spChg chg="mod">
          <ac:chgData name="Andrea Mogollon Nossa (CENIT)" userId="f6a3e592-cc27-4858-b185-ff86be206069" providerId="ADAL" clId="{2CAEC1E3-2241-4370-8FDB-F4FAA904BB83}" dt="2020-06-17T13:46:40.152" v="3005" actId="20577"/>
          <ac:spMkLst>
            <pc:docMk/>
            <pc:sldMk cId="3972105642" sldId="2134804288"/>
            <ac:spMk id="64" creationId="{0E1F4205-8CA9-4A1C-9852-5354A2D5BA6D}"/>
          </ac:spMkLst>
        </pc:spChg>
        <pc:spChg chg="del">
          <ac:chgData name="Andrea Mogollon Nossa (CENIT)" userId="f6a3e592-cc27-4858-b185-ff86be206069" providerId="ADAL" clId="{2CAEC1E3-2241-4370-8FDB-F4FAA904BB83}" dt="2020-06-16T23:04:45.382" v="2327" actId="478"/>
          <ac:spMkLst>
            <pc:docMk/>
            <pc:sldMk cId="3972105642" sldId="2134804288"/>
            <ac:spMk id="65" creationId="{9B16E40E-B2E4-4BEE-98B2-B1EDEF0AFF37}"/>
          </ac:spMkLst>
        </pc:spChg>
        <pc:spChg chg="mod">
          <ac:chgData name="Andrea Mogollon Nossa (CENIT)" userId="f6a3e592-cc27-4858-b185-ff86be206069" providerId="ADAL" clId="{2CAEC1E3-2241-4370-8FDB-F4FAA904BB83}" dt="2020-06-17T13:46:36.043" v="3003" actId="20577"/>
          <ac:spMkLst>
            <pc:docMk/>
            <pc:sldMk cId="3972105642" sldId="2134804288"/>
            <ac:spMk id="65" creationId="{C2A97AAE-273C-42A5-B6F0-B43634490DE4}"/>
          </ac:spMkLst>
        </pc:spChg>
        <pc:spChg chg="add del mod">
          <ac:chgData name="Andrea Mogollon Nossa (CENIT)" userId="f6a3e592-cc27-4858-b185-ff86be206069" providerId="ADAL" clId="{2CAEC1E3-2241-4370-8FDB-F4FAA904BB83}" dt="2020-06-16T23:04:54.368" v="2335" actId="478"/>
          <ac:spMkLst>
            <pc:docMk/>
            <pc:sldMk cId="3972105642" sldId="2134804288"/>
            <ac:spMk id="66" creationId="{1E9AC2CA-5D72-4664-97C6-1DBFE040A6FF}"/>
          </ac:spMkLst>
        </pc:spChg>
        <pc:spChg chg="mod">
          <ac:chgData name="Andrea Mogollon Nossa (CENIT)" userId="f6a3e592-cc27-4858-b185-ff86be206069" providerId="ADAL" clId="{2CAEC1E3-2241-4370-8FDB-F4FAA904BB83}" dt="2020-06-17T13:39:15.433" v="2921" actId="1076"/>
          <ac:spMkLst>
            <pc:docMk/>
            <pc:sldMk cId="3972105642" sldId="2134804288"/>
            <ac:spMk id="66" creationId="{4F30DB82-6F5F-4773-8ADC-002150EA4DCB}"/>
          </ac:spMkLst>
        </pc:spChg>
        <pc:spChg chg="mod">
          <ac:chgData name="Andrea Mogollon Nossa (CENIT)" userId="f6a3e592-cc27-4858-b185-ff86be206069" providerId="ADAL" clId="{2CAEC1E3-2241-4370-8FDB-F4FAA904BB83}" dt="2020-06-16T23:00:10.487" v="2270" actId="1076"/>
          <ac:spMkLst>
            <pc:docMk/>
            <pc:sldMk cId="3972105642" sldId="2134804288"/>
            <ac:spMk id="67" creationId="{0B609A71-0C9E-44AA-A60D-A49754DFA355}"/>
          </ac:spMkLst>
        </pc:spChg>
        <pc:spChg chg="mod">
          <ac:chgData name="Andrea Mogollon Nossa (CENIT)" userId="f6a3e592-cc27-4858-b185-ff86be206069" providerId="ADAL" clId="{2CAEC1E3-2241-4370-8FDB-F4FAA904BB83}" dt="2020-06-16T23:00:03.424" v="2269" actId="1076"/>
          <ac:spMkLst>
            <pc:docMk/>
            <pc:sldMk cId="3972105642" sldId="2134804288"/>
            <ac:spMk id="68" creationId="{A3F481BB-1FAB-4410-826E-0D16095DC8A2}"/>
          </ac:spMkLst>
        </pc:spChg>
        <pc:spChg chg="mod">
          <ac:chgData name="Andrea Mogollon Nossa (CENIT)" userId="f6a3e592-cc27-4858-b185-ff86be206069" providerId="ADAL" clId="{2CAEC1E3-2241-4370-8FDB-F4FAA904BB83}" dt="2020-06-16T23:00:10.487" v="2270" actId="1076"/>
          <ac:spMkLst>
            <pc:docMk/>
            <pc:sldMk cId="3972105642" sldId="2134804288"/>
            <ac:spMk id="69" creationId="{C3C823BF-995B-45B7-AFA2-0AAD6DB53BD5}"/>
          </ac:spMkLst>
        </pc:spChg>
        <pc:spChg chg="mod">
          <ac:chgData name="Andrea Mogollon Nossa (CENIT)" userId="f6a3e592-cc27-4858-b185-ff86be206069" providerId="ADAL" clId="{2CAEC1E3-2241-4370-8FDB-F4FAA904BB83}" dt="2020-06-17T13:39:08.891" v="2919" actId="1076"/>
          <ac:spMkLst>
            <pc:docMk/>
            <pc:sldMk cId="3972105642" sldId="2134804288"/>
            <ac:spMk id="70" creationId="{6F8256D5-7314-478B-BF21-066A63342058}"/>
          </ac:spMkLst>
        </pc:spChg>
        <pc:spChg chg="mod">
          <ac:chgData name="Andrea Mogollon Nossa (CENIT)" userId="f6a3e592-cc27-4858-b185-ff86be206069" providerId="ADAL" clId="{2CAEC1E3-2241-4370-8FDB-F4FAA904BB83}" dt="2020-06-17T13:39:02.818" v="2917" actId="1076"/>
          <ac:spMkLst>
            <pc:docMk/>
            <pc:sldMk cId="3972105642" sldId="2134804288"/>
            <ac:spMk id="71" creationId="{3E498C09-BA6B-48BD-8F13-09DCB59426E9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73" creationId="{1A612971-2525-4AC4-A4C4-6F63D62AD2F5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74" creationId="{4DF73A1C-4872-4CB8-BC5C-CBC329B31BD6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75" creationId="{017D53E6-DAE3-48ED-AFCC-D64B59BFC4B0}"/>
          </ac:spMkLst>
        </pc:spChg>
        <pc:spChg chg="mod">
          <ac:chgData name="Andrea Mogollon Nossa (CENIT)" userId="f6a3e592-cc27-4858-b185-ff86be206069" providerId="ADAL" clId="{2CAEC1E3-2241-4370-8FDB-F4FAA904BB83}" dt="2020-06-17T13:36:32.011" v="2898" actId="1076"/>
          <ac:spMkLst>
            <pc:docMk/>
            <pc:sldMk cId="3972105642" sldId="2134804288"/>
            <ac:spMk id="75" creationId="{E9820DB7-E155-4785-B36A-779BDD021F16}"/>
          </ac:spMkLst>
        </pc:spChg>
        <pc:spChg chg="del mod">
          <ac:chgData name="Andrea Mogollon Nossa (CENIT)" userId="f6a3e592-cc27-4858-b185-ff86be206069" providerId="ADAL" clId="{2CAEC1E3-2241-4370-8FDB-F4FAA904BB83}" dt="2020-06-16T23:02:54.825" v="2287" actId="478"/>
          <ac:spMkLst>
            <pc:docMk/>
            <pc:sldMk cId="3972105642" sldId="2134804288"/>
            <ac:spMk id="76" creationId="{4ABB0941-BF1C-4321-95A4-6A3CEAE276E8}"/>
          </ac:spMkLst>
        </pc:spChg>
        <pc:spChg chg="mod">
          <ac:chgData name="Andrea Mogollon Nossa (CENIT)" userId="f6a3e592-cc27-4858-b185-ff86be206069" providerId="ADAL" clId="{2CAEC1E3-2241-4370-8FDB-F4FAA904BB83}" dt="2020-06-17T13:38:43.425" v="2913" actId="1076"/>
          <ac:spMkLst>
            <pc:docMk/>
            <pc:sldMk cId="3972105642" sldId="2134804288"/>
            <ac:spMk id="76" creationId="{F7430276-8BE1-4D7D-9089-ED915CFF78A4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77" creationId="{65386130-7BA3-422A-B5C5-16298505DDBF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77" creationId="{91957BC7-266D-4E44-B8DF-BDB5BDAE97A3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78" creationId="{683416F6-4367-435F-A5F2-D587E1BA88D3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78" creationId="{B03BCF6B-DEDC-401D-BC0D-1E9BCD707CD8}"/>
          </ac:spMkLst>
        </pc:spChg>
        <pc:spChg chg="mod">
          <ac:chgData name="Andrea Mogollon Nossa (CENIT)" userId="f6a3e592-cc27-4858-b185-ff86be206069" providerId="ADAL" clId="{2CAEC1E3-2241-4370-8FDB-F4FAA904BB83}" dt="2020-06-16T23:08:29.936" v="2404" actId="1076"/>
          <ac:spMkLst>
            <pc:docMk/>
            <pc:sldMk cId="3972105642" sldId="2134804288"/>
            <ac:spMk id="79" creationId="{988D6AAB-14F4-4400-86C0-1F28FB0B97BE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0" creationId="{C82439E8-7F56-42D0-8AA6-AF836C3B5192}"/>
          </ac:spMkLst>
        </pc:spChg>
        <pc:spChg chg="del">
          <ac:chgData name="Andrea Mogollon Nossa (CENIT)" userId="f6a3e592-cc27-4858-b185-ff86be206069" providerId="ADAL" clId="{2CAEC1E3-2241-4370-8FDB-F4FAA904BB83}" dt="2020-06-16T23:03:43.979" v="2302" actId="478"/>
          <ac:spMkLst>
            <pc:docMk/>
            <pc:sldMk cId="3972105642" sldId="2134804288"/>
            <ac:spMk id="80" creationId="{EB1190E3-0EF8-4192-AAF4-C1FACD6D0F97}"/>
          </ac:spMkLst>
        </pc:spChg>
        <pc:spChg chg="mod">
          <ac:chgData name="Andrea Mogollon Nossa (CENIT)" userId="f6a3e592-cc27-4858-b185-ff86be206069" providerId="ADAL" clId="{2CAEC1E3-2241-4370-8FDB-F4FAA904BB83}" dt="2020-06-17T13:45:09.876" v="2967" actId="20577"/>
          <ac:spMkLst>
            <pc:docMk/>
            <pc:sldMk cId="3972105642" sldId="2134804288"/>
            <ac:spMk id="81" creationId="{55664DF5-A233-44A7-9101-538787CD3FB0}"/>
          </ac:spMkLst>
        </pc:spChg>
        <pc:spChg chg="del">
          <ac:chgData name="Andrea Mogollon Nossa (CENIT)" userId="f6a3e592-cc27-4858-b185-ff86be206069" providerId="ADAL" clId="{2CAEC1E3-2241-4370-8FDB-F4FAA904BB83}" dt="2020-06-16T23:04:43.023" v="2326" actId="478"/>
          <ac:spMkLst>
            <pc:docMk/>
            <pc:sldMk cId="3972105642" sldId="2134804288"/>
            <ac:spMk id="82" creationId="{7B0D236E-94A5-4828-80DF-7454CC50BAF3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2" creationId="{94A2CEE5-73FD-4EF6-AF7A-AE0CEC1BEC69}"/>
          </ac:spMkLst>
        </pc:spChg>
        <pc:spChg chg="del">
          <ac:chgData name="Andrea Mogollon Nossa (CENIT)" userId="f6a3e592-cc27-4858-b185-ff86be206069" providerId="ADAL" clId="{2CAEC1E3-2241-4370-8FDB-F4FAA904BB83}" dt="2020-06-16T23:05:22.167" v="2357" actId="478"/>
          <ac:spMkLst>
            <pc:docMk/>
            <pc:sldMk cId="3972105642" sldId="2134804288"/>
            <ac:spMk id="83" creationId="{6CFE662F-A878-48BE-9E6C-D75CD711788D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4" creationId="{81A3376C-4189-4D1A-BD63-AA027216F7C5}"/>
          </ac:spMkLst>
        </pc:spChg>
        <pc:spChg chg="del">
          <ac:chgData name="Andrea Mogollon Nossa (CENIT)" userId="f6a3e592-cc27-4858-b185-ff86be206069" providerId="ADAL" clId="{2CAEC1E3-2241-4370-8FDB-F4FAA904BB83}" dt="2020-06-16T23:05:17.853" v="2353" actId="478"/>
          <ac:spMkLst>
            <pc:docMk/>
            <pc:sldMk cId="3972105642" sldId="2134804288"/>
            <ac:spMk id="84" creationId="{8718CF92-8E1E-4C1A-8CF4-9999E5AC0405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5" creationId="{D3E89A44-BEBD-4DF4-96CB-2DE96FC9B704}"/>
          </ac:spMkLst>
        </pc:spChg>
        <pc:spChg chg="del">
          <ac:chgData name="Andrea Mogollon Nossa (CENIT)" userId="f6a3e592-cc27-4858-b185-ff86be206069" providerId="ADAL" clId="{2CAEC1E3-2241-4370-8FDB-F4FAA904BB83}" dt="2020-06-16T23:04:42.062" v="2325" actId="478"/>
          <ac:spMkLst>
            <pc:docMk/>
            <pc:sldMk cId="3972105642" sldId="2134804288"/>
            <ac:spMk id="85" creationId="{F67E0F04-5B76-4061-BA77-3FDBC59E3CA5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6" creationId="{98E1961C-4258-45D2-B731-6FEE987FF03B}"/>
          </ac:spMkLst>
        </pc:spChg>
        <pc:spChg chg="del">
          <ac:chgData name="Andrea Mogollon Nossa (CENIT)" userId="f6a3e592-cc27-4858-b185-ff86be206069" providerId="ADAL" clId="{2CAEC1E3-2241-4370-8FDB-F4FAA904BB83}" dt="2020-06-16T23:05:11.362" v="2349" actId="478"/>
          <ac:spMkLst>
            <pc:docMk/>
            <pc:sldMk cId="3972105642" sldId="2134804288"/>
            <ac:spMk id="86" creationId="{B7F71AA4-05AB-4C7A-B8E6-FCE01758D33D}"/>
          </ac:spMkLst>
        </pc:spChg>
        <pc:spChg chg="mod">
          <ac:chgData name="Andrea Mogollon Nossa (CENIT)" userId="f6a3e592-cc27-4858-b185-ff86be206069" providerId="ADAL" clId="{2CAEC1E3-2241-4370-8FDB-F4FAA904BB83}" dt="2020-06-17T13:45:24.395" v="2971" actId="20577"/>
          <ac:spMkLst>
            <pc:docMk/>
            <pc:sldMk cId="3972105642" sldId="2134804288"/>
            <ac:spMk id="87" creationId="{FE811B0C-88CE-4A45-95A3-61C236577A97}"/>
          </ac:spMkLst>
        </pc:spChg>
        <pc:spChg chg="del">
          <ac:chgData name="Andrea Mogollon Nossa (CENIT)" userId="f6a3e592-cc27-4858-b185-ff86be206069" providerId="ADAL" clId="{2CAEC1E3-2241-4370-8FDB-F4FAA904BB83}" dt="2020-06-16T23:05:27.741" v="2361" actId="478"/>
          <ac:spMkLst>
            <pc:docMk/>
            <pc:sldMk cId="3972105642" sldId="2134804288"/>
            <ac:spMk id="88" creationId="{2741A0BB-6A26-40F6-8674-8213280B9A6D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8" creationId="{3447B149-62E7-4F91-B357-EEF8F25B3D30}"/>
          </ac:spMkLst>
        </pc:spChg>
        <pc:spChg chg="del">
          <ac:chgData name="Andrea Mogollon Nossa (CENIT)" userId="f6a3e592-cc27-4858-b185-ff86be206069" providerId="ADAL" clId="{2CAEC1E3-2241-4370-8FDB-F4FAA904BB83}" dt="2020-06-16T23:05:01.964" v="2341" actId="478"/>
          <ac:spMkLst>
            <pc:docMk/>
            <pc:sldMk cId="3972105642" sldId="2134804288"/>
            <ac:spMk id="89" creationId="{2D6C91B8-0964-4440-A934-61A4A4A0577B}"/>
          </ac:spMkLst>
        </pc:spChg>
        <pc:spChg chg="del">
          <ac:chgData name="Andrea Mogollon Nossa (CENIT)" userId="f6a3e592-cc27-4858-b185-ff86be206069" providerId="ADAL" clId="{2CAEC1E3-2241-4370-8FDB-F4FAA904BB83}" dt="2020-06-16T23:05:09.895" v="2348" actId="478"/>
          <ac:spMkLst>
            <pc:docMk/>
            <pc:sldMk cId="3972105642" sldId="2134804288"/>
            <ac:spMk id="90" creationId="{1071DDB5-D2C3-4A28-92C6-2945861BBF27}"/>
          </ac:spMkLst>
        </pc:spChg>
        <pc:spChg chg="mod">
          <ac:chgData name="Andrea Mogollon Nossa (CENIT)" userId="f6a3e592-cc27-4858-b185-ff86be206069" providerId="ADAL" clId="{2CAEC1E3-2241-4370-8FDB-F4FAA904BB83}" dt="2020-06-17T13:46:09.723" v="2996" actId="20577"/>
          <ac:spMkLst>
            <pc:docMk/>
            <pc:sldMk cId="3972105642" sldId="2134804288"/>
            <ac:spMk id="90" creationId="{3DD1B703-CBC4-4032-B4CC-F26A8E1B3141}"/>
          </ac:spMkLst>
        </pc:spChg>
        <pc:spChg chg="del mod">
          <ac:chgData name="Andrea Mogollon Nossa (CENIT)" userId="f6a3e592-cc27-4858-b185-ff86be206069" providerId="ADAL" clId="{2CAEC1E3-2241-4370-8FDB-F4FAA904BB83}" dt="2020-06-16T23:05:00.858" v="2340" actId="478"/>
          <ac:spMkLst>
            <pc:docMk/>
            <pc:sldMk cId="3972105642" sldId="2134804288"/>
            <ac:spMk id="91" creationId="{8B2516A4-DE8A-4981-A2D5-8A7CC6E0EBEB}"/>
          </ac:spMkLst>
        </pc:spChg>
        <pc:spChg chg="mod">
          <ac:chgData name="Andrea Mogollon Nossa (CENIT)" userId="f6a3e592-cc27-4858-b185-ff86be206069" providerId="ADAL" clId="{2CAEC1E3-2241-4370-8FDB-F4FAA904BB83}" dt="2020-06-17T13:46:12.600" v="3000" actId="20577"/>
          <ac:spMkLst>
            <pc:docMk/>
            <pc:sldMk cId="3972105642" sldId="2134804288"/>
            <ac:spMk id="91" creationId="{C4519715-3ED2-473C-A37A-D053DFEEEB4C}"/>
          </ac:spMkLst>
        </pc:spChg>
        <pc:spChg chg="del mod">
          <ac:chgData name="Andrea Mogollon Nossa (CENIT)" userId="f6a3e592-cc27-4858-b185-ff86be206069" providerId="ADAL" clId="{2CAEC1E3-2241-4370-8FDB-F4FAA904BB83}" dt="2020-06-16T23:05:05.762" v="2344" actId="478"/>
          <ac:spMkLst>
            <pc:docMk/>
            <pc:sldMk cId="3972105642" sldId="2134804288"/>
            <ac:spMk id="92" creationId="{02C114A7-1876-44E9-93D5-261C609FFFD5}"/>
          </ac:spMkLst>
        </pc:spChg>
        <pc:spChg chg="mod">
          <ac:chgData name="Andrea Mogollon Nossa (CENIT)" userId="f6a3e592-cc27-4858-b185-ff86be206069" providerId="ADAL" clId="{2CAEC1E3-2241-4370-8FDB-F4FAA904BB83}" dt="2020-06-17T13:46:07.740" v="2994" actId="20577"/>
          <ac:spMkLst>
            <pc:docMk/>
            <pc:sldMk cId="3972105642" sldId="2134804288"/>
            <ac:spMk id="92" creationId="{AD681933-702A-43CF-A064-804C78715B48}"/>
          </ac:spMkLst>
        </pc:spChg>
        <pc:spChg chg="mod">
          <ac:chgData name="Andrea Mogollon Nossa (CENIT)" userId="f6a3e592-cc27-4858-b185-ff86be206069" providerId="ADAL" clId="{2CAEC1E3-2241-4370-8FDB-F4FAA904BB83}" dt="2020-06-17T13:46:05.556" v="2992" actId="20577"/>
          <ac:spMkLst>
            <pc:docMk/>
            <pc:sldMk cId="3972105642" sldId="2134804288"/>
            <ac:spMk id="93" creationId="{0B137BED-2166-4F59-9E9A-13FBEA77A192}"/>
          </ac:spMkLst>
        </pc:spChg>
        <pc:spChg chg="del mod">
          <ac:chgData name="Andrea Mogollon Nossa (CENIT)" userId="f6a3e592-cc27-4858-b185-ff86be206069" providerId="ADAL" clId="{2CAEC1E3-2241-4370-8FDB-F4FAA904BB83}" dt="2020-06-16T23:05:08.787" v="2347" actId="478"/>
          <ac:spMkLst>
            <pc:docMk/>
            <pc:sldMk cId="3972105642" sldId="2134804288"/>
            <ac:spMk id="93" creationId="{337E6039-6840-4E31-A847-172162B0F10B}"/>
          </ac:spMkLst>
        </pc:spChg>
        <pc:spChg chg="del">
          <ac:chgData name="Andrea Mogollon Nossa (CENIT)" userId="f6a3e592-cc27-4858-b185-ff86be206069" providerId="ADAL" clId="{2CAEC1E3-2241-4370-8FDB-F4FAA904BB83}" dt="2020-06-16T23:04:57.629" v="2337" actId="478"/>
          <ac:spMkLst>
            <pc:docMk/>
            <pc:sldMk cId="3972105642" sldId="2134804288"/>
            <ac:spMk id="94" creationId="{7F0E08A7-4797-4ECF-B0E8-4DCA185EFD09}"/>
          </ac:spMkLst>
        </pc:spChg>
        <pc:spChg chg="del">
          <ac:chgData name="Andrea Mogollon Nossa (CENIT)" userId="f6a3e592-cc27-4858-b185-ff86be206069" providerId="ADAL" clId="{2CAEC1E3-2241-4370-8FDB-F4FAA904BB83}" dt="2020-06-16T23:04:56.055" v="2336" actId="478"/>
          <ac:spMkLst>
            <pc:docMk/>
            <pc:sldMk cId="3972105642" sldId="2134804288"/>
            <ac:spMk id="95" creationId="{17AC4B32-D61A-4671-AF1E-B47094819F77}"/>
          </ac:spMkLst>
        </pc:spChg>
        <pc:spChg chg="mod">
          <ac:chgData name="Andrea Mogollon Nossa (CENIT)" userId="f6a3e592-cc27-4858-b185-ff86be206069" providerId="ADAL" clId="{2CAEC1E3-2241-4370-8FDB-F4FAA904BB83}" dt="2020-06-17T13:41:12.195" v="2931" actId="1076"/>
          <ac:spMkLst>
            <pc:docMk/>
            <pc:sldMk cId="3972105642" sldId="2134804288"/>
            <ac:spMk id="95" creationId="{4E4338E8-9272-4ADB-9AB6-B5891B7A87EF}"/>
          </ac:spMkLst>
        </pc:spChg>
        <pc:spChg chg="mod">
          <ac:chgData name="Andrea Mogollon Nossa (CENIT)" userId="f6a3e592-cc27-4858-b185-ff86be206069" providerId="ADAL" clId="{2CAEC1E3-2241-4370-8FDB-F4FAA904BB83}" dt="2020-06-17T13:47:11.992" v="3012" actId="14100"/>
          <ac:spMkLst>
            <pc:docMk/>
            <pc:sldMk cId="3972105642" sldId="2134804288"/>
            <ac:spMk id="96" creationId="{7300C06E-0474-4E1E-BDDF-A63C980856F7}"/>
          </ac:spMkLst>
        </pc:spChg>
        <pc:spChg chg="del mod">
          <ac:chgData name="Andrea Mogollon Nossa (CENIT)" userId="f6a3e592-cc27-4858-b185-ff86be206069" providerId="ADAL" clId="{2CAEC1E3-2241-4370-8FDB-F4FAA904BB83}" dt="2020-06-16T23:05:21.147" v="2356" actId="478"/>
          <ac:spMkLst>
            <pc:docMk/>
            <pc:sldMk cId="3972105642" sldId="2134804288"/>
            <ac:spMk id="96" creationId="{88EDB5EC-FEF4-4BDA-BE56-78337E348709}"/>
          </ac:spMkLst>
        </pc:spChg>
        <pc:spChg chg="del mod">
          <ac:chgData name="Andrea Mogollon Nossa (CENIT)" userId="f6a3e592-cc27-4858-b185-ff86be206069" providerId="ADAL" clId="{2CAEC1E3-2241-4370-8FDB-F4FAA904BB83}" dt="2020-06-16T23:05:25.959" v="2360" actId="478"/>
          <ac:spMkLst>
            <pc:docMk/>
            <pc:sldMk cId="3972105642" sldId="2134804288"/>
            <ac:spMk id="97" creationId="{1C2647E4-B565-4E74-BFE3-ACC3B7ACD1AE}"/>
          </ac:spMkLst>
        </pc:spChg>
        <pc:spChg chg="mod">
          <ac:chgData name="Andrea Mogollon Nossa (CENIT)" userId="f6a3e592-cc27-4858-b185-ff86be206069" providerId="ADAL" clId="{2CAEC1E3-2241-4370-8FDB-F4FAA904BB83}" dt="2020-06-17T13:44:51.681" v="2966" actId="1076"/>
          <ac:spMkLst>
            <pc:docMk/>
            <pc:sldMk cId="3972105642" sldId="2134804288"/>
            <ac:spMk id="98" creationId="{94071527-212F-4487-9C84-3C53C7117592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98" creationId="{D842B70B-3816-42C9-8C28-29B9B1CCF4E4}"/>
          </ac:spMkLst>
        </pc:spChg>
        <pc:spChg chg="del mod">
          <ac:chgData name="Andrea Mogollon Nossa (CENIT)" userId="f6a3e592-cc27-4858-b185-ff86be206069" providerId="ADAL" clId="{2CAEC1E3-2241-4370-8FDB-F4FAA904BB83}" dt="2020-06-16T23:00:53.138" v="2279" actId="478"/>
          <ac:spMkLst>
            <pc:docMk/>
            <pc:sldMk cId="3972105642" sldId="2134804288"/>
            <ac:spMk id="99" creationId="{46B11BDE-3938-4538-8689-C5B80752FFF3}"/>
          </ac:spMkLst>
        </pc:spChg>
        <pc:spChg chg="mod">
          <ac:chgData name="Andrea Mogollon Nossa (CENIT)" userId="f6a3e592-cc27-4858-b185-ff86be206069" providerId="ADAL" clId="{2CAEC1E3-2241-4370-8FDB-F4FAA904BB83}" dt="2020-06-16T23:17:28.222" v="2571" actId="14100"/>
          <ac:spMkLst>
            <pc:docMk/>
            <pc:sldMk cId="3972105642" sldId="2134804288"/>
            <ac:spMk id="100" creationId="{65BEA0CF-3025-4182-BB7C-7FCB9677B093}"/>
          </ac:spMkLst>
        </pc:spChg>
        <pc:spChg chg="mod">
          <ac:chgData name="Andrea Mogollon Nossa (CENIT)" userId="f6a3e592-cc27-4858-b185-ff86be206069" providerId="ADAL" clId="{2CAEC1E3-2241-4370-8FDB-F4FAA904BB83}" dt="2020-06-16T23:03:13.680" v="2294" actId="14100"/>
          <ac:spMkLst>
            <pc:docMk/>
            <pc:sldMk cId="3972105642" sldId="2134804288"/>
            <ac:spMk id="101" creationId="{69EAD6EC-44EF-4157-BA6D-9433BAF52D36}"/>
          </ac:spMkLst>
        </pc:spChg>
        <pc:spChg chg="del">
          <ac:chgData name="Andrea Mogollon Nossa (CENIT)" userId="f6a3e592-cc27-4858-b185-ff86be206069" providerId="ADAL" clId="{2CAEC1E3-2241-4370-8FDB-F4FAA904BB83}" dt="2020-06-17T00:39:41.885" v="2704" actId="478"/>
          <ac:spMkLst>
            <pc:docMk/>
            <pc:sldMk cId="3972105642" sldId="2134804288"/>
            <ac:spMk id="102" creationId="{3E36CC8F-1C55-428F-A2C0-52CE853F1BF0}"/>
          </ac:spMkLst>
        </pc:spChg>
        <pc:spChg chg="del mod">
          <ac:chgData name="Andrea Mogollon Nossa (CENIT)" userId="f6a3e592-cc27-4858-b185-ff86be206069" providerId="ADAL" clId="{2CAEC1E3-2241-4370-8FDB-F4FAA904BB83}" dt="2020-06-16T23:05:16.840" v="2352" actId="478"/>
          <ac:spMkLst>
            <pc:docMk/>
            <pc:sldMk cId="3972105642" sldId="2134804288"/>
            <ac:spMk id="102" creationId="{D31B8ACE-EBE6-4DD1-B97B-95CCC4881F6E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03" creationId="{EAB5FB81-51BD-4B45-B02E-4D00C22C82CB}"/>
          </ac:spMkLst>
        </pc:spChg>
        <pc:spChg chg="del mod">
          <ac:chgData name="Andrea Mogollon Nossa (CENIT)" userId="f6a3e592-cc27-4858-b185-ff86be206069" providerId="ADAL" clId="{2CAEC1E3-2241-4370-8FDB-F4FAA904BB83}" dt="2020-06-16T23:00:50.944" v="2278" actId="478"/>
          <ac:spMkLst>
            <pc:docMk/>
            <pc:sldMk cId="3972105642" sldId="2134804288"/>
            <ac:spMk id="104" creationId="{6DF2514C-63E0-475A-AF3E-E17CC97991F0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04" creationId="{C3400F72-3867-45F1-88BE-58E569B2E7C2}"/>
          </ac:spMkLst>
        </pc:spChg>
        <pc:spChg chg="del mod">
          <ac:chgData name="Andrea Mogollon Nossa (CENIT)" userId="f6a3e592-cc27-4858-b185-ff86be206069" providerId="ADAL" clId="{2CAEC1E3-2241-4370-8FDB-F4FAA904BB83}" dt="2020-06-16T23:09:30.454" v="2416" actId="21"/>
          <ac:spMkLst>
            <pc:docMk/>
            <pc:sldMk cId="3972105642" sldId="2134804288"/>
            <ac:spMk id="105" creationId="{07B5251E-4E3E-4252-A21F-A9D003BFEB05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05" creationId="{91FA3AEB-14E6-4F91-87E5-B04AF3A4062C}"/>
          </ac:spMkLst>
        </pc:spChg>
        <pc:spChg chg="mod">
          <ac:chgData name="Andrea Mogollon Nossa (CENIT)" userId="f6a3e592-cc27-4858-b185-ff86be206069" providerId="ADAL" clId="{2CAEC1E3-2241-4370-8FDB-F4FAA904BB83}" dt="2020-06-17T19:59:05.108" v="5513" actId="20577"/>
          <ac:spMkLst>
            <pc:docMk/>
            <pc:sldMk cId="3972105642" sldId="2134804288"/>
            <ac:spMk id="106" creationId="{35E26E95-A46B-4DFF-AAB8-2D6D1A35193D}"/>
          </ac:spMkLst>
        </pc:spChg>
        <pc:spChg chg="mod">
          <ac:chgData name="Andrea Mogollon Nossa (CENIT)" userId="f6a3e592-cc27-4858-b185-ff86be206069" providerId="ADAL" clId="{2CAEC1E3-2241-4370-8FDB-F4FAA904BB83}" dt="2020-06-17T13:46:03.053" v="2990" actId="20577"/>
          <ac:spMkLst>
            <pc:docMk/>
            <pc:sldMk cId="3972105642" sldId="2134804288"/>
            <ac:spMk id="107" creationId="{1264672C-2222-456B-B245-CF43DCF96BD8}"/>
          </ac:spMkLst>
        </pc:spChg>
        <pc:spChg chg="del mod">
          <ac:chgData name="Andrea Mogollon Nossa (CENIT)" userId="f6a3e592-cc27-4858-b185-ff86be206069" providerId="ADAL" clId="{2CAEC1E3-2241-4370-8FDB-F4FAA904BB83}" dt="2020-06-16T23:09:30.454" v="2416" actId="21"/>
          <ac:spMkLst>
            <pc:docMk/>
            <pc:sldMk cId="3972105642" sldId="2134804288"/>
            <ac:spMk id="107" creationId="{8C0BD9F6-1754-4031-A445-AB961596B670}"/>
          </ac:spMkLst>
        </pc:spChg>
        <pc:spChg chg="del">
          <ac:chgData name="Andrea Mogollon Nossa (CENIT)" userId="f6a3e592-cc27-4858-b185-ff86be206069" providerId="ADAL" clId="{2CAEC1E3-2241-4370-8FDB-F4FAA904BB83}" dt="2020-06-16T23:05:30.680" v="2363" actId="478"/>
          <ac:spMkLst>
            <pc:docMk/>
            <pc:sldMk cId="3972105642" sldId="2134804288"/>
            <ac:spMk id="108" creationId="{A8D90A47-B75D-43E1-9B4D-A6E7651C37FB}"/>
          </ac:spMkLst>
        </pc:spChg>
        <pc:spChg chg="del">
          <ac:chgData name="Andrea Mogollon Nossa (CENIT)" userId="f6a3e592-cc27-4858-b185-ff86be206069" providerId="ADAL" clId="{2CAEC1E3-2241-4370-8FDB-F4FAA904BB83}" dt="2020-06-16T23:05:29.559" v="2362" actId="478"/>
          <ac:spMkLst>
            <pc:docMk/>
            <pc:sldMk cId="3972105642" sldId="2134804288"/>
            <ac:spMk id="109" creationId="{DA8DE495-F1F4-45F3-9CF7-A72AEA39871A}"/>
          </ac:spMkLst>
        </pc:spChg>
        <pc:spChg chg="del">
          <ac:chgData name="Andrea Mogollon Nossa (CENIT)" userId="f6a3e592-cc27-4858-b185-ff86be206069" providerId="ADAL" clId="{2CAEC1E3-2241-4370-8FDB-F4FAA904BB83}" dt="2020-06-16T23:05:42.415" v="2373" actId="478"/>
          <ac:spMkLst>
            <pc:docMk/>
            <pc:sldMk cId="3972105642" sldId="2134804288"/>
            <ac:spMk id="110" creationId="{AC1FB416-14EE-43C0-AB16-19BE46E3409A}"/>
          </ac:spMkLst>
        </pc:spChg>
        <pc:spChg chg="del">
          <ac:chgData name="Andrea Mogollon Nossa (CENIT)" userId="f6a3e592-cc27-4858-b185-ff86be206069" providerId="ADAL" clId="{2CAEC1E3-2241-4370-8FDB-F4FAA904BB83}" dt="2020-06-16T23:05:41.076" v="2372" actId="478"/>
          <ac:spMkLst>
            <pc:docMk/>
            <pc:sldMk cId="3972105642" sldId="2134804288"/>
            <ac:spMk id="111" creationId="{41BC5629-7F3F-40D8-9D1A-0F11F1FB4B6F}"/>
          </ac:spMkLst>
        </pc:spChg>
        <pc:spChg chg="del mod">
          <ac:chgData name="Andrea Mogollon Nossa (CENIT)" userId="f6a3e592-cc27-4858-b185-ff86be206069" providerId="ADAL" clId="{2CAEC1E3-2241-4370-8FDB-F4FAA904BB83}" dt="2020-06-16T23:05:40.144" v="2371" actId="478"/>
          <ac:spMkLst>
            <pc:docMk/>
            <pc:sldMk cId="3972105642" sldId="2134804288"/>
            <ac:spMk id="112" creationId="{A5320992-B576-458A-A517-010DC736BDD7}"/>
          </ac:spMkLst>
        </pc:spChg>
        <pc:spChg chg="del">
          <ac:chgData name="Andrea Mogollon Nossa (CENIT)" userId="f6a3e592-cc27-4858-b185-ff86be206069" providerId="ADAL" clId="{2CAEC1E3-2241-4370-8FDB-F4FAA904BB83}" dt="2020-06-16T23:05:33.035" v="2365" actId="478"/>
          <ac:spMkLst>
            <pc:docMk/>
            <pc:sldMk cId="3972105642" sldId="2134804288"/>
            <ac:spMk id="113" creationId="{9026EEA7-D0F8-4D07-AA1D-B528FF785B2F}"/>
          </ac:spMkLst>
        </pc:spChg>
        <pc:spChg chg="add mod">
          <ac:chgData name="Andrea Mogollon Nossa (CENIT)" userId="f6a3e592-cc27-4858-b185-ff86be206069" providerId="ADAL" clId="{2CAEC1E3-2241-4370-8FDB-F4FAA904BB83}" dt="2020-06-16T23:03:20.894" v="2295" actId="1076"/>
          <ac:spMkLst>
            <pc:docMk/>
            <pc:sldMk cId="3972105642" sldId="2134804288"/>
            <ac:spMk id="114" creationId="{5FC9CB71-87BB-40AF-8B70-47E1CB40C223}"/>
          </ac:spMkLst>
        </pc:spChg>
        <pc:spChg chg="del mod">
          <ac:chgData name="Andrea Mogollon Nossa (CENIT)" userId="f6a3e592-cc27-4858-b185-ff86be206069" providerId="ADAL" clId="{2CAEC1E3-2241-4370-8FDB-F4FAA904BB83}" dt="2020-06-16T23:05:36.896" v="2368" actId="478"/>
          <ac:spMkLst>
            <pc:docMk/>
            <pc:sldMk cId="3972105642" sldId="2134804288"/>
            <ac:spMk id="115" creationId="{BDAFB097-6420-45BF-84A8-4B2A7AD8FCDD}"/>
          </ac:spMkLst>
        </pc:spChg>
        <pc:spChg chg="del">
          <ac:chgData name="Andrea Mogollon Nossa (CENIT)" userId="f6a3e592-cc27-4858-b185-ff86be206069" providerId="ADAL" clId="{2CAEC1E3-2241-4370-8FDB-F4FAA904BB83}" dt="2020-06-16T23:05:32.131" v="2364" actId="478"/>
          <ac:spMkLst>
            <pc:docMk/>
            <pc:sldMk cId="3972105642" sldId="2134804288"/>
            <ac:spMk id="116" creationId="{62C11895-E23B-46EE-AF0B-442BDD607D00}"/>
          </ac:spMkLst>
        </pc:spChg>
        <pc:spChg chg="mod">
          <ac:chgData name="Andrea Mogollon Nossa (CENIT)" userId="f6a3e592-cc27-4858-b185-ff86be206069" providerId="ADAL" clId="{2CAEC1E3-2241-4370-8FDB-F4FAA904BB83}" dt="2020-06-17T13:40:38.372" v="2929" actId="1076"/>
          <ac:spMkLst>
            <pc:docMk/>
            <pc:sldMk cId="3972105642" sldId="2134804288"/>
            <ac:spMk id="117" creationId="{25E04EC8-7C3C-4341-80A4-FFC93FAF501F}"/>
          </ac:spMkLst>
        </pc:spChg>
        <pc:spChg chg="del">
          <ac:chgData name="Andrea Mogollon Nossa (CENIT)" userId="f6a3e592-cc27-4858-b185-ff86be206069" providerId="ADAL" clId="{2CAEC1E3-2241-4370-8FDB-F4FAA904BB83}" dt="2020-06-16T22:58:25.234" v="2250" actId="478"/>
          <ac:spMkLst>
            <pc:docMk/>
            <pc:sldMk cId="3972105642" sldId="2134804288"/>
            <ac:spMk id="117" creationId="{EB4D9E0C-1983-4262-9307-F5F5BB6BDBAE}"/>
          </ac:spMkLst>
        </pc:spChg>
        <pc:spChg chg="add mod">
          <ac:chgData name="Andrea Mogollon Nossa (CENIT)" userId="f6a3e592-cc27-4858-b185-ff86be206069" providerId="ADAL" clId="{2CAEC1E3-2241-4370-8FDB-F4FAA904BB83}" dt="2020-06-16T23:03:24.374" v="2296" actId="1076"/>
          <ac:spMkLst>
            <pc:docMk/>
            <pc:sldMk cId="3972105642" sldId="2134804288"/>
            <ac:spMk id="118" creationId="{4595D805-A213-43C8-B637-A714BE5381A5}"/>
          </ac:spMkLst>
        </pc:spChg>
        <pc:spChg chg="mod">
          <ac:chgData name="Andrea Mogollon Nossa (CENIT)" userId="f6a3e592-cc27-4858-b185-ff86be206069" providerId="ADAL" clId="{2CAEC1E3-2241-4370-8FDB-F4FAA904BB83}" dt="2020-06-17T13:45:23.077" v="2970" actId="1076"/>
          <ac:spMkLst>
            <pc:docMk/>
            <pc:sldMk cId="3972105642" sldId="2134804288"/>
            <ac:spMk id="118" creationId="{4C802F63-4193-4D6B-AE48-0B8E22BDA942}"/>
          </ac:spMkLst>
        </pc:spChg>
        <pc:spChg chg="add mod">
          <ac:chgData name="Andrea Mogollon Nossa (CENIT)" userId="f6a3e592-cc27-4858-b185-ff86be206069" providerId="ADAL" clId="{2CAEC1E3-2241-4370-8FDB-F4FAA904BB83}" dt="2020-06-16T23:03:28.006" v="2297" actId="1076"/>
          <ac:spMkLst>
            <pc:docMk/>
            <pc:sldMk cId="3972105642" sldId="2134804288"/>
            <ac:spMk id="119" creationId="{7EC1E586-865D-4AE6-8E83-6DD1A461383A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19" creationId="{D4BD1269-A3B7-4A64-8069-05631EEB0009}"/>
          </ac:spMkLst>
        </pc:spChg>
        <pc:spChg chg="add mod">
          <ac:chgData name="Andrea Mogollon Nossa (CENIT)" userId="f6a3e592-cc27-4858-b185-ff86be206069" providerId="ADAL" clId="{2CAEC1E3-2241-4370-8FDB-F4FAA904BB83}" dt="2020-06-16T23:03:39.302" v="2300" actId="14100"/>
          <ac:spMkLst>
            <pc:docMk/>
            <pc:sldMk cId="3972105642" sldId="2134804288"/>
            <ac:spMk id="120" creationId="{8AC43903-3E05-4E77-83F5-D173AA753F73}"/>
          </ac:spMkLst>
        </pc:spChg>
        <pc:spChg chg="mod">
          <ac:chgData name="Andrea Mogollon Nossa (CENIT)" userId="f6a3e592-cc27-4858-b185-ff86be206069" providerId="ADAL" clId="{2CAEC1E3-2241-4370-8FDB-F4FAA904BB83}" dt="2020-06-17T13:38:50.740" v="2915" actId="1076"/>
          <ac:spMkLst>
            <pc:docMk/>
            <pc:sldMk cId="3972105642" sldId="2134804288"/>
            <ac:spMk id="120" creationId="{E54A52E2-5DFF-469A-BC81-5C61FE5F498F}"/>
          </ac:spMkLst>
        </pc:spChg>
        <pc:spChg chg="add 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21" creationId="{33D17D00-C5E0-4296-BB51-8B9CF48F67F8}"/>
          </ac:spMkLst>
        </pc:spChg>
        <pc:spChg chg="mod">
          <ac:chgData name="Andrea Mogollon Nossa (CENIT)" userId="f6a3e592-cc27-4858-b185-ff86be206069" providerId="ADAL" clId="{2CAEC1E3-2241-4370-8FDB-F4FAA904BB83}" dt="2020-06-16T23:11:06.238" v="2445" actId="1076"/>
          <ac:spMkLst>
            <pc:docMk/>
            <pc:sldMk cId="3972105642" sldId="2134804288"/>
            <ac:spMk id="122" creationId="{977AA09D-5209-43EC-82D8-E76ADC7BF2E0}"/>
          </ac:spMkLst>
        </pc:spChg>
        <pc:spChg chg="mod">
          <ac:chgData name="Andrea Mogollon Nossa (CENIT)" userId="f6a3e592-cc27-4858-b185-ff86be206069" providerId="ADAL" clId="{2CAEC1E3-2241-4370-8FDB-F4FAA904BB83}" dt="2020-06-17T13:39:22.737" v="2923" actId="1076"/>
          <ac:spMkLst>
            <pc:docMk/>
            <pc:sldMk cId="3972105642" sldId="2134804288"/>
            <ac:spMk id="122" creationId="{A39E0C61-1A00-44A1-A517-87EB913EE3CA}"/>
          </ac:spMkLst>
        </pc:spChg>
        <pc:spChg chg="mod">
          <ac:chgData name="Andrea Mogollon Nossa (CENIT)" userId="f6a3e592-cc27-4858-b185-ff86be206069" providerId="ADAL" clId="{2CAEC1E3-2241-4370-8FDB-F4FAA904BB83}" dt="2020-06-17T13:45:40.584" v="2976" actId="1076"/>
          <ac:spMkLst>
            <pc:docMk/>
            <pc:sldMk cId="3972105642" sldId="2134804288"/>
            <ac:spMk id="123" creationId="{3442115D-EC92-485A-8CD2-11FDFFAB652E}"/>
          </ac:spMkLst>
        </pc:spChg>
        <pc:spChg chg="mod">
          <ac:chgData name="Andrea Mogollon Nossa (CENIT)" userId="f6a3e592-cc27-4858-b185-ff86be206069" providerId="ADAL" clId="{2CAEC1E3-2241-4370-8FDB-F4FAA904BB83}" dt="2020-06-16T23:11:08.544" v="2446" actId="1076"/>
          <ac:spMkLst>
            <pc:docMk/>
            <pc:sldMk cId="3972105642" sldId="2134804288"/>
            <ac:spMk id="123" creationId="{B7B2CB6A-5941-466A-A7D0-8B81D284EE83}"/>
          </ac:spMkLst>
        </pc:spChg>
        <pc:spChg chg="mod">
          <ac:chgData name="Andrea Mogollon Nossa (CENIT)" userId="f6a3e592-cc27-4858-b185-ff86be206069" providerId="ADAL" clId="{2CAEC1E3-2241-4370-8FDB-F4FAA904BB83}" dt="2020-06-17T13:41:12.195" v="2931" actId="1076"/>
          <ac:spMkLst>
            <pc:docMk/>
            <pc:sldMk cId="3972105642" sldId="2134804288"/>
            <ac:spMk id="124" creationId="{0192B1BE-7E12-4FA2-8A13-BF1535F63413}"/>
          </ac:spMkLst>
        </pc:spChg>
        <pc:spChg chg="del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124" creationId="{56A00630-1505-4DF0-820C-AE3746126A3B}"/>
          </ac:spMkLst>
        </pc:spChg>
        <pc:spChg chg="del">
          <ac:chgData name="Andrea Mogollon Nossa (CENIT)" userId="f6a3e592-cc27-4858-b185-ff86be206069" providerId="ADAL" clId="{2CAEC1E3-2241-4370-8FDB-F4FAA904BB83}" dt="2020-06-17T13:47:48.240" v="3020" actId="478"/>
          <ac:spMkLst>
            <pc:docMk/>
            <pc:sldMk cId="3972105642" sldId="2134804288"/>
            <ac:spMk id="125" creationId="{9F7953BA-08B8-41AB-921C-EB108DB7A0DE}"/>
          </ac:spMkLst>
        </pc:spChg>
        <pc:spChg chg="del">
          <ac:chgData name="Andrea Mogollon Nossa (CENIT)" userId="f6a3e592-cc27-4858-b185-ff86be206069" providerId="ADAL" clId="{2CAEC1E3-2241-4370-8FDB-F4FAA904BB83}" dt="2020-06-17T13:47:51.816" v="3023" actId="478"/>
          <ac:spMkLst>
            <pc:docMk/>
            <pc:sldMk cId="3972105642" sldId="2134804288"/>
            <ac:spMk id="126" creationId="{7B96189B-1F4E-475F-9B8B-5D1F1C5B7438}"/>
          </ac:spMkLst>
        </pc:spChg>
        <pc:spChg chg="del">
          <ac:chgData name="Andrea Mogollon Nossa (CENIT)" userId="f6a3e592-cc27-4858-b185-ff86be206069" providerId="ADAL" clId="{2CAEC1E3-2241-4370-8FDB-F4FAA904BB83}" dt="2020-06-17T13:47:47.475" v="3019" actId="478"/>
          <ac:spMkLst>
            <pc:docMk/>
            <pc:sldMk cId="3972105642" sldId="2134804288"/>
            <ac:spMk id="127" creationId="{28FDC0C8-718F-4A25-B8A5-83A62B27FD1B}"/>
          </ac:spMkLst>
        </pc:spChg>
        <pc:spChg chg="del mod">
          <ac:chgData name="Andrea Mogollon Nossa (CENIT)" userId="f6a3e592-cc27-4858-b185-ff86be206069" providerId="ADAL" clId="{2CAEC1E3-2241-4370-8FDB-F4FAA904BB83}" dt="2020-06-17T13:47:49.814" v="3022" actId="478"/>
          <ac:spMkLst>
            <pc:docMk/>
            <pc:sldMk cId="3972105642" sldId="2134804288"/>
            <ac:spMk id="128" creationId="{1B81E860-9775-490E-8921-9504ABA7D771}"/>
          </ac:spMkLst>
        </pc:spChg>
        <pc:spChg chg="del">
          <ac:chgData name="Andrea Mogollon Nossa (CENIT)" userId="f6a3e592-cc27-4858-b185-ff86be206069" providerId="ADAL" clId="{2CAEC1E3-2241-4370-8FDB-F4FAA904BB83}" dt="2020-06-17T13:47:53.211" v="3024" actId="478"/>
          <ac:spMkLst>
            <pc:docMk/>
            <pc:sldMk cId="3972105642" sldId="2134804288"/>
            <ac:spMk id="129" creationId="{5547E264-0776-449F-9A3B-7B6A092FB298}"/>
          </ac:spMkLst>
        </pc:spChg>
        <pc:spChg chg="add mod">
          <ac:chgData name="Andrea Mogollon Nossa (CENIT)" userId="f6a3e592-cc27-4858-b185-ff86be206069" providerId="ADAL" clId="{2CAEC1E3-2241-4370-8FDB-F4FAA904BB83}" dt="2020-06-17T13:45:31.975" v="2973" actId="20577"/>
          <ac:spMkLst>
            <pc:docMk/>
            <pc:sldMk cId="3972105642" sldId="2134804288"/>
            <ac:spMk id="130" creationId="{87BE4D39-585A-439A-9AD3-A09D201B12FA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31" creationId="{8889283B-005D-488D-86F9-CDCDA28E5F7B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32" creationId="{2B4D8A13-DB92-41A8-AFD2-5B2874EF1BF3}"/>
          </ac:spMkLst>
        </pc:spChg>
        <pc:spChg chg="add mod">
          <ac:chgData name="Andrea Mogollon Nossa (CENIT)" userId="f6a3e592-cc27-4858-b185-ff86be206069" providerId="ADAL" clId="{2CAEC1E3-2241-4370-8FDB-F4FAA904BB83}" dt="2020-06-16T23:12:58.953" v="2499" actId="20577"/>
          <ac:spMkLst>
            <pc:docMk/>
            <pc:sldMk cId="3972105642" sldId="2134804288"/>
            <ac:spMk id="132" creationId="{6A90B078-206F-4E1D-89A1-298F78E33B76}"/>
          </ac:spMkLst>
        </pc:spChg>
        <pc:spChg chg="mod">
          <ac:chgData name="Andrea Mogollon Nossa (CENIT)" userId="f6a3e592-cc27-4858-b185-ff86be206069" providerId="ADAL" clId="{2CAEC1E3-2241-4370-8FDB-F4FAA904BB83}" dt="2020-06-17T13:45:35.430" v="2974" actId="1076"/>
          <ac:spMkLst>
            <pc:docMk/>
            <pc:sldMk cId="3972105642" sldId="2134804288"/>
            <ac:spMk id="133" creationId="{3D0435A1-4663-4846-971D-86057AF520BB}"/>
          </ac:spMkLst>
        </pc:spChg>
        <pc:spChg chg="add del mod">
          <ac:chgData name="Andrea Mogollon Nossa (CENIT)" userId="f6a3e592-cc27-4858-b185-ff86be206069" providerId="ADAL" clId="{2CAEC1E3-2241-4370-8FDB-F4FAA904BB83}" dt="2020-06-16T23:12:56.388" v="2497" actId="20577"/>
          <ac:spMkLst>
            <pc:docMk/>
            <pc:sldMk cId="3972105642" sldId="2134804288"/>
            <ac:spMk id="133" creationId="{DB96E95E-854F-43C5-96C3-F7AE75CE00DC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34" creationId="{2015B74C-B102-4125-897E-A341F263D14B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35" creationId="{965631E9-4740-4B58-A1AB-6ED9AA0B8ABC}"/>
          </ac:spMkLst>
        </pc:spChg>
        <pc:spChg chg="add 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36" creationId="{DC2DE3F9-ECAC-40AD-A20A-B32B38C58757}"/>
          </ac:spMkLst>
        </pc:spChg>
        <pc:spChg chg="add 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37" creationId="{BDEF36B3-92BD-43BC-AD5C-2DF950D99692}"/>
          </ac:spMkLst>
        </pc:spChg>
        <pc:spChg chg="add 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38" creationId="{0A50029C-6FF1-4E5B-8FE3-9A0E8C0D7425}"/>
          </ac:spMkLst>
        </pc:spChg>
        <pc:spChg chg="add del mod">
          <ac:chgData name="Andrea Mogollon Nossa (CENIT)" userId="f6a3e592-cc27-4858-b185-ff86be206069" providerId="ADAL" clId="{2CAEC1E3-2241-4370-8FDB-F4FAA904BB83}" dt="2020-06-16T23:11:23.070" v="2460" actId="478"/>
          <ac:spMkLst>
            <pc:docMk/>
            <pc:sldMk cId="3972105642" sldId="2134804288"/>
            <ac:spMk id="139" creationId="{2081A9DE-A3C9-46F7-8972-92EE6C09BA01}"/>
          </ac:spMkLst>
        </pc:spChg>
        <pc:spChg chg="mod">
          <ac:chgData name="Andrea Mogollon Nossa (CENIT)" userId="f6a3e592-cc27-4858-b185-ff86be206069" providerId="ADAL" clId="{2CAEC1E3-2241-4370-8FDB-F4FAA904BB83}" dt="2020-06-17T13:45:16.246" v="2968" actId="1076"/>
          <ac:spMkLst>
            <pc:docMk/>
            <pc:sldMk cId="3972105642" sldId="2134804288"/>
            <ac:spMk id="139" creationId="{DD70D3A2-5195-4278-89DE-C7B5909EBB84}"/>
          </ac:spMkLst>
        </pc:spChg>
        <pc:spChg chg="add 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40" creationId="{2192EC14-9AFE-49A4-ACE7-7007DE218105}"/>
          </ac:spMkLst>
        </pc:spChg>
        <pc:spChg chg="add mod">
          <ac:chgData name="Andrea Mogollon Nossa (CENIT)" userId="f6a3e592-cc27-4858-b185-ff86be206069" providerId="ADAL" clId="{2CAEC1E3-2241-4370-8FDB-F4FAA904BB83}" dt="2020-06-16T23:13:40.831" v="2512" actId="6549"/>
          <ac:spMkLst>
            <pc:docMk/>
            <pc:sldMk cId="3972105642" sldId="2134804288"/>
            <ac:spMk id="141" creationId="{69FF13A6-B914-4228-B818-FA84C77810D8}"/>
          </ac:spMkLst>
        </pc:spChg>
        <pc:spChg chg="mod">
          <ac:chgData name="Andrea Mogollon Nossa (CENIT)" userId="f6a3e592-cc27-4858-b185-ff86be206069" providerId="ADAL" clId="{2CAEC1E3-2241-4370-8FDB-F4FAA904BB83}" dt="2020-06-17T13:46:38.965" v="3004" actId="1076"/>
          <ac:spMkLst>
            <pc:docMk/>
            <pc:sldMk cId="3972105642" sldId="2134804288"/>
            <ac:spMk id="141" creationId="{A8D9BAF4-4638-4531-A212-B02CC3C2B3F8}"/>
          </ac:spMkLst>
        </pc:spChg>
        <pc:spChg chg="add mod">
          <ac:chgData name="Andrea Mogollon Nossa (CENIT)" userId="f6a3e592-cc27-4858-b185-ff86be206069" providerId="ADAL" clId="{2CAEC1E3-2241-4370-8FDB-F4FAA904BB83}" dt="2020-06-16T23:13:01.950" v="2501" actId="20577"/>
          <ac:spMkLst>
            <pc:docMk/>
            <pc:sldMk cId="3972105642" sldId="2134804288"/>
            <ac:spMk id="142" creationId="{09BA4622-4FF0-4AE7-A2BE-CA9EB89C56FC}"/>
          </ac:spMkLst>
        </pc:spChg>
        <pc:spChg chg="mod">
          <ac:chgData name="Andrea Mogollon Nossa (CENIT)" userId="f6a3e592-cc27-4858-b185-ff86be206069" providerId="ADAL" clId="{2CAEC1E3-2241-4370-8FDB-F4FAA904BB83}" dt="2020-06-17T13:45:29.252" v="2972" actId="1076"/>
          <ac:spMkLst>
            <pc:docMk/>
            <pc:sldMk cId="3972105642" sldId="2134804288"/>
            <ac:spMk id="142" creationId="{F6CFB0F8-5E6E-40EC-ACA9-CE69E63E9E53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3" creationId="{3B6CC448-71E4-48AD-AC27-24C2C48F7494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4" creationId="{459CE26A-2C70-483D-8505-6145B8B804E7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5" creationId="{73499BFD-F641-4498-BC47-3D42BE7BF515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6" creationId="{044A596C-01C5-4049-AD23-91F31E1CC4A1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7" creationId="{E4AEA615-7563-4C1B-A271-099D66D37367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8" creationId="{C466D27F-D52B-4D18-AB1A-B4A5A9F42324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9" creationId="{26DDE36A-BBEB-4220-A185-CCDB2EE3D917}"/>
          </ac:spMkLst>
        </pc:spChg>
        <pc:spChg chg="add mod">
          <ac:chgData name="Andrea Mogollon Nossa (CENIT)" userId="f6a3e592-cc27-4858-b185-ff86be206069" providerId="ADAL" clId="{2CAEC1E3-2241-4370-8FDB-F4FAA904BB83}" dt="2020-06-17T13:45:59.803" v="2988" actId="20577"/>
          <ac:spMkLst>
            <pc:docMk/>
            <pc:sldMk cId="3972105642" sldId="2134804288"/>
            <ac:spMk id="150" creationId="{1C6B11C4-1308-4BF3-BB98-C70CE2518459}"/>
          </ac:spMkLst>
        </pc:spChg>
        <pc:spChg chg="add mod">
          <ac:chgData name="Andrea Mogollon Nossa (CENIT)" userId="f6a3e592-cc27-4858-b185-ff86be206069" providerId="ADAL" clId="{2CAEC1E3-2241-4370-8FDB-F4FAA904BB83}" dt="2020-06-17T13:45:56.778" v="2984" actId="20577"/>
          <ac:spMkLst>
            <pc:docMk/>
            <pc:sldMk cId="3972105642" sldId="2134804288"/>
            <ac:spMk id="151" creationId="{E1D12F42-18F9-40F6-8EFF-433E9B9F0592}"/>
          </ac:spMkLst>
        </pc:spChg>
        <pc:spChg chg="add mod">
          <ac:chgData name="Andrea Mogollon Nossa (CENIT)" userId="f6a3e592-cc27-4858-b185-ff86be206069" providerId="ADAL" clId="{2CAEC1E3-2241-4370-8FDB-F4FAA904BB83}" dt="2020-06-17T13:45:53.848" v="2980" actId="20577"/>
          <ac:spMkLst>
            <pc:docMk/>
            <pc:sldMk cId="3972105642" sldId="2134804288"/>
            <ac:spMk id="152" creationId="{6249E4F1-2D8E-4097-9179-EBC1401827BA}"/>
          </ac:spMkLst>
        </pc:spChg>
        <pc:spChg chg="add mod">
          <ac:chgData name="Andrea Mogollon Nossa (CENIT)" userId="f6a3e592-cc27-4858-b185-ff86be206069" providerId="ADAL" clId="{2CAEC1E3-2241-4370-8FDB-F4FAA904BB83}" dt="2020-06-17T13:45:51.580" v="2978" actId="20577"/>
          <ac:spMkLst>
            <pc:docMk/>
            <pc:sldMk cId="3972105642" sldId="2134804288"/>
            <ac:spMk id="153" creationId="{EBCEC452-242A-41DC-B20E-8FCEB57C4FE5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54" creationId="{2D118A3A-F9B1-4373-81CB-37E150897A64}"/>
          </ac:spMkLst>
        </pc:spChg>
        <pc:spChg chg="mod">
          <ac:chgData name="Andrea Mogollon Nossa (CENIT)" userId="f6a3e592-cc27-4858-b185-ff86be206069" providerId="ADAL" clId="{2CAEC1E3-2241-4370-8FDB-F4FAA904BB83}" dt="2020-06-17T13:39:35.140" v="2926" actId="1076"/>
          <ac:spMkLst>
            <pc:docMk/>
            <pc:sldMk cId="3972105642" sldId="2134804288"/>
            <ac:spMk id="155" creationId="{E55B9259-4EF1-4902-86B4-55035FFA0223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56" creationId="{EBAD52F6-3A50-47C4-A8A6-F9957211FE0C}"/>
          </ac:spMkLst>
        </pc:spChg>
        <pc:spChg chg="mod">
          <ac:chgData name="Andrea Mogollon Nossa (CENIT)" userId="f6a3e592-cc27-4858-b185-ff86be206069" providerId="ADAL" clId="{2CAEC1E3-2241-4370-8FDB-F4FAA904BB83}" dt="2020-06-17T19:58:10.739" v="5494" actId="1076"/>
          <ac:spMkLst>
            <pc:docMk/>
            <pc:sldMk cId="3972105642" sldId="2134804288"/>
            <ac:spMk id="157" creationId="{99817ECC-A9CE-487D-A447-63834E8CDB42}"/>
          </ac:spMkLst>
        </pc:spChg>
        <pc:spChg chg="mod">
          <ac:chgData name="Andrea Mogollon Nossa (CENIT)" userId="f6a3e592-cc27-4858-b185-ff86be206069" providerId="ADAL" clId="{2CAEC1E3-2241-4370-8FDB-F4FAA904BB83}" dt="2020-06-17T13:47:19.400" v="3013" actId="1076"/>
          <ac:spMkLst>
            <pc:docMk/>
            <pc:sldMk cId="3972105642" sldId="2134804288"/>
            <ac:spMk id="158" creationId="{1419E290-EB81-48FD-9FE7-BB69C3A55F9B}"/>
          </ac:spMkLst>
        </pc:spChg>
        <pc:spChg chg="mod">
          <ac:chgData name="Andrea Mogollon Nossa (CENIT)" userId="f6a3e592-cc27-4858-b185-ff86be206069" providerId="ADAL" clId="{2CAEC1E3-2241-4370-8FDB-F4FAA904BB83}" dt="2020-06-17T13:39:56.897" v="2928" actId="1076"/>
          <ac:spMkLst>
            <pc:docMk/>
            <pc:sldMk cId="3972105642" sldId="2134804288"/>
            <ac:spMk id="159" creationId="{AC5431C5-08AE-45CB-89CC-44576AD161AE}"/>
          </ac:spMkLst>
        </pc:spChg>
        <pc:spChg chg="mod">
          <ac:chgData name="Andrea Mogollon Nossa (CENIT)" userId="f6a3e592-cc27-4858-b185-ff86be206069" providerId="ADAL" clId="{2CAEC1E3-2241-4370-8FDB-F4FAA904BB83}" dt="2020-06-17T13:47:42.747" v="3018" actId="1076"/>
          <ac:spMkLst>
            <pc:docMk/>
            <pc:sldMk cId="3972105642" sldId="2134804288"/>
            <ac:spMk id="160" creationId="{B4FEEF27-B06C-4BEC-AB6B-022835691884}"/>
          </ac:spMkLst>
        </pc:spChg>
        <pc:spChg chg="mod">
          <ac:chgData name="Andrea Mogollon Nossa (CENIT)" userId="f6a3e592-cc27-4858-b185-ff86be206069" providerId="ADAL" clId="{2CAEC1E3-2241-4370-8FDB-F4FAA904BB83}" dt="2020-06-17T13:47:42.747" v="3018" actId="1076"/>
          <ac:spMkLst>
            <pc:docMk/>
            <pc:sldMk cId="3972105642" sldId="2134804288"/>
            <ac:spMk id="161" creationId="{E1FB320D-93BB-4E5E-8B1F-01F3EE9BE992}"/>
          </ac:spMkLst>
        </pc:spChg>
        <pc:spChg chg="mod">
          <ac:chgData name="Andrea Mogollon Nossa (CENIT)" userId="f6a3e592-cc27-4858-b185-ff86be206069" providerId="ADAL" clId="{2CAEC1E3-2241-4370-8FDB-F4FAA904BB83}" dt="2020-06-17T13:46:48.098" v="3006" actId="1076"/>
          <ac:spMkLst>
            <pc:docMk/>
            <pc:sldMk cId="3972105642" sldId="2134804288"/>
            <ac:spMk id="162" creationId="{6911BCA5-CA63-42AB-899E-09B501CBAAF8}"/>
          </ac:spMkLst>
        </pc:spChg>
        <pc:spChg chg="mod">
          <ac:chgData name="Andrea Mogollon Nossa (CENIT)" userId="f6a3e592-cc27-4858-b185-ff86be206069" providerId="ADAL" clId="{2CAEC1E3-2241-4370-8FDB-F4FAA904BB83}" dt="2020-06-17T13:46:52.716" v="3007" actId="1076"/>
          <ac:spMkLst>
            <pc:docMk/>
            <pc:sldMk cId="3972105642" sldId="2134804288"/>
            <ac:spMk id="163" creationId="{AA59E27B-C332-4588-A79C-03B73DF9E177}"/>
          </ac:spMkLst>
        </pc:spChg>
        <pc:spChg chg="mod">
          <ac:chgData name="Andrea Mogollon Nossa (CENIT)" userId="f6a3e592-cc27-4858-b185-ff86be206069" providerId="ADAL" clId="{2CAEC1E3-2241-4370-8FDB-F4FAA904BB83}" dt="2020-06-17T13:39:30.714" v="2925" actId="1076"/>
          <ac:spMkLst>
            <pc:docMk/>
            <pc:sldMk cId="3972105642" sldId="2134804288"/>
            <ac:spMk id="164" creationId="{7EA67C76-C50B-4A11-852B-672BF8D888A6}"/>
          </ac:spMkLst>
        </pc:spChg>
        <pc:spChg chg="del mod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65" creationId="{88182965-6606-4519-A0D6-EB88DDF04091}"/>
          </ac:spMkLst>
        </pc:spChg>
        <pc:spChg chg="del mod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66" creationId="{2C3D5691-8414-442D-8811-64DB867F4E4D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67" creationId="{5B10B864-70B1-46D4-B7EF-EAEA82A4B41D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68" creationId="{B00504A4-CC7F-4C15-8B79-6311130D897F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69" creationId="{0AC0A371-B78E-44C5-915B-C4B31D1E1A79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0" creationId="{6A4985B7-CFDA-4919-B35C-1A906980524E}"/>
          </ac:spMkLst>
        </pc:spChg>
        <pc:spChg chg="mod">
          <ac:chgData name="Andrea Mogollon Nossa (CENIT)" userId="f6a3e592-cc27-4858-b185-ff86be206069" providerId="ADAL" clId="{2CAEC1E3-2241-4370-8FDB-F4FAA904BB83}" dt="2020-06-17T00:41:18.929" v="2733" actId="14100"/>
          <ac:spMkLst>
            <pc:docMk/>
            <pc:sldMk cId="3972105642" sldId="2134804288"/>
            <ac:spMk id="171" creationId="{CD36C93B-858F-4E33-A56F-518042C604AB}"/>
          </ac:spMkLst>
        </pc:spChg>
        <pc:spChg chg="mod">
          <ac:chgData name="Andrea Mogollon Nossa (CENIT)" userId="f6a3e592-cc27-4858-b185-ff86be206069" providerId="ADAL" clId="{2CAEC1E3-2241-4370-8FDB-F4FAA904BB83}" dt="2020-06-17T00:41:23.319" v="2734" actId="1076"/>
          <ac:spMkLst>
            <pc:docMk/>
            <pc:sldMk cId="3972105642" sldId="2134804288"/>
            <ac:spMk id="172" creationId="{9D21624C-09A0-4BAC-BC9A-9B80B9BCB9BB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3" creationId="{1EA2C09D-165C-43D8-B8B2-5E1CAC01F1D6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4" creationId="{296C90A4-4A0B-4006-A9EF-B1B5D356D784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5" creationId="{A43C161E-C8C6-4DE5-BC5F-3E9A61FA0B33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6" creationId="{11A08FE8-133D-4269-87AD-945C5966A2EE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7" creationId="{3E99A803-E8D3-4B93-8296-7A32E6509D07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8" creationId="{C71CC98A-1955-4E5D-9D69-80C29981E644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9" creationId="{10C5E4BF-FEF4-4A54-8C7B-28037E8A16E5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0" creationId="{A9DBE556-7649-436A-91D7-E63BFDC0E75A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1" creationId="{69B33750-142B-4903-AC71-3805F0C05B98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2" creationId="{F19D6EB7-9760-45AF-A1F8-0ECB6FAD2E55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3" creationId="{16F1FB1B-3EEC-4087-80C1-B6BAF2C74F2E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4" creationId="{47701719-41E3-4A14-A94C-EA163B3BCDBC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5" creationId="{52989975-7951-4288-B58B-44A911CE0CDF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6" creationId="{A5455FBE-F627-42CC-9FCC-BC62F42222F0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7" creationId="{C68CFFFA-3ED5-44D4-9DCE-2B34BF96A3EC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8" creationId="{44D9C693-3818-4AC6-86C6-8CAAF9E973ED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9" creationId="{27DA0FF6-3B07-40D2-B412-BF14D4779524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0" creationId="{CF7EB90D-96D2-4990-9DBA-759B87DC488F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1" creationId="{EA41803D-BBE1-43F9-852F-C997982BA1BF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2" creationId="{C668E719-2ACA-4B60-9F8B-CDEA7B4123ED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3" creationId="{166FA57D-7679-4CC1-9B3A-C4D7B34A355B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4" creationId="{DFAA6187-7C48-4900-A85B-4E597400D327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5" creationId="{15ACD528-2610-4243-8C90-4630CAE98857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6" creationId="{975436EC-58E0-48E2-A269-6C4D4BCF7B4A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97" creationId="{E1BFB25D-4251-4EE2-8536-86E897FBDA5A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98" creationId="{8AF8F09D-72B9-45DF-AF8D-5F2D9E6AA990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99" creationId="{6B967254-9BF9-41C9-B68B-4498BA1CEDA1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0" creationId="{4355305E-ECA3-4A92-B14E-9180DE961743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1" creationId="{3237594A-EB43-4AC6-B5BF-D9034E086644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2" creationId="{39988F86-AFA6-404C-8467-0253FC4643AB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3" creationId="{2BA9A1F3-874E-492D-835A-D1B89CEEA195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4" creationId="{A7811C59-1D22-4EB0-BADF-629F183ADA9D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5" creationId="{D13DFFB7-EBF7-4843-B70A-781A007C0641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6" creationId="{001BF6B4-F10C-498C-8197-8B18561C47D3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7" creationId="{4DC56ADD-AE94-4E23-B0F1-80CE3C771376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8" creationId="{5DD7D93F-235F-4389-BC6F-DB96258DBED2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9" creationId="{4EAF9B4D-91C8-4894-B543-3B1D33977581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10" creationId="{7A82F63B-8C0B-48BA-99B7-6BFBC4D6054C}"/>
          </ac:spMkLst>
        </pc:spChg>
        <pc:spChg chg="add mod ord">
          <ac:chgData name="Andrea Mogollon Nossa (CENIT)" userId="f6a3e592-cc27-4858-b185-ff86be206069" providerId="ADAL" clId="{2CAEC1E3-2241-4370-8FDB-F4FAA904BB83}" dt="2020-06-17T19:59:14.179" v="5514" actId="167"/>
          <ac:spMkLst>
            <pc:docMk/>
            <pc:sldMk cId="3972105642" sldId="2134804288"/>
            <ac:spMk id="211" creationId="{BEBD2354-D13C-46A2-BAB0-256286065BEE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2" creationId="{EE2D7611-C813-4612-8077-80CDA560D000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3" creationId="{CA66B9D5-BBCC-4B05-8D95-45191426A332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4" creationId="{547EDF1A-1A87-43A9-8B7A-46A7D57B5845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5" creationId="{26849765-7002-45D4-97E0-428EB8DF0D09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6" creationId="{612B05B7-837D-42F4-BAA5-81EEFF6B153C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7" creationId="{0E7B22B2-8E4F-4FB9-B0AB-24F35D9C9284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8" creationId="{7BCAA4F1-6692-4DFB-AB2C-9B65CBB0BA02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9" creationId="{912CDA63-D8C4-4724-B524-554DB175D260}"/>
          </ac:spMkLst>
        </pc:spChg>
        <pc:spChg chg="add mod">
          <ac:chgData name="Andrea Mogollon Nossa (CENIT)" userId="f6a3e592-cc27-4858-b185-ff86be206069" providerId="ADAL" clId="{2CAEC1E3-2241-4370-8FDB-F4FAA904BB83}" dt="2020-06-17T20:04:10.396" v="5574" actId="20577"/>
          <ac:spMkLst>
            <pc:docMk/>
            <pc:sldMk cId="3972105642" sldId="2134804288"/>
            <ac:spMk id="220" creationId="{EF8EBCF9-3990-4E86-84D8-419EFE32D0B8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1" creationId="{316F0B14-06E6-4774-802E-8D63BA74A3DB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2" creationId="{00B54047-F19E-4BD8-BCF2-DB1E1CFC7E18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3" creationId="{7D571531-9AF9-4E12-8652-2595EE68B5C9}"/>
          </ac:spMkLst>
        </pc:spChg>
        <pc:spChg chg="add mod">
          <ac:chgData name="Andrea Mogollon Nossa (CENIT)" userId="f6a3e592-cc27-4858-b185-ff86be206069" providerId="ADAL" clId="{2CAEC1E3-2241-4370-8FDB-F4FAA904BB83}" dt="2020-06-17T20:04:20.420" v="5575" actId="1076"/>
          <ac:spMkLst>
            <pc:docMk/>
            <pc:sldMk cId="3972105642" sldId="2134804288"/>
            <ac:spMk id="224" creationId="{2A18CA60-A987-4C86-854F-211030F4F652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5" creationId="{4CE74844-580B-453B-9307-482A6E4EB536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6" creationId="{77140922-8076-4076-898D-EE5FF98BA7A7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7" creationId="{9B2DD729-475C-4FC2-ADA2-80CED8866979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8" creationId="{47CA3843-4A1A-421D-ADA1-CC79DC873C03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9" creationId="{F0361A92-7966-4D3E-B786-22FB64CAD639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30" creationId="{186DCAC2-DCCF-4D63-8E3E-2BA5B48E4A46}"/>
          </ac:spMkLst>
        </pc:spChg>
        <pc:cxnChg chg="mod">
          <ac:chgData name="Andrea Mogollon Nossa (CENIT)" userId="f6a3e592-cc27-4858-b185-ff86be206069" providerId="ADAL" clId="{2CAEC1E3-2241-4370-8FDB-F4FAA904BB83}" dt="2020-06-17T13:44:47.546" v="2965" actId="1036"/>
          <ac:cxnSpMkLst>
            <pc:docMk/>
            <pc:sldMk cId="3972105642" sldId="2134804288"/>
            <ac:cxnSpMk id="97" creationId="{E32FBCED-3C2F-4F33-86D3-F05FA8DADE11}"/>
          </ac:cxnSpMkLst>
        </pc:cxnChg>
        <pc:cxnChg chg="del">
          <ac:chgData name="Andrea Mogollon Nossa (CENIT)" userId="f6a3e592-cc27-4858-b185-ff86be206069" providerId="ADAL" clId="{2CAEC1E3-2241-4370-8FDB-F4FAA904BB83}" dt="2020-06-17T00:39:42.815" v="2705" actId="478"/>
          <ac:cxnSpMkLst>
            <pc:docMk/>
            <pc:sldMk cId="3972105642" sldId="2134804288"/>
            <ac:cxnSpMk id="99" creationId="{73113A7D-6D7E-4E41-9EB9-BC99F9681A4E}"/>
          </ac:cxnSpMkLst>
        </pc:cxnChg>
      </pc:sldChg>
      <pc:sldChg chg="modSp mod">
        <pc:chgData name="Andrea Mogollon Nossa (CENIT)" userId="f6a3e592-cc27-4858-b185-ff86be206069" providerId="ADAL" clId="{2CAEC1E3-2241-4370-8FDB-F4FAA904BB83}" dt="2020-06-17T20:35:22.310" v="5930" actId="113"/>
        <pc:sldMkLst>
          <pc:docMk/>
          <pc:sldMk cId="2228275924" sldId="2134804290"/>
        </pc:sldMkLst>
        <pc:spChg chg="mod">
          <ac:chgData name="Andrea Mogollon Nossa (CENIT)" userId="f6a3e592-cc27-4858-b185-ff86be206069" providerId="ADAL" clId="{2CAEC1E3-2241-4370-8FDB-F4FAA904BB83}" dt="2020-06-17T20:35:08.891" v="5925" actId="1076"/>
          <ac:spMkLst>
            <pc:docMk/>
            <pc:sldMk cId="2228275924" sldId="2134804290"/>
            <ac:spMk id="3" creationId="{F33C3FEB-3B94-495F-B36C-9690559AB5DC}"/>
          </ac:spMkLst>
        </pc:spChg>
        <pc:spChg chg="mod">
          <ac:chgData name="Andrea Mogollon Nossa (CENIT)" userId="f6a3e592-cc27-4858-b185-ff86be206069" providerId="ADAL" clId="{2CAEC1E3-2241-4370-8FDB-F4FAA904BB83}" dt="2020-06-17T20:32:20.094" v="5763" actId="113"/>
          <ac:spMkLst>
            <pc:docMk/>
            <pc:sldMk cId="2228275924" sldId="2134804290"/>
            <ac:spMk id="12" creationId="{3A307530-BCDC-4973-B304-B8FEE0F522F4}"/>
          </ac:spMkLst>
        </pc:spChg>
        <pc:spChg chg="mod">
          <ac:chgData name="Andrea Mogollon Nossa (CENIT)" userId="f6a3e592-cc27-4858-b185-ff86be206069" providerId="ADAL" clId="{2CAEC1E3-2241-4370-8FDB-F4FAA904BB83}" dt="2020-06-17T20:35:22.310" v="5930" actId="113"/>
          <ac:spMkLst>
            <pc:docMk/>
            <pc:sldMk cId="2228275924" sldId="2134804290"/>
            <ac:spMk id="13" creationId="{12A8301C-0526-4E85-96D1-DE6DBBE140FE}"/>
          </ac:spMkLst>
        </pc:spChg>
        <pc:spChg chg="mod">
          <ac:chgData name="Andrea Mogollon Nossa (CENIT)" userId="f6a3e592-cc27-4858-b185-ff86be206069" providerId="ADAL" clId="{2CAEC1E3-2241-4370-8FDB-F4FAA904BB83}" dt="2020-06-17T20:34:24.742" v="5854" actId="113"/>
          <ac:spMkLst>
            <pc:docMk/>
            <pc:sldMk cId="2228275924" sldId="2134804290"/>
            <ac:spMk id="14" creationId="{6E2F6659-F5D4-46C0-9A44-1569330522A6}"/>
          </ac:spMkLst>
        </pc:spChg>
        <pc:spChg chg="mod">
          <ac:chgData name="Andrea Mogollon Nossa (CENIT)" userId="f6a3e592-cc27-4858-b185-ff86be206069" providerId="ADAL" clId="{2CAEC1E3-2241-4370-8FDB-F4FAA904BB83}" dt="2020-06-17T20:31:39.153" v="5758" actId="113"/>
          <ac:spMkLst>
            <pc:docMk/>
            <pc:sldMk cId="2228275924" sldId="2134804290"/>
            <ac:spMk id="25" creationId="{A320D459-088F-4447-82D6-C9EBF8EFD0B3}"/>
          </ac:spMkLst>
        </pc:spChg>
        <pc:spChg chg="mod">
          <ac:chgData name="Andrea Mogollon Nossa (CENIT)" userId="f6a3e592-cc27-4858-b185-ff86be206069" providerId="ADAL" clId="{2CAEC1E3-2241-4370-8FDB-F4FAA904BB83}" dt="2020-06-17T20:33:40.038" v="5843" actId="113"/>
          <ac:spMkLst>
            <pc:docMk/>
            <pc:sldMk cId="2228275924" sldId="2134804290"/>
            <ac:spMk id="27" creationId="{3D4ADDFC-E0A3-4264-BC05-5B575E8BB5F2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8T02:32:15.077" v="6569" actId="167"/>
        <pc:sldMkLst>
          <pc:docMk/>
          <pc:sldMk cId="838099151" sldId="2134804292"/>
        </pc:sldMkLst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3" creationId="{815B10B7-60B3-4C63-8431-70CC556387C9}"/>
          </ac:spMkLst>
        </pc:spChg>
        <pc:spChg chg="add mod ord">
          <ac:chgData name="Andrea Mogollon Nossa (CENIT)" userId="f6a3e592-cc27-4858-b185-ff86be206069" providerId="ADAL" clId="{2CAEC1E3-2241-4370-8FDB-F4FAA904BB83}" dt="2020-06-17T20:14:48.887" v="5598" actId="167"/>
          <ac:spMkLst>
            <pc:docMk/>
            <pc:sldMk cId="838099151" sldId="2134804292"/>
            <ac:spMk id="6" creationId="{0BDC2BE6-ED2C-45B9-B477-BD471E3E4C02}"/>
          </ac:spMkLst>
        </pc:spChg>
        <pc:spChg chg="add del mod">
          <ac:chgData name="Andrea Mogollon Nossa (CENIT)" userId="f6a3e592-cc27-4858-b185-ff86be206069" providerId="ADAL" clId="{2CAEC1E3-2241-4370-8FDB-F4FAA904BB83}" dt="2020-06-16T15:52:45.864" v="173"/>
          <ac:spMkLst>
            <pc:docMk/>
            <pc:sldMk cId="838099151" sldId="2134804292"/>
            <ac:spMk id="6" creationId="{190C367A-B3C5-457B-B27B-A3FA03E931F9}"/>
          </ac:spMkLst>
        </pc:spChg>
        <pc:spChg chg="mod">
          <ac:chgData name="Andrea Mogollon Nossa (CENIT)" userId="f6a3e592-cc27-4858-b185-ff86be206069" providerId="ADAL" clId="{2CAEC1E3-2241-4370-8FDB-F4FAA904BB83}" dt="2020-06-17T20:36:05.295" v="5932" actId="20577"/>
          <ac:spMkLst>
            <pc:docMk/>
            <pc:sldMk cId="838099151" sldId="2134804292"/>
            <ac:spMk id="7" creationId="{52FE2391-690B-4D13-B0BE-AD54BD4AFEAA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8" creationId="{DD71BF06-B04C-46D4-9585-65ACB77D82D1}"/>
          </ac:spMkLst>
        </pc:spChg>
        <pc:spChg chg="add mod">
          <ac:chgData name="Andrea Mogollon Nossa (CENIT)" userId="f6a3e592-cc27-4858-b185-ff86be206069" providerId="ADAL" clId="{2CAEC1E3-2241-4370-8FDB-F4FAA904BB83}" dt="2020-06-17T20:21:56.412" v="5687" actId="20577"/>
          <ac:spMkLst>
            <pc:docMk/>
            <pc:sldMk cId="838099151" sldId="2134804292"/>
            <ac:spMk id="9" creationId="{6F922DD3-801F-4B3D-9B4D-DBEC1EC37D57}"/>
          </ac:spMkLst>
        </pc:spChg>
        <pc:spChg chg="add del mod">
          <ac:chgData name="Andrea Mogollon Nossa (CENIT)" userId="f6a3e592-cc27-4858-b185-ff86be206069" providerId="ADAL" clId="{2CAEC1E3-2241-4370-8FDB-F4FAA904BB83}" dt="2020-06-17T14:54:56.902" v="4395" actId="478"/>
          <ac:spMkLst>
            <pc:docMk/>
            <pc:sldMk cId="838099151" sldId="2134804292"/>
            <ac:spMk id="10" creationId="{4A982F53-1FC7-4922-8170-CE132C164698}"/>
          </ac:spMkLst>
        </pc:spChg>
        <pc:spChg chg="add del mod">
          <ac:chgData name="Andrea Mogollon Nossa (CENIT)" userId="f6a3e592-cc27-4858-b185-ff86be206069" providerId="ADAL" clId="{2CAEC1E3-2241-4370-8FDB-F4FAA904BB83}" dt="2020-06-16T22:21:01.728" v="2016" actId="478"/>
          <ac:spMkLst>
            <pc:docMk/>
            <pc:sldMk cId="838099151" sldId="2134804292"/>
            <ac:spMk id="11" creationId="{A8F4B94B-DB91-4996-8CAB-C58EE5F844FE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3" creationId="{D1CF4700-4906-4F29-B146-BA40E72EA40A}"/>
          </ac:spMkLst>
        </pc:spChg>
        <pc:spChg chg="add mod">
          <ac:chgData name="Andrea Mogollon Nossa (CENIT)" userId="f6a3e592-cc27-4858-b185-ff86be206069" providerId="ADAL" clId="{2CAEC1E3-2241-4370-8FDB-F4FAA904BB83}" dt="2020-06-17T20:36:39.697" v="5934" actId="20578"/>
          <ac:spMkLst>
            <pc:docMk/>
            <pc:sldMk cId="838099151" sldId="2134804292"/>
            <ac:spMk id="14" creationId="{8AB679CB-F4D7-4A91-8B7C-AF57F212E854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40" creationId="{D1132571-22C6-4A24-931F-862227F6062D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41" creationId="{CCB4BB0D-CEFB-4C0D-841C-32888E931D7E}"/>
          </ac:spMkLst>
        </pc:spChg>
        <pc:spChg chg="mod">
          <ac:chgData name="Andrea Mogollon Nossa (CENIT)" userId="f6a3e592-cc27-4858-b185-ff86be206069" providerId="ADAL" clId="{2CAEC1E3-2241-4370-8FDB-F4FAA904BB83}" dt="2020-06-17T15:13:38.502" v="4566" actId="14100"/>
          <ac:spMkLst>
            <pc:docMk/>
            <pc:sldMk cId="838099151" sldId="2134804292"/>
            <ac:spMk id="42" creationId="{D738484B-A1FE-4D14-B0E6-2C43B61812C6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43" creationId="{9E99B233-8A5B-44E6-A802-87EAA9553E24}"/>
          </ac:spMkLst>
        </pc:spChg>
        <pc:spChg chg="add mod">
          <ac:chgData name="Andrea Mogollon Nossa (CENIT)" userId="f6a3e592-cc27-4858-b185-ff86be206069" providerId="ADAL" clId="{2CAEC1E3-2241-4370-8FDB-F4FAA904BB83}" dt="2020-06-18T02:21:16.513" v="6553" actId="20577"/>
          <ac:spMkLst>
            <pc:docMk/>
            <pc:sldMk cId="838099151" sldId="2134804292"/>
            <ac:spMk id="44" creationId="{E239B605-6964-49EB-B22A-9FCE640E48BE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45" creationId="{FE8ED9F7-3608-4810-95FA-CCA357FF8DD5}"/>
          </ac:spMkLst>
        </pc:spChg>
        <pc:spChg chg="del mod">
          <ac:chgData name="Andrea Mogollon Nossa (CENIT)" userId="f6a3e592-cc27-4858-b185-ff86be206069" providerId="ADAL" clId="{2CAEC1E3-2241-4370-8FDB-F4FAA904BB83}" dt="2020-06-17T14:58:43.746" v="4419" actId="478"/>
          <ac:spMkLst>
            <pc:docMk/>
            <pc:sldMk cId="838099151" sldId="2134804292"/>
            <ac:spMk id="46" creationId="{37613081-A8A7-4283-97BA-0F79BCAFB2C8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47" creationId="{BF5EEC85-5BBC-4AC0-BFF6-FC2E72B5FA13}"/>
          </ac:spMkLst>
        </pc:spChg>
        <pc:spChg chg="add mod">
          <ac:chgData name="Andrea Mogollon Nossa (CENIT)" userId="f6a3e592-cc27-4858-b185-ff86be206069" providerId="ADAL" clId="{2CAEC1E3-2241-4370-8FDB-F4FAA904BB83}" dt="2020-06-17T20:17:30.174" v="5638" actId="20577"/>
          <ac:spMkLst>
            <pc:docMk/>
            <pc:sldMk cId="838099151" sldId="2134804292"/>
            <ac:spMk id="48" creationId="{42AE1721-865B-4FA1-9DB2-04731ADDC02E}"/>
          </ac:spMkLst>
        </pc:spChg>
        <pc:spChg chg="mod">
          <ac:chgData name="Andrea Mogollon Nossa (CENIT)" userId="f6a3e592-cc27-4858-b185-ff86be206069" providerId="ADAL" clId="{2CAEC1E3-2241-4370-8FDB-F4FAA904BB83}" dt="2020-06-17T15:13:41.311" v="4567" actId="14100"/>
          <ac:spMkLst>
            <pc:docMk/>
            <pc:sldMk cId="838099151" sldId="2134804292"/>
            <ac:spMk id="49" creationId="{AA424A2E-6D9A-4F45-8D12-089063FB713D}"/>
          </ac:spMkLst>
        </pc:spChg>
        <pc:spChg chg="mod">
          <ac:chgData name="Andrea Mogollon Nossa (CENIT)" userId="f6a3e592-cc27-4858-b185-ff86be206069" providerId="ADAL" clId="{2CAEC1E3-2241-4370-8FDB-F4FAA904BB83}" dt="2020-06-17T20:36:02.184" v="5931"/>
          <ac:spMkLst>
            <pc:docMk/>
            <pc:sldMk cId="838099151" sldId="2134804292"/>
            <ac:spMk id="50" creationId="{5AEE6479-611C-4B25-9D86-68C74F4E6840}"/>
          </ac:spMkLst>
        </pc:spChg>
        <pc:spChg chg="del mod">
          <ac:chgData name="Andrea Mogollon Nossa (CENIT)" userId="f6a3e592-cc27-4858-b185-ff86be206069" providerId="ADAL" clId="{2CAEC1E3-2241-4370-8FDB-F4FAA904BB83}" dt="2020-06-16T15:51:04.663" v="135" actId="478"/>
          <ac:spMkLst>
            <pc:docMk/>
            <pc:sldMk cId="838099151" sldId="2134804292"/>
            <ac:spMk id="51" creationId="{84388FAE-20AC-4F67-9CB4-3FF36D413906}"/>
          </ac:spMkLst>
        </pc:spChg>
        <pc:spChg chg="add mod">
          <ac:chgData name="Andrea Mogollon Nossa (CENIT)" userId="f6a3e592-cc27-4858-b185-ff86be206069" providerId="ADAL" clId="{2CAEC1E3-2241-4370-8FDB-F4FAA904BB83}" dt="2020-06-17T20:17:54.005" v="5648" actId="20577"/>
          <ac:spMkLst>
            <pc:docMk/>
            <pc:sldMk cId="838099151" sldId="2134804292"/>
            <ac:spMk id="52" creationId="{2AD1363D-77A4-4B18-8087-0B267A4558ED}"/>
          </ac:spMkLst>
        </pc:spChg>
        <pc:spChg chg="mod">
          <ac:chgData name="Andrea Mogollon Nossa (CENIT)" userId="f6a3e592-cc27-4858-b185-ff86be206069" providerId="ADAL" clId="{2CAEC1E3-2241-4370-8FDB-F4FAA904BB83}" dt="2020-06-17T21:26:21.864" v="6452" actId="20577"/>
          <ac:spMkLst>
            <pc:docMk/>
            <pc:sldMk cId="838099151" sldId="2134804292"/>
            <ac:spMk id="53" creationId="{F9C857D3-C5F6-4D00-8D9C-646D1DA60918}"/>
          </ac:spMkLst>
        </pc:spChg>
        <pc:spChg chg="mod">
          <ac:chgData name="Andrea Mogollon Nossa (CENIT)" userId="f6a3e592-cc27-4858-b185-ff86be206069" providerId="ADAL" clId="{2CAEC1E3-2241-4370-8FDB-F4FAA904BB83}" dt="2020-06-17T20:21:48.507" v="5683" actId="14100"/>
          <ac:spMkLst>
            <pc:docMk/>
            <pc:sldMk cId="838099151" sldId="2134804292"/>
            <ac:spMk id="54" creationId="{C38A9719-1AF0-4D7F-AF9E-714FBC133573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55" creationId="{3303E99B-C92B-47E7-8D82-C8AAB6B8C380}"/>
          </ac:spMkLst>
        </pc:spChg>
        <pc:spChg chg="add mod">
          <ac:chgData name="Andrea Mogollon Nossa (CENIT)" userId="f6a3e592-cc27-4858-b185-ff86be206069" providerId="ADAL" clId="{2CAEC1E3-2241-4370-8FDB-F4FAA904BB83}" dt="2020-06-17T20:19:55.419" v="5676" actId="20577"/>
          <ac:spMkLst>
            <pc:docMk/>
            <pc:sldMk cId="838099151" sldId="2134804292"/>
            <ac:spMk id="56" creationId="{4F0BB8E1-0E03-4A52-9BB1-7AC2ED86FFBE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57" creationId="{0FB34961-9380-4A9B-A2B6-992F21508C64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58" creationId="{74F606FB-9410-44F0-9F53-ACCA9F228C24}"/>
          </ac:spMkLst>
        </pc:spChg>
        <pc:spChg chg="add mod">
          <ac:chgData name="Andrea Mogollon Nossa (CENIT)" userId="f6a3e592-cc27-4858-b185-ff86be206069" providerId="ADAL" clId="{2CAEC1E3-2241-4370-8FDB-F4FAA904BB83}" dt="2020-06-17T20:19:53.731" v="5674" actId="20577"/>
          <ac:spMkLst>
            <pc:docMk/>
            <pc:sldMk cId="838099151" sldId="2134804292"/>
            <ac:spMk id="59" creationId="{97F69600-5EC2-415F-899E-3158E1DD0E4E}"/>
          </ac:spMkLst>
        </pc:spChg>
        <pc:spChg chg="add mod">
          <ac:chgData name="Andrea Mogollon Nossa (CENIT)" userId="f6a3e592-cc27-4858-b185-ff86be206069" providerId="ADAL" clId="{2CAEC1E3-2241-4370-8FDB-F4FAA904BB83}" dt="2020-06-18T02:07:55.746" v="6535" actId="14100"/>
          <ac:spMkLst>
            <pc:docMk/>
            <pc:sldMk cId="838099151" sldId="2134804292"/>
            <ac:spMk id="60" creationId="{E78B2A6C-DEF5-4176-9EC8-F1C34E8F7D53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61" creationId="{1F7F6559-3F08-4F7E-A909-B96E01AB7528}"/>
          </ac:spMkLst>
        </pc:spChg>
        <pc:spChg chg="add mod">
          <ac:chgData name="Andrea Mogollon Nossa (CENIT)" userId="f6a3e592-cc27-4858-b185-ff86be206069" providerId="ADAL" clId="{2CAEC1E3-2241-4370-8FDB-F4FAA904BB83}" dt="2020-06-17T20:19:15.340" v="5672" actId="20577"/>
          <ac:spMkLst>
            <pc:docMk/>
            <pc:sldMk cId="838099151" sldId="2134804292"/>
            <ac:spMk id="62" creationId="{1F18B743-7CA7-4168-93CE-0B2A698A9D4B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63" creationId="{AB5F3A10-3A0A-4AD1-810F-ECFBAF93D3A3}"/>
          </ac:spMkLst>
        </pc:spChg>
        <pc:spChg chg="add mod">
          <ac:chgData name="Andrea Mogollon Nossa (CENIT)" userId="f6a3e592-cc27-4858-b185-ff86be206069" providerId="ADAL" clId="{2CAEC1E3-2241-4370-8FDB-F4FAA904BB83}" dt="2020-06-17T20:19:11.949" v="5670" actId="20577"/>
          <ac:spMkLst>
            <pc:docMk/>
            <pc:sldMk cId="838099151" sldId="2134804292"/>
            <ac:spMk id="64" creationId="{C1641CFC-CF7F-498D-B4D0-3EC07F8B6FCA}"/>
          </ac:spMkLst>
        </pc:spChg>
        <pc:spChg chg="add mod">
          <ac:chgData name="Andrea Mogollon Nossa (CENIT)" userId="f6a3e592-cc27-4858-b185-ff86be206069" providerId="ADAL" clId="{2CAEC1E3-2241-4370-8FDB-F4FAA904BB83}" dt="2020-06-18T02:07:45.645" v="6533" actId="14100"/>
          <ac:spMkLst>
            <pc:docMk/>
            <pc:sldMk cId="838099151" sldId="2134804292"/>
            <ac:spMk id="65" creationId="{75F4E58E-0C8C-4616-AE69-3937079E0044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66" creationId="{C1B3BC7F-010E-4F7C-9215-3BC0CB51B95F}"/>
          </ac:spMkLst>
        </pc:spChg>
        <pc:spChg chg="add mod">
          <ac:chgData name="Andrea Mogollon Nossa (CENIT)" userId="f6a3e592-cc27-4858-b185-ff86be206069" providerId="ADAL" clId="{2CAEC1E3-2241-4370-8FDB-F4FAA904BB83}" dt="2020-06-18T02:07:41.043" v="6531" actId="1076"/>
          <ac:spMkLst>
            <pc:docMk/>
            <pc:sldMk cId="838099151" sldId="2134804292"/>
            <ac:spMk id="67" creationId="{B6194378-B50F-421A-B27B-1B4AFC5ED155}"/>
          </ac:spMkLst>
        </pc:spChg>
        <pc:spChg chg="add mod">
          <ac:chgData name="Andrea Mogollon Nossa (CENIT)" userId="f6a3e592-cc27-4858-b185-ff86be206069" providerId="ADAL" clId="{2CAEC1E3-2241-4370-8FDB-F4FAA904BB83}" dt="2020-06-18T02:07:49.843" v="6534" actId="1076"/>
          <ac:spMkLst>
            <pc:docMk/>
            <pc:sldMk cId="838099151" sldId="2134804292"/>
            <ac:spMk id="68" creationId="{1E9FFA51-5316-41A7-8371-6FF614BF6768}"/>
          </ac:spMkLst>
        </pc:spChg>
        <pc:spChg chg="add mod">
          <ac:chgData name="Andrea Mogollon Nossa (CENIT)" userId="f6a3e592-cc27-4858-b185-ff86be206069" providerId="ADAL" clId="{2CAEC1E3-2241-4370-8FDB-F4FAA904BB83}" dt="2020-06-18T02:07:37.996" v="6530" actId="1076"/>
          <ac:spMkLst>
            <pc:docMk/>
            <pc:sldMk cId="838099151" sldId="2134804292"/>
            <ac:spMk id="69" creationId="{A9C3CC04-9C5E-4AB6-9E92-09DAF9B16ADC}"/>
          </ac:spMkLst>
        </pc:spChg>
        <pc:spChg chg="mod">
          <ac:chgData name="Andrea Mogollon Nossa (CENIT)" userId="f6a3e592-cc27-4858-b185-ff86be206069" providerId="ADAL" clId="{2CAEC1E3-2241-4370-8FDB-F4FAA904BB83}" dt="2020-06-17T20:21:25.913" v="5679" actId="20577"/>
          <ac:spMkLst>
            <pc:docMk/>
            <pc:sldMk cId="838099151" sldId="2134804292"/>
            <ac:spMk id="71" creationId="{A69B7E9C-1301-476B-9B8D-50B1CA3CB77F}"/>
          </ac:spMkLst>
        </pc:spChg>
        <pc:spChg chg="ord">
          <ac:chgData name="Andrea Mogollon Nossa (CENIT)" userId="f6a3e592-cc27-4858-b185-ff86be206069" providerId="ADAL" clId="{2CAEC1E3-2241-4370-8FDB-F4FAA904BB83}" dt="2020-06-17T00:10:02.819" v="2645" actId="166"/>
          <ac:spMkLst>
            <pc:docMk/>
            <pc:sldMk cId="838099151" sldId="2134804292"/>
            <ac:spMk id="72" creationId="{622D38D3-D447-4679-8F81-A3EC3CD4CFF6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73" creationId="{504BE693-A6BF-4CAB-971A-BC7D1287E952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74" creationId="{B5886F35-849B-48A6-97F5-BE8E727DCABB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75" creationId="{6145BB97-3119-4821-8D9F-A6CBDE6564FA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76" creationId="{C4889BF1-BFE2-4B20-AB47-50C8708C5811}"/>
          </ac:spMkLst>
        </pc:spChg>
        <pc:spChg chg="mod">
          <ac:chgData name="Andrea Mogollon Nossa (CENIT)" userId="f6a3e592-cc27-4858-b185-ff86be206069" providerId="ADAL" clId="{2CAEC1E3-2241-4370-8FDB-F4FAA904BB83}" dt="2020-06-17T15:03:45.402" v="4464" actId="1076"/>
          <ac:spMkLst>
            <pc:docMk/>
            <pc:sldMk cId="838099151" sldId="2134804292"/>
            <ac:spMk id="77" creationId="{FE57AFEB-C555-4E4A-8CCA-35D95283E0B0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78" creationId="{29484C37-A93F-435C-BB46-AAD296179DA7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79" creationId="{E7635D01-CF5B-467A-AD0E-714418970E68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80" creationId="{D66A88FF-E3F2-4BEC-8E12-DCBEE6A096ED}"/>
          </ac:spMkLst>
        </pc:spChg>
        <pc:spChg chg="mod">
          <ac:chgData name="Andrea Mogollon Nossa (CENIT)" userId="f6a3e592-cc27-4858-b185-ff86be206069" providerId="ADAL" clId="{2CAEC1E3-2241-4370-8FDB-F4FAA904BB83}" dt="2020-06-17T15:13:47.090" v="4568" actId="1076"/>
          <ac:spMkLst>
            <pc:docMk/>
            <pc:sldMk cId="838099151" sldId="2134804292"/>
            <ac:spMk id="81" creationId="{A742467B-5CB0-468E-8115-5070DDA010C6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82" creationId="{9F1674CE-F25C-4C2A-AA04-EC08592CA6BF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83" creationId="{C506A4AA-FCB3-45B4-B3F4-65268296A051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84" creationId="{AE70C292-631F-4FBA-9407-4F63FA529DB7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85" creationId="{20DF9912-3C8C-4E4C-AED3-8A1393F70375}"/>
          </ac:spMkLst>
        </pc:spChg>
        <pc:spChg chg="add mod">
          <ac:chgData name="Andrea Mogollon Nossa (CENIT)" userId="f6a3e592-cc27-4858-b185-ff86be206069" providerId="ADAL" clId="{2CAEC1E3-2241-4370-8FDB-F4FAA904BB83}" dt="2020-06-18T02:08:05.080" v="6537" actId="1076"/>
          <ac:spMkLst>
            <pc:docMk/>
            <pc:sldMk cId="838099151" sldId="2134804292"/>
            <ac:spMk id="86" creationId="{D0C29538-EFD3-4024-85E0-E215B2CB81A0}"/>
          </ac:spMkLst>
        </pc:spChg>
        <pc:spChg chg="add mod">
          <ac:chgData name="Andrea Mogollon Nossa (CENIT)" userId="f6a3e592-cc27-4858-b185-ff86be206069" providerId="ADAL" clId="{2CAEC1E3-2241-4370-8FDB-F4FAA904BB83}" dt="2020-06-18T02:16:29.791" v="6547" actId="20577"/>
          <ac:spMkLst>
            <pc:docMk/>
            <pc:sldMk cId="838099151" sldId="2134804292"/>
            <ac:spMk id="87" creationId="{563162A5-41B5-4D13-845B-8A3E8F064FC1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97" creationId="{99300021-C267-43BD-A0F5-B3ECE622345E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99" creationId="{90CC82AC-D82E-4F89-AC67-093894759099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100" creationId="{1835F856-5B59-4AFF-86DE-2F0968B76CF7}"/>
          </ac:spMkLst>
        </pc:spChg>
        <pc:spChg chg="add 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101" creationId="{50D1281F-8266-4D64-9227-2DC0FCFC26CB}"/>
          </ac:spMkLst>
        </pc:spChg>
        <pc:spChg chg="mod">
          <ac:chgData name="Andrea Mogollon Nossa (CENIT)" userId="f6a3e592-cc27-4858-b185-ff86be206069" providerId="ADAL" clId="{2CAEC1E3-2241-4370-8FDB-F4FAA904BB83}" dt="2020-06-18T02:29:54.645" v="6556" actId="14100"/>
          <ac:spMkLst>
            <pc:docMk/>
            <pc:sldMk cId="838099151" sldId="2134804292"/>
            <ac:spMk id="102" creationId="{101F3273-AA10-47F1-9872-07AD50130DF5}"/>
          </ac:spMkLst>
        </pc:spChg>
        <pc:spChg chg="mod">
          <ac:chgData name="Andrea Mogollon Nossa (CENIT)" userId="f6a3e592-cc27-4858-b185-ff86be206069" providerId="ADAL" clId="{2CAEC1E3-2241-4370-8FDB-F4FAA904BB83}" dt="2020-06-17T15:13:32.796" v="4564" actId="14100"/>
          <ac:spMkLst>
            <pc:docMk/>
            <pc:sldMk cId="838099151" sldId="2134804292"/>
            <ac:spMk id="103" creationId="{BDBCDC72-F935-45A4-AE31-C045019965AF}"/>
          </ac:spMkLst>
        </pc:spChg>
        <pc:spChg chg="mod ord">
          <ac:chgData name="Andrea Mogollon Nossa (CENIT)" userId="f6a3e592-cc27-4858-b185-ff86be206069" providerId="ADAL" clId="{2CAEC1E3-2241-4370-8FDB-F4FAA904BB83}" dt="2020-06-17T15:12:32.420" v="4555" actId="166"/>
          <ac:spMkLst>
            <pc:docMk/>
            <pc:sldMk cId="838099151" sldId="2134804292"/>
            <ac:spMk id="104" creationId="{0326A105-08B6-409E-9596-07BD7645DEAE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105" creationId="{DC633C75-4D21-4E37-ABEB-B69D06C0A224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106" creationId="{8BF155F6-9EE4-4410-BB22-DEE4B18E9FEF}"/>
          </ac:spMkLst>
        </pc:spChg>
        <pc:spChg chg="mod">
          <ac:chgData name="Andrea Mogollon Nossa (CENIT)" userId="f6a3e592-cc27-4858-b185-ff86be206069" providerId="ADAL" clId="{2CAEC1E3-2241-4370-8FDB-F4FAA904BB83}" dt="2020-06-18T02:29:57.264" v="6557" actId="1076"/>
          <ac:spMkLst>
            <pc:docMk/>
            <pc:sldMk cId="838099151" sldId="2134804292"/>
            <ac:spMk id="107" creationId="{4802A65C-C4BA-49C6-A107-DC404BE5C336}"/>
          </ac:spMkLst>
        </pc:spChg>
        <pc:spChg chg="mod">
          <ac:chgData name="Andrea Mogollon Nossa (CENIT)" userId="f6a3e592-cc27-4858-b185-ff86be206069" providerId="ADAL" clId="{2CAEC1E3-2241-4370-8FDB-F4FAA904BB83}" dt="2020-06-17T15:12:35.377" v="4556" actId="1076"/>
          <ac:spMkLst>
            <pc:docMk/>
            <pc:sldMk cId="838099151" sldId="2134804292"/>
            <ac:spMk id="108" creationId="{E7417F2C-4445-4433-AA31-1B1D9A1C89B3}"/>
          </ac:spMkLst>
        </pc:spChg>
        <pc:spChg chg="add mod">
          <ac:chgData name="Andrea Mogollon Nossa (CENIT)" userId="f6a3e592-cc27-4858-b185-ff86be206069" providerId="ADAL" clId="{2CAEC1E3-2241-4370-8FDB-F4FAA904BB83}" dt="2020-06-17T15:03:45.402" v="4464" actId="1076"/>
          <ac:spMkLst>
            <pc:docMk/>
            <pc:sldMk cId="838099151" sldId="2134804292"/>
            <ac:spMk id="109" creationId="{71C13042-3BAB-49AE-B302-BF1FC184D1C0}"/>
          </ac:spMkLst>
        </pc:spChg>
        <pc:spChg chg="add mod">
          <ac:chgData name="Andrea Mogollon Nossa (CENIT)" userId="f6a3e592-cc27-4858-b185-ff86be206069" providerId="ADAL" clId="{2CAEC1E3-2241-4370-8FDB-F4FAA904BB83}" dt="2020-06-17T20:37:42.092" v="5938" actId="1076"/>
          <ac:spMkLst>
            <pc:docMk/>
            <pc:sldMk cId="838099151" sldId="2134804292"/>
            <ac:spMk id="110" creationId="{016FFF86-9DDE-4B71-B999-66D87A5DF4D8}"/>
          </ac:spMkLst>
        </pc:spChg>
        <pc:spChg chg="add mod">
          <ac:chgData name="Andrea Mogollon Nossa (CENIT)" userId="f6a3e592-cc27-4858-b185-ff86be206069" providerId="ADAL" clId="{2CAEC1E3-2241-4370-8FDB-F4FAA904BB83}" dt="2020-06-17T15:05:46.910" v="4483" actId="20577"/>
          <ac:spMkLst>
            <pc:docMk/>
            <pc:sldMk cId="838099151" sldId="2134804292"/>
            <ac:spMk id="111" creationId="{6C1EF8A6-0FB5-47E0-9CD3-2DB37B170394}"/>
          </ac:spMkLst>
        </pc:spChg>
        <pc:spChg chg="add mod">
          <ac:chgData name="Andrea Mogollon Nossa (CENIT)" userId="f6a3e592-cc27-4858-b185-ff86be206069" providerId="ADAL" clId="{2CAEC1E3-2241-4370-8FDB-F4FAA904BB83}" dt="2020-06-18T02:07:14.775" v="6526" actId="208"/>
          <ac:spMkLst>
            <pc:docMk/>
            <pc:sldMk cId="838099151" sldId="2134804292"/>
            <ac:spMk id="112" creationId="{F172C649-196A-458A-9FD2-06A9617C5DA1}"/>
          </ac:spMkLst>
        </pc:spChg>
        <pc:spChg chg="add mod">
          <ac:chgData name="Andrea Mogollon Nossa (CENIT)" userId="f6a3e592-cc27-4858-b185-ff86be206069" providerId="ADAL" clId="{2CAEC1E3-2241-4370-8FDB-F4FAA904BB83}" dt="2020-06-17T15:12:42.685" v="4560" actId="20577"/>
          <ac:spMkLst>
            <pc:docMk/>
            <pc:sldMk cId="838099151" sldId="2134804292"/>
            <ac:spMk id="113" creationId="{22C84C52-FFF2-4B1D-A23E-B10150D390CA}"/>
          </ac:spMkLst>
        </pc:spChg>
        <pc:spChg chg="add mod">
          <ac:chgData name="Andrea Mogollon Nossa (CENIT)" userId="f6a3e592-cc27-4858-b185-ff86be206069" providerId="ADAL" clId="{2CAEC1E3-2241-4370-8FDB-F4FAA904BB83}" dt="2020-06-17T20:37:45.124" v="5939" actId="14100"/>
          <ac:spMkLst>
            <pc:docMk/>
            <pc:sldMk cId="838099151" sldId="2134804292"/>
            <ac:spMk id="114" creationId="{AE25D562-47A5-4429-8752-D107F6B610B2}"/>
          </ac:spMkLst>
        </pc:spChg>
        <pc:spChg chg="mod">
          <ac:chgData name="Andrea Mogollon Nossa (CENIT)" userId="f6a3e592-cc27-4858-b185-ff86be206069" providerId="ADAL" clId="{2CAEC1E3-2241-4370-8FDB-F4FAA904BB83}" dt="2020-06-17T00:19:04.951" v="2654" actId="1076"/>
          <ac:spMkLst>
            <pc:docMk/>
            <pc:sldMk cId="838099151" sldId="2134804292"/>
            <ac:spMk id="121" creationId="{2E4219D0-FC12-4E35-8DC3-7D8033FAE51A}"/>
          </ac:spMkLst>
        </pc:spChg>
        <pc:spChg chg="mod">
          <ac:chgData name="Andrea Mogollon Nossa (CENIT)" userId="f6a3e592-cc27-4858-b185-ff86be206069" providerId="ADAL" clId="{2CAEC1E3-2241-4370-8FDB-F4FAA904BB83}" dt="2020-06-17T00:19:02.552" v="2653" actId="1076"/>
          <ac:spMkLst>
            <pc:docMk/>
            <pc:sldMk cId="838099151" sldId="2134804292"/>
            <ac:spMk id="122" creationId="{F59AC007-B728-4703-B31F-7E86BF727532}"/>
          </ac:spMkLst>
        </pc:spChg>
        <pc:spChg chg="mod">
          <ac:chgData name="Andrea Mogollon Nossa (CENIT)" userId="f6a3e592-cc27-4858-b185-ff86be206069" providerId="ADAL" clId="{2CAEC1E3-2241-4370-8FDB-F4FAA904BB83}" dt="2020-06-17T00:18:59.863" v="2652" actId="1076"/>
          <ac:spMkLst>
            <pc:docMk/>
            <pc:sldMk cId="838099151" sldId="2134804292"/>
            <ac:spMk id="123" creationId="{6441CA6B-E4DC-4E7E-87F8-3EAF8197D2F3}"/>
          </ac:spMkLst>
        </pc:spChg>
        <pc:spChg chg="mod">
          <ac:chgData name="Andrea Mogollon Nossa (CENIT)" userId="f6a3e592-cc27-4858-b185-ff86be206069" providerId="ADAL" clId="{2CAEC1E3-2241-4370-8FDB-F4FAA904BB83}" dt="2020-06-17T15:05:19.720" v="4480" actId="6549"/>
          <ac:spMkLst>
            <pc:docMk/>
            <pc:sldMk cId="838099151" sldId="2134804292"/>
            <ac:spMk id="137" creationId="{F2F1441C-82E3-4978-ADB4-2E81AB714A12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38" creationId="{B7572FF5-C3B2-41FB-AC8B-11068157874D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39" creationId="{2227F15F-B01E-49E7-B6F1-35FB55117734}"/>
          </ac:spMkLst>
        </pc:spChg>
        <pc:spChg chg="mod ord">
          <ac:chgData name="Andrea Mogollon Nossa (CENIT)" userId="f6a3e592-cc27-4858-b185-ff86be206069" providerId="ADAL" clId="{2CAEC1E3-2241-4370-8FDB-F4FAA904BB83}" dt="2020-06-18T02:32:15.077" v="6569" actId="167"/>
          <ac:spMkLst>
            <pc:docMk/>
            <pc:sldMk cId="838099151" sldId="2134804292"/>
            <ac:spMk id="140" creationId="{2062ABD7-3E18-481C-BE0F-59304E710CAD}"/>
          </ac:spMkLst>
        </pc:spChg>
        <pc:spChg chg="del mod">
          <ac:chgData name="Andrea Mogollon Nossa (CENIT)" userId="f6a3e592-cc27-4858-b185-ff86be206069" providerId="ADAL" clId="{2CAEC1E3-2241-4370-8FDB-F4FAA904BB83}" dt="2020-06-17T15:00:16.100" v="4433" actId="478"/>
          <ac:spMkLst>
            <pc:docMk/>
            <pc:sldMk cId="838099151" sldId="2134804292"/>
            <ac:spMk id="141" creationId="{6DFBB2A7-5F2D-4D91-9156-98CB032BD858}"/>
          </ac:spMkLst>
        </pc:spChg>
        <pc:spChg chg="mod">
          <ac:chgData name="Andrea Mogollon Nossa (CENIT)" userId="f6a3e592-cc27-4858-b185-ff86be206069" providerId="ADAL" clId="{2CAEC1E3-2241-4370-8FDB-F4FAA904BB83}" dt="2020-06-17T15:03:45.402" v="4464" actId="1076"/>
          <ac:spMkLst>
            <pc:docMk/>
            <pc:sldMk cId="838099151" sldId="2134804292"/>
            <ac:spMk id="142" creationId="{9660C67C-C249-4C29-87B1-2E22B67DE74F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44" creationId="{25AF8D90-7CF9-4004-AFE7-8FD9BCD562C6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45" creationId="{1FACAF7C-6304-4959-827F-E5EC80E0E805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46" creationId="{D86974CC-32BF-439F-A6E2-D1E82520294D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47" creationId="{58F0CDC2-9414-439E-A3CB-C4B6F7ADCE1B}"/>
          </ac:spMkLst>
        </pc:spChg>
        <pc:spChg chg="mod">
          <ac:chgData name="Andrea Mogollon Nossa (CENIT)" userId="f6a3e592-cc27-4858-b185-ff86be206069" providerId="ADAL" clId="{2CAEC1E3-2241-4370-8FDB-F4FAA904BB83}" dt="2020-06-17T15:13:36.180" v="4565" actId="14100"/>
          <ac:spMkLst>
            <pc:docMk/>
            <pc:sldMk cId="838099151" sldId="2134804292"/>
            <ac:spMk id="148" creationId="{3D0EFFEA-E9FE-4053-B9D8-C9F8D8881270}"/>
          </ac:spMkLst>
        </pc:spChg>
        <pc:cxnChg chg="add mod">
          <ac:chgData name="Andrea Mogollon Nossa (CENIT)" userId="f6a3e592-cc27-4858-b185-ff86be206069" providerId="ADAL" clId="{2CAEC1E3-2241-4370-8FDB-F4FAA904BB83}" dt="2020-06-18T02:31:44.019" v="6565" actId="1076"/>
          <ac:cxnSpMkLst>
            <pc:docMk/>
            <pc:sldMk cId="838099151" sldId="2134804292"/>
            <ac:cxnSpMk id="88" creationId="{72E252A3-F8E1-4DDE-822C-DFEF6DF55A06}"/>
          </ac:cxnSpMkLst>
        </pc:cxnChg>
        <pc:cxnChg chg="mod">
          <ac:chgData name="Andrea Mogollon Nossa (CENIT)" userId="f6a3e592-cc27-4858-b185-ff86be206069" providerId="ADAL" clId="{2CAEC1E3-2241-4370-8FDB-F4FAA904BB83}" dt="2020-06-18T02:31:46.708" v="6566" actId="1076"/>
          <ac:cxnSpMkLst>
            <pc:docMk/>
            <pc:sldMk cId="838099151" sldId="2134804292"/>
            <ac:cxnSpMk id="95" creationId="{992CCE25-00CE-4C15-881A-068C6B1A3F0E}"/>
          </ac:cxnSpMkLst>
        </pc:cxnChg>
      </pc:sldChg>
      <pc:sldChg chg="modSp mod">
        <pc:chgData name="Andrea Mogollon Nossa (CENIT)" userId="f6a3e592-cc27-4858-b185-ff86be206069" providerId="ADAL" clId="{2CAEC1E3-2241-4370-8FDB-F4FAA904BB83}" dt="2020-06-16T16:32:31.128" v="990" actId="108"/>
        <pc:sldMkLst>
          <pc:docMk/>
          <pc:sldMk cId="1822149763" sldId="2134804293"/>
        </pc:sldMkLst>
        <pc:spChg chg="mod">
          <ac:chgData name="Andrea Mogollon Nossa (CENIT)" userId="f6a3e592-cc27-4858-b185-ff86be206069" providerId="ADAL" clId="{2CAEC1E3-2241-4370-8FDB-F4FAA904BB83}" dt="2020-06-16T16:32:21.500" v="989" actId="108"/>
          <ac:spMkLst>
            <pc:docMk/>
            <pc:sldMk cId="1822149763" sldId="2134804293"/>
            <ac:spMk id="9" creationId="{584AA256-4158-427B-9200-1F1C0296A486}"/>
          </ac:spMkLst>
        </pc:spChg>
        <pc:spChg chg="mod">
          <ac:chgData name="Andrea Mogollon Nossa (CENIT)" userId="f6a3e592-cc27-4858-b185-ff86be206069" providerId="ADAL" clId="{2CAEC1E3-2241-4370-8FDB-F4FAA904BB83}" dt="2020-06-16T16:32:31.128" v="990" actId="108"/>
          <ac:spMkLst>
            <pc:docMk/>
            <pc:sldMk cId="1822149763" sldId="2134804293"/>
            <ac:spMk id="11" creationId="{BE3FDB33-82DE-49B7-85B7-9476B27F9C30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7T21:26:50.773" v="6482" actId="20577"/>
        <pc:sldMkLst>
          <pc:docMk/>
          <pc:sldMk cId="689766239" sldId="2134804294"/>
        </pc:sldMkLst>
        <pc:spChg chg="mod">
          <ac:chgData name="Andrea Mogollon Nossa (CENIT)" userId="f6a3e592-cc27-4858-b185-ff86be206069" providerId="ADAL" clId="{2CAEC1E3-2241-4370-8FDB-F4FAA904BB83}" dt="2020-06-17T21:15:10.713" v="6271" actId="20577"/>
          <ac:spMkLst>
            <pc:docMk/>
            <pc:sldMk cId="689766239" sldId="2134804294"/>
            <ac:spMk id="3" creationId="{815B10B7-60B3-4C63-8431-70CC556387C9}"/>
          </ac:spMkLst>
        </pc:spChg>
        <pc:spChg chg="mod">
          <ac:chgData name="Andrea Mogollon Nossa (CENIT)" userId="f6a3e592-cc27-4858-b185-ff86be206069" providerId="ADAL" clId="{2CAEC1E3-2241-4370-8FDB-F4FAA904BB83}" dt="2020-06-17T13:25:19.834" v="2812" actId="14100"/>
          <ac:spMkLst>
            <pc:docMk/>
            <pc:sldMk cId="689766239" sldId="2134804294"/>
            <ac:spMk id="6" creationId="{A9B6670C-9FA9-460C-B8DE-3379ABC12A8C}"/>
          </ac:spMkLst>
        </pc:spChg>
        <pc:spChg chg="mod">
          <ac:chgData name="Andrea Mogollon Nossa (CENIT)" userId="f6a3e592-cc27-4858-b185-ff86be206069" providerId="ADAL" clId="{2CAEC1E3-2241-4370-8FDB-F4FAA904BB83}" dt="2020-06-16T16:51:11.209" v="1306" actId="20577"/>
          <ac:spMkLst>
            <pc:docMk/>
            <pc:sldMk cId="689766239" sldId="2134804294"/>
            <ac:spMk id="7" creationId="{52FE2391-690B-4D13-B0BE-AD54BD4AFEAA}"/>
          </ac:spMkLst>
        </pc:spChg>
        <pc:spChg chg="del">
          <ac:chgData name="Andrea Mogollon Nossa (CENIT)" userId="f6a3e592-cc27-4858-b185-ff86be206069" providerId="ADAL" clId="{2CAEC1E3-2241-4370-8FDB-F4FAA904BB83}" dt="2020-06-16T16:50:26.055" v="1302" actId="478"/>
          <ac:spMkLst>
            <pc:docMk/>
            <pc:sldMk cId="689766239" sldId="2134804294"/>
            <ac:spMk id="12" creationId="{56F633C6-C70B-4704-B863-B3E4B374913A}"/>
          </ac:spMkLst>
        </pc:spChg>
        <pc:spChg chg="del">
          <ac:chgData name="Andrea Mogollon Nossa (CENIT)" userId="f6a3e592-cc27-4858-b185-ff86be206069" providerId="ADAL" clId="{2CAEC1E3-2241-4370-8FDB-F4FAA904BB83}" dt="2020-06-16T16:50:14.605" v="1297" actId="478"/>
          <ac:spMkLst>
            <pc:docMk/>
            <pc:sldMk cId="689766239" sldId="2134804294"/>
            <ac:spMk id="13" creationId="{4DFA5458-70EA-43E5-9987-DF395BF160C5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45" creationId="{A11713A1-A10D-481C-88FE-F4218C21E34C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46" creationId="{6B85F83C-1F4E-4C9F-945A-BF3A010998CA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47" creationId="{2E9313C2-48BF-4BEC-84FF-27E4DA635C08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48" creationId="{4724087F-5CE9-4DDB-BAFD-F7A2BCA8A16F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49" creationId="{BD5C92D0-454D-4F3C-9980-21CD644F1A95}"/>
          </ac:spMkLst>
        </pc:spChg>
        <pc:spChg chg="add mod">
          <ac:chgData name="Andrea Mogollon Nossa (CENIT)" userId="f6a3e592-cc27-4858-b185-ff86be206069" providerId="ADAL" clId="{2CAEC1E3-2241-4370-8FDB-F4FAA904BB83}" dt="2020-06-16T17:11:58.352" v="1592" actId="20577"/>
          <ac:spMkLst>
            <pc:docMk/>
            <pc:sldMk cId="689766239" sldId="2134804294"/>
            <ac:spMk id="51" creationId="{6961FD83-C140-4088-BCE9-20920D3BA6CE}"/>
          </ac:spMkLst>
        </pc:spChg>
        <pc:spChg chg="mod">
          <ac:chgData name="Andrea Mogollon Nossa (CENIT)" userId="f6a3e592-cc27-4858-b185-ff86be206069" providerId="ADAL" clId="{2CAEC1E3-2241-4370-8FDB-F4FAA904BB83}" dt="2020-06-17T13:24:08.051" v="2805" actId="208"/>
          <ac:spMkLst>
            <pc:docMk/>
            <pc:sldMk cId="689766239" sldId="2134804294"/>
            <ac:spMk id="52" creationId="{D51C7D30-E0C6-45B8-A151-C992F84F77A1}"/>
          </ac:spMkLst>
        </pc:spChg>
        <pc:spChg chg="mod">
          <ac:chgData name="Andrea Mogollon Nossa (CENIT)" userId="f6a3e592-cc27-4858-b185-ff86be206069" providerId="ADAL" clId="{2CAEC1E3-2241-4370-8FDB-F4FAA904BB83}" dt="2020-06-17T21:26:50.773" v="6482" actId="20577"/>
          <ac:spMkLst>
            <pc:docMk/>
            <pc:sldMk cId="689766239" sldId="2134804294"/>
            <ac:spMk id="53" creationId="{F9C857D3-C5F6-4D00-8D9C-646D1DA60918}"/>
          </ac:spMkLst>
        </pc:spChg>
        <pc:spChg chg="mod">
          <ac:chgData name="Andrea Mogollon Nossa (CENIT)" userId="f6a3e592-cc27-4858-b185-ff86be206069" providerId="ADAL" clId="{2CAEC1E3-2241-4370-8FDB-F4FAA904BB83}" dt="2020-06-16T17:11:16.554" v="1586" actId="1076"/>
          <ac:spMkLst>
            <pc:docMk/>
            <pc:sldMk cId="689766239" sldId="2134804294"/>
            <ac:spMk id="54" creationId="{C38A9719-1AF0-4D7F-AF9E-714FBC133573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55" creationId="{49F2795A-5140-4AC5-A7B3-7D9E1FDA715F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56" creationId="{DB12A4C4-1175-4202-AE66-75E4184D4889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57" creationId="{6D2C0EC2-9819-47A8-BF97-F113A3CCB2B6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58" creationId="{9B8439E9-756C-4802-AE86-DE4E66184BA1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59" creationId="{37A5FDFB-B4F6-4C26-ACAC-D5D3A3FE6F07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60" creationId="{24ECBACF-9F7F-41A7-9239-E723EE2B1B87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61" creationId="{650A9289-5CB4-4614-BEDF-A6E766DF033A}"/>
          </ac:spMkLst>
        </pc:spChg>
        <pc:spChg chg="mod">
          <ac:chgData name="Andrea Mogollon Nossa (CENIT)" userId="f6a3e592-cc27-4858-b185-ff86be206069" providerId="ADAL" clId="{2CAEC1E3-2241-4370-8FDB-F4FAA904BB83}" dt="2020-06-16T16:50:20.946" v="1299" actId="1076"/>
          <ac:spMkLst>
            <pc:docMk/>
            <pc:sldMk cId="689766239" sldId="2134804294"/>
            <ac:spMk id="62" creationId="{5419A0C4-DA63-40D3-B1C1-7D649744C961}"/>
          </ac:spMkLst>
        </pc:spChg>
        <pc:spChg chg="mod">
          <ac:chgData name="Andrea Mogollon Nossa (CENIT)" userId="f6a3e592-cc27-4858-b185-ff86be206069" providerId="ADAL" clId="{2CAEC1E3-2241-4370-8FDB-F4FAA904BB83}" dt="2020-06-16T16:50:22.907" v="1300" actId="1076"/>
          <ac:spMkLst>
            <pc:docMk/>
            <pc:sldMk cId="689766239" sldId="2134804294"/>
            <ac:spMk id="63" creationId="{921FDB8B-D26D-44D7-8FDF-62CCF1ED0C24}"/>
          </ac:spMkLst>
        </pc:spChg>
        <pc:spChg chg="mod">
          <ac:chgData name="Andrea Mogollon Nossa (CENIT)" userId="f6a3e592-cc27-4858-b185-ff86be206069" providerId="ADAL" clId="{2CAEC1E3-2241-4370-8FDB-F4FAA904BB83}" dt="2020-06-16T16:50:19.034" v="1298" actId="1076"/>
          <ac:spMkLst>
            <pc:docMk/>
            <pc:sldMk cId="689766239" sldId="2134804294"/>
            <ac:spMk id="64" creationId="{67034597-84B8-4A8E-A718-F04F8D12DA13}"/>
          </ac:spMkLst>
        </pc:spChg>
        <pc:spChg chg="mod">
          <ac:chgData name="Andrea Mogollon Nossa (CENIT)" userId="f6a3e592-cc27-4858-b185-ff86be206069" providerId="ADAL" clId="{2CAEC1E3-2241-4370-8FDB-F4FAA904BB83}" dt="2020-06-16T16:50:24.987" v="1301" actId="1076"/>
          <ac:spMkLst>
            <pc:docMk/>
            <pc:sldMk cId="689766239" sldId="2134804294"/>
            <ac:spMk id="65" creationId="{EFD704C2-B677-43C1-868E-4733842A4506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66" creationId="{E3715D34-037A-4075-AD33-D36B88DE8DA9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67" creationId="{E41D27C7-41BB-46FF-B584-1636633442B6}"/>
          </ac:spMkLst>
        </pc:spChg>
        <pc:spChg chg="mod">
          <ac:chgData name="Andrea Mogollon Nossa (CENIT)" userId="f6a3e592-cc27-4858-b185-ff86be206069" providerId="ADAL" clId="{2CAEC1E3-2241-4370-8FDB-F4FAA904BB83}" dt="2020-06-17T21:15:19.777" v="6280" actId="20577"/>
          <ac:spMkLst>
            <pc:docMk/>
            <pc:sldMk cId="689766239" sldId="2134804294"/>
            <ac:spMk id="68" creationId="{A18C8550-895B-4843-A1B6-21EDC0673ACB}"/>
          </ac:spMkLst>
        </pc:spChg>
        <pc:spChg chg="mod">
          <ac:chgData name="Andrea Mogollon Nossa (CENIT)" userId="f6a3e592-cc27-4858-b185-ff86be206069" providerId="ADAL" clId="{2CAEC1E3-2241-4370-8FDB-F4FAA904BB83}" dt="2020-06-17T21:15:21.806" v="6282" actId="20577"/>
          <ac:spMkLst>
            <pc:docMk/>
            <pc:sldMk cId="689766239" sldId="2134804294"/>
            <ac:spMk id="69" creationId="{E03EFC44-1066-4C28-BEB5-9D8B8475DA21}"/>
          </ac:spMkLst>
        </pc:spChg>
        <pc:spChg chg="mod">
          <ac:chgData name="Andrea Mogollon Nossa (CENIT)" userId="f6a3e592-cc27-4858-b185-ff86be206069" providerId="ADAL" clId="{2CAEC1E3-2241-4370-8FDB-F4FAA904BB83}" dt="2020-06-17T13:25:23.442" v="2813" actId="14100"/>
          <ac:spMkLst>
            <pc:docMk/>
            <pc:sldMk cId="689766239" sldId="2134804294"/>
            <ac:spMk id="70" creationId="{464D1786-51BC-4285-B1A0-B0A00A5B60C7}"/>
          </ac:spMkLst>
        </pc:spChg>
        <pc:spChg chg="mod">
          <ac:chgData name="Andrea Mogollon Nossa (CENIT)" userId="f6a3e592-cc27-4858-b185-ff86be206069" providerId="ADAL" clId="{2CAEC1E3-2241-4370-8FDB-F4FAA904BB83}" dt="2020-06-17T13:25:29.754" v="2814" actId="14100"/>
          <ac:spMkLst>
            <pc:docMk/>
            <pc:sldMk cId="689766239" sldId="2134804294"/>
            <ac:spMk id="71" creationId="{4836D068-702B-4045-B7A8-99FF08023F6D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72" creationId="{89DE429E-CB9E-4D81-ABF0-57B74A17076B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73" creationId="{D2C8D331-431F-450E-984A-A362AB966BAC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74" creationId="{028EA49A-637B-4697-A40E-1F22C3459645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75" creationId="{36F5D3BB-A7D0-4A8C-9E56-AD51794C8B3F}"/>
          </ac:spMkLst>
        </pc:spChg>
        <pc:spChg chg="mod">
          <ac:chgData name="Andrea Mogollon Nossa (CENIT)" userId="f6a3e592-cc27-4858-b185-ff86be206069" providerId="ADAL" clId="{2CAEC1E3-2241-4370-8FDB-F4FAA904BB83}" dt="2020-06-17T13:24:26.498" v="2808" actId="208"/>
          <ac:spMkLst>
            <pc:docMk/>
            <pc:sldMk cId="689766239" sldId="2134804294"/>
            <ac:spMk id="76" creationId="{25A852B0-8475-4C60-AEB9-D1040C49C3BB}"/>
          </ac:spMkLst>
        </pc:spChg>
        <pc:spChg chg="mod">
          <ac:chgData name="Andrea Mogollon Nossa (CENIT)" userId="f6a3e592-cc27-4858-b185-ff86be206069" providerId="ADAL" clId="{2CAEC1E3-2241-4370-8FDB-F4FAA904BB83}" dt="2020-06-17T21:15:24.559" v="6284" actId="20577"/>
          <ac:spMkLst>
            <pc:docMk/>
            <pc:sldMk cId="689766239" sldId="2134804294"/>
            <ac:spMk id="77" creationId="{752D6E0D-8107-4801-AA2E-BABE12D31E5A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78" creationId="{46301A00-37E9-4660-814A-89E7E18F1668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79" creationId="{96BF9551-9FEA-4954-A77D-F8AFBC56E9AC}"/>
          </ac:spMkLst>
        </pc:spChg>
        <pc:spChg chg="add del mod">
          <ac:chgData name="Andrea Mogollon Nossa (CENIT)" userId="f6a3e592-cc27-4858-b185-ff86be206069" providerId="ADAL" clId="{2CAEC1E3-2241-4370-8FDB-F4FAA904BB83}" dt="2020-06-16T16:55:26.401" v="1315" actId="478"/>
          <ac:spMkLst>
            <pc:docMk/>
            <pc:sldMk cId="689766239" sldId="2134804294"/>
            <ac:spMk id="80" creationId="{2106197E-0CB7-40D0-BE24-F75F02BC2E39}"/>
          </ac:spMkLst>
        </pc:spChg>
        <pc:spChg chg="add del mod">
          <ac:chgData name="Andrea Mogollon Nossa (CENIT)" userId="f6a3e592-cc27-4858-b185-ff86be206069" providerId="ADAL" clId="{2CAEC1E3-2241-4370-8FDB-F4FAA904BB83}" dt="2020-06-16T16:55:25.108" v="1314" actId="478"/>
          <ac:spMkLst>
            <pc:docMk/>
            <pc:sldMk cId="689766239" sldId="2134804294"/>
            <ac:spMk id="81" creationId="{60C69183-0D22-41C8-A364-560E42DF1D47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2" creationId="{52F33BC3-0C9E-457C-80B3-CA30A53B63A7}"/>
          </ac:spMkLst>
        </pc:spChg>
        <pc:spChg chg="mod">
          <ac:chgData name="Andrea Mogollon Nossa (CENIT)" userId="f6a3e592-cc27-4858-b185-ff86be206069" providerId="ADAL" clId="{2CAEC1E3-2241-4370-8FDB-F4FAA904BB83}" dt="2020-06-17T17:44:28.264" v="4863" actId="20577"/>
          <ac:spMkLst>
            <pc:docMk/>
            <pc:sldMk cId="689766239" sldId="2134804294"/>
            <ac:spMk id="82" creationId="{F356FE48-7C2B-4E8A-AABF-3B844FDD347E}"/>
          </ac:spMkLst>
        </pc:spChg>
        <pc:spChg chg="mod">
          <ac:chgData name="Andrea Mogollon Nossa (CENIT)" userId="f6a3e592-cc27-4858-b185-ff86be206069" providerId="ADAL" clId="{2CAEC1E3-2241-4370-8FDB-F4FAA904BB83}" dt="2020-06-17T17:44:34.637" v="4868" actId="20577"/>
          <ac:spMkLst>
            <pc:docMk/>
            <pc:sldMk cId="689766239" sldId="2134804294"/>
            <ac:spMk id="83" creationId="{22BF857A-F1CA-4AEA-B4B8-103A1EDFD797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3" creationId="{78D30227-9D03-4483-8BE9-D3A80CA3BBB1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4" creationId="{38F4F5E2-3958-4DBD-88A5-B5E2B526A3B3}"/>
          </ac:spMkLst>
        </pc:spChg>
        <pc:spChg chg="mod">
          <ac:chgData name="Andrea Mogollon Nossa (CENIT)" userId="f6a3e592-cc27-4858-b185-ff86be206069" providerId="ADAL" clId="{2CAEC1E3-2241-4370-8FDB-F4FAA904BB83}" dt="2020-06-17T17:44:47.136" v="4874" actId="20577"/>
          <ac:spMkLst>
            <pc:docMk/>
            <pc:sldMk cId="689766239" sldId="2134804294"/>
            <ac:spMk id="84" creationId="{5B4C9EEB-37B7-4FDB-BA09-0170AE7E657E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5" creationId="{49D70C4F-FB92-433A-AD31-17F2D7CC58E4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6" creationId="{B71CA7B4-75A2-489B-A9DD-3ED48ED9A291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7" creationId="{FCD9CCAD-0E6A-4C52-BC4E-505C9A9F373C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8" creationId="{1FD648DB-F788-4C08-910C-78E21BDE3868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9" creationId="{AFADC86E-CD33-4DD0-819B-2E6EA0166612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0" creationId="{BFAF2D39-729F-4E52-AD88-9F019250252F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1" creationId="{FF224A3B-31A8-4D4C-A373-597E98CA9042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2" creationId="{6DBEC22B-9D94-4FC7-A913-37AEBD6BD28F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3" creationId="{1AA7BE16-CAA3-4AF5-8E68-17285FF8FB91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4" creationId="{FF0FA873-1998-49D3-951B-09C97D461BDA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96" creationId="{1DFEF71A-A80A-4597-AAC9-DB256058084B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97" creationId="{99300021-C267-43BD-A0F5-B3ECE622345E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8" creationId="{4D2C3281-A9CB-49DD-8934-EA33C9AA15B4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99" creationId="{90CC82AC-D82E-4F89-AC67-093894759099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100" creationId="{1835F856-5B59-4AFF-86DE-2F0968B76CF7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1" creationId="{D3918EAE-EF6B-45DC-8F80-8A1A66B080DE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2" creationId="{CE18E381-5C57-48C4-BE18-9CF05418C88F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3" creationId="{190A9AD0-5D39-4D84-99C5-919AC374234F}"/>
          </ac:spMkLst>
        </pc:spChg>
        <pc:spChg chg="mod">
          <ac:chgData name="Andrea Mogollon Nossa (CENIT)" userId="f6a3e592-cc27-4858-b185-ff86be206069" providerId="ADAL" clId="{2CAEC1E3-2241-4370-8FDB-F4FAA904BB83}" dt="2020-06-17T21:15:17.740" v="6278" actId="20577"/>
          <ac:spMkLst>
            <pc:docMk/>
            <pc:sldMk cId="689766239" sldId="2134804294"/>
            <ac:spMk id="104" creationId="{0326A105-08B6-409E-9596-07BD7645DEAE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5" creationId="{14E36546-3D04-436C-AF02-4204E1709BFE}"/>
          </ac:spMkLst>
        </pc:spChg>
        <pc:spChg chg="mod">
          <ac:chgData name="Andrea Mogollon Nossa (CENIT)" userId="f6a3e592-cc27-4858-b185-ff86be206069" providerId="ADAL" clId="{2CAEC1E3-2241-4370-8FDB-F4FAA904BB83}" dt="2020-06-17T21:15:15.712" v="6275" actId="20577"/>
          <ac:spMkLst>
            <pc:docMk/>
            <pc:sldMk cId="689766239" sldId="2134804294"/>
            <ac:spMk id="106" creationId="{8BF155F6-9EE4-4410-BB22-DEE4B18E9FEF}"/>
          </ac:spMkLst>
        </pc:spChg>
        <pc:spChg chg="mod">
          <ac:chgData name="Andrea Mogollon Nossa (CENIT)" userId="f6a3e592-cc27-4858-b185-ff86be206069" providerId="ADAL" clId="{2CAEC1E3-2241-4370-8FDB-F4FAA904BB83}" dt="2020-06-17T21:15:13.280" v="6273" actId="20577"/>
          <ac:spMkLst>
            <pc:docMk/>
            <pc:sldMk cId="689766239" sldId="2134804294"/>
            <ac:spMk id="107" creationId="{4802A65C-C4BA-49C6-A107-DC404BE5C336}"/>
          </ac:spMkLst>
        </pc:spChg>
        <pc:spChg chg="add mod or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8" creationId="{9A40F502-D75D-4D3F-B8ED-9B85DF8B9C67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9" creationId="{8A9F45B3-7173-469A-A773-F75BF2EE87F9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10" creationId="{1918690C-6A45-489A-956F-1F15E74CDBBD}"/>
          </ac:spMkLst>
        </pc:spChg>
        <pc:spChg chg="mod">
          <ac:chgData name="Andrea Mogollon Nossa (CENIT)" userId="f6a3e592-cc27-4858-b185-ff86be206069" providerId="ADAL" clId="{2CAEC1E3-2241-4370-8FDB-F4FAA904BB83}" dt="2020-06-16T17:11:51.850" v="1590" actId="1076"/>
          <ac:spMkLst>
            <pc:docMk/>
            <pc:sldMk cId="689766239" sldId="2134804294"/>
            <ac:spMk id="140" creationId="{2062ABD7-3E18-481C-BE0F-59304E710CAD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146" creationId="{D86974CC-32BF-439F-A6E2-D1E82520294D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49" creationId="{6C380BA4-35C1-4332-914A-D9BAB399A353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0" creationId="{95A4036D-3FC3-43CB-9298-3B8A996F570C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1" creationId="{82F2EF05-F5E1-44F9-BA83-E53933A9713A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2" creationId="{97BE40F1-2174-4251-B2D5-927A60AC22D4}"/>
          </ac:spMkLst>
        </pc:spChg>
        <pc:spChg chg="del mod">
          <ac:chgData name="Andrea Mogollon Nossa (CENIT)" userId="f6a3e592-cc27-4858-b185-ff86be206069" providerId="ADAL" clId="{2CAEC1E3-2241-4370-8FDB-F4FAA904BB83}" dt="2020-06-17T17:43:45.718" v="4842" actId="478"/>
          <ac:spMkLst>
            <pc:docMk/>
            <pc:sldMk cId="689766239" sldId="2134804294"/>
            <ac:spMk id="153" creationId="{6D1027CA-D4ED-41B3-A42D-9259ED3A176D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4" creationId="{2A087ECA-B500-43A8-99AB-0397E8C89DFE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5" creationId="{D6322CF1-A49E-467A-B762-331C9A3EBBEA}"/>
          </ac:spMkLst>
        </pc:spChg>
        <pc:spChg chg="del mod">
          <ac:chgData name="Andrea Mogollon Nossa (CENIT)" userId="f6a3e592-cc27-4858-b185-ff86be206069" providerId="ADAL" clId="{2CAEC1E3-2241-4370-8FDB-F4FAA904BB83}" dt="2020-06-17T17:43:46.868" v="4844" actId="478"/>
          <ac:spMkLst>
            <pc:docMk/>
            <pc:sldMk cId="689766239" sldId="2134804294"/>
            <ac:spMk id="156" creationId="{B7ACC6A2-1D3D-4980-B9B4-EA9E9EB77787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7" creationId="{C62AB9D5-A511-4120-940F-81B331E56327}"/>
          </ac:spMkLst>
        </pc:spChg>
        <pc:spChg chg="del mod">
          <ac:chgData name="Andrea Mogollon Nossa (CENIT)" userId="f6a3e592-cc27-4858-b185-ff86be206069" providerId="ADAL" clId="{2CAEC1E3-2241-4370-8FDB-F4FAA904BB83}" dt="2020-06-17T17:43:46.273" v="4843" actId="478"/>
          <ac:spMkLst>
            <pc:docMk/>
            <pc:sldMk cId="689766239" sldId="2134804294"/>
            <ac:spMk id="158" creationId="{29062A0E-9DC0-42B5-9A38-6A7430889215}"/>
          </ac:spMkLst>
        </pc:spChg>
        <pc:spChg chg="del mod">
          <ac:chgData name="Andrea Mogollon Nossa (CENIT)" userId="f6a3e592-cc27-4858-b185-ff86be206069" providerId="ADAL" clId="{2CAEC1E3-2241-4370-8FDB-F4FAA904BB83}" dt="2020-06-17T17:43:47.391" v="4845" actId="478"/>
          <ac:spMkLst>
            <pc:docMk/>
            <pc:sldMk cId="689766239" sldId="2134804294"/>
            <ac:spMk id="159" creationId="{4B4AA29D-CC88-45F1-A870-1ADC6DE767B6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60" creationId="{23415F4C-21A3-425D-A623-F9781A2F680E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61" creationId="{2B25826D-EA39-4DDB-AC0F-5252B8221FA1}"/>
          </ac:spMkLst>
        </pc:spChg>
        <pc:spChg chg="del mod">
          <ac:chgData name="Andrea Mogollon Nossa (CENIT)" userId="f6a3e592-cc27-4858-b185-ff86be206069" providerId="ADAL" clId="{2CAEC1E3-2241-4370-8FDB-F4FAA904BB83}" dt="2020-06-17T17:43:47.840" v="4846" actId="478"/>
          <ac:spMkLst>
            <pc:docMk/>
            <pc:sldMk cId="689766239" sldId="2134804294"/>
            <ac:spMk id="162" creationId="{90898057-2BFF-4905-8D7D-A8309C0FDD38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63" creationId="{D7FB9EFB-B8BF-4997-A740-74761B94F867}"/>
          </ac:spMkLst>
        </pc:spChg>
        <pc:spChg chg="del mod">
          <ac:chgData name="Andrea Mogollon Nossa (CENIT)" userId="f6a3e592-cc27-4858-b185-ff86be206069" providerId="ADAL" clId="{2CAEC1E3-2241-4370-8FDB-F4FAA904BB83}" dt="2020-06-17T17:43:48.779" v="4847" actId="478"/>
          <ac:spMkLst>
            <pc:docMk/>
            <pc:sldMk cId="689766239" sldId="2134804294"/>
            <ac:spMk id="164" creationId="{45989E3C-F984-4E4A-9754-029F4362A77A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65" creationId="{5DA3C30B-3C57-4020-B19E-0BC7C9E07C59}"/>
          </ac:spMkLst>
        </pc:spChg>
        <pc:spChg chg="del mod">
          <ac:chgData name="Andrea Mogollon Nossa (CENIT)" userId="f6a3e592-cc27-4858-b185-ff86be206069" providerId="ADAL" clId="{2CAEC1E3-2241-4370-8FDB-F4FAA904BB83}" dt="2020-06-17T17:43:51.565" v="4852" actId="478"/>
          <ac:spMkLst>
            <pc:docMk/>
            <pc:sldMk cId="689766239" sldId="2134804294"/>
            <ac:spMk id="166" creationId="{D58D3B44-51A5-41D4-93FA-BC18F79B30FA}"/>
          </ac:spMkLst>
        </pc:spChg>
        <pc:spChg chg="del mod">
          <ac:chgData name="Andrea Mogollon Nossa (CENIT)" userId="f6a3e592-cc27-4858-b185-ff86be206069" providerId="ADAL" clId="{2CAEC1E3-2241-4370-8FDB-F4FAA904BB83}" dt="2020-06-17T17:43:49.227" v="4848" actId="478"/>
          <ac:spMkLst>
            <pc:docMk/>
            <pc:sldMk cId="689766239" sldId="2134804294"/>
            <ac:spMk id="167" creationId="{895B9FE7-281A-4D3B-A363-85B971887E1C}"/>
          </ac:spMkLst>
        </pc:spChg>
        <pc:spChg chg="del mod">
          <ac:chgData name="Andrea Mogollon Nossa (CENIT)" userId="f6a3e592-cc27-4858-b185-ff86be206069" providerId="ADAL" clId="{2CAEC1E3-2241-4370-8FDB-F4FAA904BB83}" dt="2020-06-17T17:43:49.659" v="4849" actId="478"/>
          <ac:spMkLst>
            <pc:docMk/>
            <pc:sldMk cId="689766239" sldId="2134804294"/>
            <ac:spMk id="168" creationId="{C9C6E52E-C496-4919-A209-17987D94CD48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69" creationId="{A29756DE-96BC-41A3-B1EC-D41A99573878}"/>
          </ac:spMkLst>
        </pc:spChg>
        <pc:spChg chg="del mod">
          <ac:chgData name="Andrea Mogollon Nossa (CENIT)" userId="f6a3e592-cc27-4858-b185-ff86be206069" providerId="ADAL" clId="{2CAEC1E3-2241-4370-8FDB-F4FAA904BB83}" dt="2020-06-17T17:43:50.647" v="4850" actId="478"/>
          <ac:spMkLst>
            <pc:docMk/>
            <pc:sldMk cId="689766239" sldId="2134804294"/>
            <ac:spMk id="170" creationId="{A037A168-B6E0-4BA1-A94D-842E080A47FA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71" creationId="{E9DCBF7B-CFBB-4B8E-83CA-8CB37171508D}"/>
          </ac:spMkLst>
        </pc:spChg>
        <pc:spChg chg="del mod">
          <ac:chgData name="Andrea Mogollon Nossa (CENIT)" userId="f6a3e592-cc27-4858-b185-ff86be206069" providerId="ADAL" clId="{2CAEC1E3-2241-4370-8FDB-F4FAA904BB83}" dt="2020-06-17T17:43:51.116" v="4851" actId="478"/>
          <ac:spMkLst>
            <pc:docMk/>
            <pc:sldMk cId="689766239" sldId="2134804294"/>
            <ac:spMk id="172" creationId="{39687600-E9FD-4B31-A5FE-DA3B3A7DFDC0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85" creationId="{8B3637CA-31A1-4DBA-8C04-67A44B1549FE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86" creationId="{0E211D7E-4773-45B2-A656-28BD766EFD83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87" creationId="{DA463F29-4FA2-4C21-AA9D-A20DB26C4D76}"/>
          </ac:spMkLst>
        </pc:spChg>
        <pc:spChg chg="add mod">
          <ac:chgData name="Andrea Mogollon Nossa (CENIT)" userId="f6a3e592-cc27-4858-b185-ff86be206069" providerId="ADAL" clId="{2CAEC1E3-2241-4370-8FDB-F4FAA904BB83}" dt="2020-06-17T14:09:40.827" v="3044" actId="1076"/>
          <ac:spMkLst>
            <pc:docMk/>
            <pc:sldMk cId="689766239" sldId="2134804294"/>
            <ac:spMk id="188" creationId="{FF7A2263-A063-406E-858B-519AB44EEF98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89" creationId="{50F0361C-6953-4FB5-96E9-9CBABFAAA3FE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0" creationId="{DF9CF04B-EC91-4168-AAEF-B518C70DDFC9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1" creationId="{5A81308C-A10D-42B6-8E59-60A5719ED1A3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2" creationId="{855F5C52-152E-4032-9F84-8B912D77AD7B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3" creationId="{6B4005FC-0F9D-48C4-9F94-95797DB0C8A0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4" creationId="{C4C9E1A0-8046-4A22-A102-5CBE63AA4ACB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5" creationId="{78A839EF-6E80-444F-863B-63663AC32EF2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6" creationId="{4F0D0D47-02D5-49FD-B4B4-FB92111A0952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7" creationId="{F3371CE2-21BD-46C2-8729-CB297C78E2E2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8" creationId="{900F9C52-6F16-4192-8B9A-7F0A56D5E6C9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9" creationId="{0C78CB62-33F4-4038-AE05-D8EC9BA3D8F6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0" creationId="{B797C1A4-976E-4991-A10B-8113A138359A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1" creationId="{FD0CD8AE-A138-466B-85EF-EC365CB83CD4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2" creationId="{F0EA75CE-18E8-4EED-B540-3A9864462364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3" creationId="{AB3565EC-E0C3-4E19-98C8-B49455F0E040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4" creationId="{0A6518E7-639B-475C-B9B4-AAB7DE60A61A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5" creationId="{C8BA1154-F1CA-402D-832C-8C7873637AF4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6" creationId="{61B3D691-2A21-4EE8-9AF0-398D65226B9A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7" creationId="{A1DB1BB0-8E12-421E-AFEE-250C7C23A86B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8" creationId="{2B710EA8-115F-4EA4-92AE-C9E519B130F2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9" creationId="{9A307900-FF26-4646-B201-FE73CAED5349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0" creationId="{7B166C3E-E468-4AA0-BB8E-EF34EDA8B788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1" creationId="{E1955E3B-DC62-4DE7-9E80-D61773053903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2" creationId="{983FCC52-B98D-496B-8EF5-8AFE2B7A7E03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3" creationId="{524D163A-079A-4872-93B1-56C658110F85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4" creationId="{BDD732F3-F81B-4D2F-ACA3-FC2D469202AB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5" creationId="{84CB0E0E-649E-4E71-8779-5822AA9F77BC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6" creationId="{A8FADCC4-F0DC-40FC-8750-A5A663A58566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7" creationId="{4E66E358-C464-4800-8437-AA714D95F7B5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8" creationId="{C5E52055-C162-48B9-A966-698189E26DF3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9" creationId="{FDA931CD-0FA2-425E-B562-28BE3DB82AFC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20" creationId="{D8F94B46-3C91-4247-AB2A-991A1168344C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21" creationId="{EAE992F1-1258-4668-9DDB-EF5C71AE0BF3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2" creationId="{DD973C30-230A-49D8-8079-1604855F7DE3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3" creationId="{9C659D4C-F784-47E0-B96B-9EAB371FAC8C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4" creationId="{5EA43E41-DC89-4249-899F-B62D5D31268A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5" creationId="{1B38E54F-D2C4-48D7-8E66-4D0006BBD8F7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6" creationId="{2F6DBD2B-E3D5-4851-9F96-36768DA0202B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7" creationId="{46C39B70-C0F0-4D5C-AE92-64941801B1FC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8" creationId="{44963480-E080-4765-AC54-577F126544FF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9" creationId="{EF0966C2-0C99-48A0-878A-904712CA4194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0" creationId="{84B4EFD2-53D3-4D08-B607-BE878C299BBF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1" creationId="{99E89184-64B4-4C52-B228-E8313152C17A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2" creationId="{75D8A2E0-995D-4B0F-B317-CD82265F6372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3" creationId="{44712E19-14A1-422C-B360-A67E8FAF4E29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4" creationId="{9A54F4A7-C7AB-44C8-B218-0A3429424B04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5" creationId="{15606857-9140-4CDE-9B0A-443B1A11FDB5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6" creationId="{AFCA9E3D-8AF5-42A1-AEDD-346A1D024BA4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7" creationId="{4B63333A-DDAF-4BAD-8B14-C2732BA8C536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8" creationId="{50AEBB48-9389-4242-B514-5F1C1D9D595D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9" creationId="{ED2065D7-2311-4BDF-A2C6-0EFE0AFE6BFF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0" creationId="{DEF47C99-F164-459A-B4C0-126B6AC2B60F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1" creationId="{E0976D2E-4CF3-4B06-B56B-68F08B0BAB6C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2" creationId="{90477727-68E8-47AF-8A16-7B0FB367457F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3" creationId="{2428866B-5560-48DE-B827-4993D168318E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4" creationId="{A6DC3205-89CF-46C3-803C-6C81031B75F2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5" creationId="{BD1DA7AF-D047-4D52-9145-B3976D938695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6" creationId="{EA5170C2-DB8B-4ECF-8FE5-B341BFE00AD2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7" creationId="{E94F5464-1951-4D6D-A252-244A280F4481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8" creationId="{D082A999-F92D-403F-A972-CC73F7AED6FB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9" creationId="{6629F352-E68A-41C1-85DA-898683185515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50" creationId="{8B284878-1850-4CB9-84A3-8C00F81070AE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51" creationId="{FB21F4ED-43BF-4C0F-93B4-B30925FBB51D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52" creationId="{87DEDE34-9F94-492C-847E-2F682B487BA9}"/>
          </ac:spMkLst>
        </pc:spChg>
        <pc:cxnChg chg="mod">
          <ac:chgData name="Andrea Mogollon Nossa (CENIT)" userId="f6a3e592-cc27-4858-b185-ff86be206069" providerId="ADAL" clId="{2CAEC1E3-2241-4370-8FDB-F4FAA904BB83}" dt="2020-06-16T17:11:49.596" v="1589" actId="1076"/>
          <ac:cxnSpMkLst>
            <pc:docMk/>
            <pc:sldMk cId="689766239" sldId="2134804294"/>
            <ac:cxnSpMk id="95" creationId="{992CCE25-00CE-4C15-881A-068C6B1A3F0E}"/>
          </ac:cxnSpMkLst>
        </pc:cxnChg>
      </pc:sldChg>
      <pc:sldChg chg="del">
        <pc:chgData name="Andrea Mogollon Nossa (CENIT)" userId="f6a3e592-cc27-4858-b185-ff86be206069" providerId="ADAL" clId="{2CAEC1E3-2241-4370-8FDB-F4FAA904BB83}" dt="2020-06-16T22:48:42.994" v="2024" actId="47"/>
        <pc:sldMkLst>
          <pc:docMk/>
          <pc:sldMk cId="1753765174" sldId="2134804296"/>
        </pc:sldMkLst>
      </pc:sldChg>
      <pc:sldChg chg="addSp delSp modSp del mod">
        <pc:chgData name="Andrea Mogollon Nossa (CENIT)" userId="f6a3e592-cc27-4858-b185-ff86be206069" providerId="ADAL" clId="{2CAEC1E3-2241-4370-8FDB-F4FAA904BB83}" dt="2020-06-17T13:06:00.987" v="2736" actId="47"/>
        <pc:sldMkLst>
          <pc:docMk/>
          <pc:sldMk cId="3388165311" sldId="2134804302"/>
        </pc:sldMkLst>
        <pc:spChg chg="add mod">
          <ac:chgData name="Andrea Mogollon Nossa (CENIT)" userId="f6a3e592-cc27-4858-b185-ff86be206069" providerId="ADAL" clId="{2CAEC1E3-2241-4370-8FDB-F4FAA904BB83}" dt="2020-06-16T16:24:26.601" v="889" actId="1076"/>
          <ac:spMkLst>
            <pc:docMk/>
            <pc:sldMk cId="3388165311" sldId="2134804302"/>
            <ac:spMk id="3" creationId="{6F4EF362-8F5C-4DB7-A46A-84A0FCAA4F96}"/>
          </ac:spMkLst>
        </pc:spChg>
        <pc:spChg chg="add mod">
          <ac:chgData name="Andrea Mogollon Nossa (CENIT)" userId="f6a3e592-cc27-4858-b185-ff86be206069" providerId="ADAL" clId="{2CAEC1E3-2241-4370-8FDB-F4FAA904BB83}" dt="2020-06-16T16:25:09.242" v="949" actId="20577"/>
          <ac:spMkLst>
            <pc:docMk/>
            <pc:sldMk cId="3388165311" sldId="2134804302"/>
            <ac:spMk id="32" creationId="{9B55C369-D293-48F6-B6A0-B773FF9FDC63}"/>
          </ac:spMkLst>
        </pc:spChg>
        <pc:spChg chg="add mod">
          <ac:chgData name="Andrea Mogollon Nossa (CENIT)" userId="f6a3e592-cc27-4858-b185-ff86be206069" providerId="ADAL" clId="{2CAEC1E3-2241-4370-8FDB-F4FAA904BB83}" dt="2020-06-16T16:25:48.427" v="953" actId="1076"/>
          <ac:spMkLst>
            <pc:docMk/>
            <pc:sldMk cId="3388165311" sldId="2134804302"/>
            <ac:spMk id="33" creationId="{E4C7E82B-AC80-4CAA-AA72-61D06F816EA4}"/>
          </ac:spMkLst>
        </pc:spChg>
        <pc:spChg chg="del">
          <ac:chgData name="Andrea Mogollon Nossa (CENIT)" userId="f6a3e592-cc27-4858-b185-ff86be206069" providerId="ADAL" clId="{2CAEC1E3-2241-4370-8FDB-F4FAA904BB83}" dt="2020-06-16T16:26:10.572" v="961" actId="478"/>
          <ac:spMkLst>
            <pc:docMk/>
            <pc:sldMk cId="3388165311" sldId="2134804302"/>
            <ac:spMk id="40" creationId="{4DB30DFB-3C1B-4DCA-AF14-0E4E276CAA8D}"/>
          </ac:spMkLst>
        </pc:spChg>
        <pc:spChg chg="mod">
          <ac:chgData name="Andrea Mogollon Nossa (CENIT)" userId="f6a3e592-cc27-4858-b185-ff86be206069" providerId="ADAL" clId="{2CAEC1E3-2241-4370-8FDB-F4FAA904BB83}" dt="2020-06-16T16:26:26.810" v="964" actId="1076"/>
          <ac:spMkLst>
            <pc:docMk/>
            <pc:sldMk cId="3388165311" sldId="2134804302"/>
            <ac:spMk id="41" creationId="{78A18B7E-12EE-486F-B98A-254BD14C13B7}"/>
          </ac:spMkLst>
        </pc:spChg>
        <pc:spChg chg="mod">
          <ac:chgData name="Andrea Mogollon Nossa (CENIT)" userId="f6a3e592-cc27-4858-b185-ff86be206069" providerId="ADAL" clId="{2CAEC1E3-2241-4370-8FDB-F4FAA904BB83}" dt="2020-06-16T16:26:17.916" v="963" actId="1076"/>
          <ac:spMkLst>
            <pc:docMk/>
            <pc:sldMk cId="3388165311" sldId="2134804302"/>
            <ac:spMk id="42" creationId="{A34B4C87-D162-4603-9D0C-8FB7C4E41CF9}"/>
          </ac:spMkLst>
        </pc:spChg>
        <pc:spChg chg="add mod">
          <ac:chgData name="Andrea Mogollon Nossa (CENIT)" userId="f6a3e592-cc27-4858-b185-ff86be206069" providerId="ADAL" clId="{2CAEC1E3-2241-4370-8FDB-F4FAA904BB83}" dt="2020-06-16T16:26:04.065" v="959" actId="1076"/>
          <ac:spMkLst>
            <pc:docMk/>
            <pc:sldMk cId="3388165311" sldId="2134804302"/>
            <ac:spMk id="45" creationId="{E745F92A-63D5-46DF-AEAE-588D4700807F}"/>
          </ac:spMkLst>
        </pc:spChg>
        <pc:spChg chg="del">
          <ac:chgData name="Andrea Mogollon Nossa (CENIT)" userId="f6a3e592-cc27-4858-b185-ff86be206069" providerId="ADAL" clId="{2CAEC1E3-2241-4370-8FDB-F4FAA904BB83}" dt="2020-06-16T16:26:12.423" v="962" actId="478"/>
          <ac:spMkLst>
            <pc:docMk/>
            <pc:sldMk cId="3388165311" sldId="2134804302"/>
            <ac:spMk id="49" creationId="{94FD4B1F-A5D3-49E9-AC61-FE97A4D150D3}"/>
          </ac:spMkLst>
        </pc:spChg>
        <pc:spChg chg="mod">
          <ac:chgData name="Andrea Mogollon Nossa (CENIT)" userId="f6a3e592-cc27-4858-b185-ff86be206069" providerId="ADAL" clId="{2CAEC1E3-2241-4370-8FDB-F4FAA904BB83}" dt="2020-06-16T16:26:33.054" v="968" actId="20577"/>
          <ac:spMkLst>
            <pc:docMk/>
            <pc:sldMk cId="3388165311" sldId="2134804302"/>
            <ac:spMk id="50" creationId="{75D0AB8C-884A-4B76-B942-982A7B0D14FB}"/>
          </ac:spMkLst>
        </pc:spChg>
        <pc:spChg chg="mod">
          <ac:chgData name="Andrea Mogollon Nossa (CENIT)" userId="f6a3e592-cc27-4858-b185-ff86be206069" providerId="ADAL" clId="{2CAEC1E3-2241-4370-8FDB-F4FAA904BB83}" dt="2020-06-16T16:26:17.916" v="963" actId="1076"/>
          <ac:spMkLst>
            <pc:docMk/>
            <pc:sldMk cId="3388165311" sldId="2134804302"/>
            <ac:spMk id="51" creationId="{9700CBF6-ECE0-417F-8990-BE6FF82F08E2}"/>
          </ac:spMkLst>
        </pc:spChg>
        <pc:spChg chg="mod">
          <ac:chgData name="Andrea Mogollon Nossa (CENIT)" userId="f6a3e592-cc27-4858-b185-ff86be206069" providerId="ADAL" clId="{2CAEC1E3-2241-4370-8FDB-F4FAA904BB83}" dt="2020-06-16T16:23:47.740" v="839" actId="13926"/>
          <ac:spMkLst>
            <pc:docMk/>
            <pc:sldMk cId="3388165311" sldId="2134804302"/>
            <ac:spMk id="69" creationId="{D1E61FFC-0E44-46E6-9048-AD5F751B6444}"/>
          </ac:spMkLst>
        </pc:spChg>
        <pc:spChg chg="mod">
          <ac:chgData name="Andrea Mogollon Nossa (CENIT)" userId="f6a3e592-cc27-4858-b185-ff86be206069" providerId="ADAL" clId="{2CAEC1E3-2241-4370-8FDB-F4FAA904BB83}" dt="2020-06-16T16:27:07.737" v="970" actId="20577"/>
          <ac:spMkLst>
            <pc:docMk/>
            <pc:sldMk cId="3388165311" sldId="2134804302"/>
            <ac:spMk id="70" creationId="{B526514C-8B58-41B2-9BC1-CD5F143196F3}"/>
          </ac:spMkLst>
        </pc:spChg>
        <pc:spChg chg="del">
          <ac:chgData name="Andrea Mogollon Nossa (CENIT)" userId="f6a3e592-cc27-4858-b185-ff86be206069" providerId="ADAL" clId="{2CAEC1E3-2241-4370-8FDB-F4FAA904BB83}" dt="2020-06-16T16:26:08.281" v="960" actId="478"/>
          <ac:spMkLst>
            <pc:docMk/>
            <pc:sldMk cId="3388165311" sldId="2134804302"/>
            <ac:spMk id="71" creationId="{90E70C33-107F-42F9-9210-5FD2E74008DA}"/>
          </ac:spMkLst>
        </pc:spChg>
        <pc:spChg chg="mod">
          <ac:chgData name="Andrea Mogollon Nossa (CENIT)" userId="f6a3e592-cc27-4858-b185-ff86be206069" providerId="ADAL" clId="{2CAEC1E3-2241-4370-8FDB-F4FAA904BB83}" dt="2020-06-16T16:27:49.263" v="988" actId="20577"/>
          <ac:spMkLst>
            <pc:docMk/>
            <pc:sldMk cId="3388165311" sldId="2134804302"/>
            <ac:spMk id="74" creationId="{234494BB-5750-4094-A440-F0B642DBA873}"/>
          </ac:spMkLst>
        </pc:spChg>
        <pc:spChg chg="mod">
          <ac:chgData name="Andrea Mogollon Nossa (CENIT)" userId="f6a3e592-cc27-4858-b185-ff86be206069" providerId="ADAL" clId="{2CAEC1E3-2241-4370-8FDB-F4FAA904BB83}" dt="2020-06-16T16:26:17.916" v="963" actId="1076"/>
          <ac:spMkLst>
            <pc:docMk/>
            <pc:sldMk cId="3388165311" sldId="2134804302"/>
            <ac:spMk id="75" creationId="{E8AC9C1F-AAE8-4EAE-A8E1-5D9BCDF464FF}"/>
          </ac:spMkLst>
        </pc:spChg>
        <pc:graphicFrameChg chg="mod">
          <ac:chgData name="Andrea Mogollon Nossa (CENIT)" userId="f6a3e592-cc27-4858-b185-ff86be206069" providerId="ADAL" clId="{2CAEC1E3-2241-4370-8FDB-F4FAA904BB83}" dt="2020-06-16T16:27:46.293" v="986" actId="20577"/>
          <ac:graphicFrameMkLst>
            <pc:docMk/>
            <pc:sldMk cId="3388165311" sldId="2134804302"/>
            <ac:graphicFrameMk id="31" creationId="{082DB4DE-8974-4034-9750-F60450C065B8}"/>
          </ac:graphicFrameMkLst>
        </pc:graphicFrameChg>
      </pc:sldChg>
      <pc:sldChg chg="del">
        <pc:chgData name="Andrea Mogollon Nossa (CENIT)" userId="f6a3e592-cc27-4858-b185-ff86be206069" providerId="ADAL" clId="{2CAEC1E3-2241-4370-8FDB-F4FAA904BB83}" dt="2020-06-17T13:25:42.584" v="2815" actId="47"/>
        <pc:sldMkLst>
          <pc:docMk/>
          <pc:sldMk cId="269391102" sldId="2134804303"/>
        </pc:sldMkLst>
      </pc:sldChg>
      <pc:sldChg chg="delSp modSp del mod">
        <pc:chgData name="Andrea Mogollon Nossa (CENIT)" userId="f6a3e592-cc27-4858-b185-ff86be206069" providerId="ADAL" clId="{2CAEC1E3-2241-4370-8FDB-F4FAA904BB83}" dt="2020-06-17T14:14:48.988" v="3047" actId="47"/>
        <pc:sldMkLst>
          <pc:docMk/>
          <pc:sldMk cId="1437930201" sldId="2134804305"/>
        </pc:sldMkLst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" creationId="{3E81DF00-72F7-483D-86A7-B0742B7B72AA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29" creationId="{7125CC1C-5FDC-4602-9A38-92E508C86779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0" creationId="{973F4DDB-893C-4EE6-BB59-D7584DDBE344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1" creationId="{495631AC-0C47-4D3B-90F6-0FE44D643E39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2" creationId="{B9E51ECF-B493-4F93-8726-818A717D9166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3" creationId="{103BDFFB-8D5D-4034-AE94-47A9DF5DCB76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4" creationId="{6E3CAD53-D658-40EE-AB4E-23403B8F6FEA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5" creationId="{1354E040-9E37-40B3-8E90-388E70E07C12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6" creationId="{4351D72F-F771-468B-9D35-804472761DB1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7" creationId="{C143C958-917B-4574-B784-47CCEE5F4D78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8" creationId="{DCB283D9-E8F8-4D6C-9F82-21FFF4B8860D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9" creationId="{4262DE27-389D-4F8C-8770-2E4D96159086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0" creationId="{888CD73B-EE43-4608-B711-B8B40EF02575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1" creationId="{DA39C026-7069-4B42-BD85-313576DDFB39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2" creationId="{8B0101E6-E02A-40F3-B17F-EED90EE75014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3" creationId="{DC538832-1FE3-4E8C-8CC6-D6F7C6D95F24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4" creationId="{A1F604F9-FE45-4D40-BCA1-DD793F47C130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5" creationId="{10115427-9687-461E-83B6-209293983EBE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6" creationId="{9C1BA4A3-ECCD-405A-BF51-BCA69D7ADD9E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7" creationId="{3D62294D-6FF1-4856-8147-499676392E6C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8" creationId="{98859224-61DD-429B-9347-E2DEF3319C4E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1" creationId="{8905A358-160B-4BB3-9F7B-51D42F4CE7AB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2" creationId="{7E21C2F9-578F-4537-A022-944A17845152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5" creationId="{36B63E54-7A07-43E7-9359-EE0978EE147E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6" creationId="{DE1CE7C4-B5AA-4B0B-8977-276EDE207860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8" creationId="{BB1E2630-A12D-49DC-9D0C-EAD1ADD233B9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9" creationId="{31E235DE-E075-4F32-9EC1-C08BC7C610AB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0" creationId="{F0614BAC-28DD-425C-B2FE-00C6578955EA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2" creationId="{4A24903F-CEEF-445C-8467-4021CBD707E4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3" creationId="{ECC2A5DC-6EB9-4696-A1E0-EDDE391508A2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4" creationId="{49F338AD-2373-43AE-BE92-6C934E9F535F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5" creationId="{AAA19413-97CE-4E50-8AA1-98AEC9E73C02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6" creationId="{9C19960A-BCCE-46BF-A151-E1388F3B6F2C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7" creationId="{47A59C6F-9973-4341-BA36-FAAAB43E4206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8" creationId="{714CDC28-F720-4BA7-B656-522A7E049D12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9" creationId="{FBB0588B-04B5-444D-92B8-330FB0EEF0C0}"/>
          </ac:spMkLst>
        </pc:spChg>
        <pc:spChg chg="del mod">
          <ac:chgData name="Andrea Mogollon Nossa (CENIT)" userId="f6a3e592-cc27-4858-b185-ff86be206069" providerId="ADAL" clId="{2CAEC1E3-2241-4370-8FDB-F4FAA904BB83}" dt="2020-06-17T14:13:12.771" v="3046" actId="478"/>
          <ac:spMkLst>
            <pc:docMk/>
            <pc:sldMk cId="1437930201" sldId="2134804305"/>
            <ac:spMk id="72" creationId="{7B4A64C5-55B6-43C5-A002-87E7DE9FEFBF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75" creationId="{7FB79087-3335-4E8E-A7DC-128FDD92B5EA}"/>
          </ac:spMkLst>
        </pc:spChg>
        <pc:grpChg chg="mod">
          <ac:chgData name="Andrea Mogollon Nossa (CENIT)" userId="f6a3e592-cc27-4858-b185-ff86be206069" providerId="ADAL" clId="{2CAEC1E3-2241-4370-8FDB-F4FAA904BB83}" dt="2020-06-16T17:13:34.878" v="1626" actId="1076"/>
          <ac:grpSpMkLst>
            <pc:docMk/>
            <pc:sldMk cId="1437930201" sldId="2134804305"/>
            <ac:grpSpMk id="6" creationId="{B74CE5C7-9B98-4F51-BACA-2389596C81AC}"/>
          </ac:grpSpMkLst>
        </pc:grpChg>
        <pc:grpChg chg="mod">
          <ac:chgData name="Andrea Mogollon Nossa (CENIT)" userId="f6a3e592-cc27-4858-b185-ff86be206069" providerId="ADAL" clId="{2CAEC1E3-2241-4370-8FDB-F4FAA904BB83}" dt="2020-06-16T17:13:34.878" v="1626" actId="1076"/>
          <ac:grpSpMkLst>
            <pc:docMk/>
            <pc:sldMk cId="1437930201" sldId="2134804305"/>
            <ac:grpSpMk id="7" creationId="{9F8B1301-4B8A-4C7B-B7CF-D6F5AC526A7A}"/>
          </ac:grpSpMkLst>
        </pc:grpChg>
        <pc:graphicFrameChg chg="mod">
          <ac:chgData name="Andrea Mogollon Nossa (CENIT)" userId="f6a3e592-cc27-4858-b185-ff86be206069" providerId="ADAL" clId="{2CAEC1E3-2241-4370-8FDB-F4FAA904BB83}" dt="2020-06-16T17:13:34.878" v="1626" actId="1076"/>
          <ac:graphicFrameMkLst>
            <pc:docMk/>
            <pc:sldMk cId="1437930201" sldId="2134804305"/>
            <ac:graphicFrameMk id="54" creationId="{BAD881DD-0495-48BC-9BEB-E260F0007B2D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7:13:34.878" v="1626" actId="1076"/>
          <ac:graphicFrameMkLst>
            <pc:docMk/>
            <pc:sldMk cId="1437930201" sldId="2134804305"/>
            <ac:graphicFrameMk id="57" creationId="{9064C0F5-8DA3-4E4B-85A3-33DB3472E319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7:13:34.878" v="1626" actId="1076"/>
          <ac:graphicFrameMkLst>
            <pc:docMk/>
            <pc:sldMk cId="1437930201" sldId="2134804305"/>
            <ac:graphicFrameMk id="61" creationId="{703E986E-4E61-4209-A9C7-8B2FF3CA8496}"/>
          </ac:graphicFrameMkLst>
        </pc:graphicFrameChg>
        <pc:cxnChg chg="mod">
          <ac:chgData name="Andrea Mogollon Nossa (CENIT)" userId="f6a3e592-cc27-4858-b185-ff86be206069" providerId="ADAL" clId="{2CAEC1E3-2241-4370-8FDB-F4FAA904BB83}" dt="2020-06-16T17:13:34.878" v="1626" actId="1076"/>
          <ac:cxnSpMkLst>
            <pc:docMk/>
            <pc:sldMk cId="1437930201" sldId="2134804305"/>
            <ac:cxnSpMk id="49" creationId="{486CCA09-F951-4FCD-A971-B862A67A6A98}"/>
          </ac:cxnSpMkLst>
        </pc:cxnChg>
        <pc:cxnChg chg="mod">
          <ac:chgData name="Andrea Mogollon Nossa (CENIT)" userId="f6a3e592-cc27-4858-b185-ff86be206069" providerId="ADAL" clId="{2CAEC1E3-2241-4370-8FDB-F4FAA904BB83}" dt="2020-06-16T17:13:34.878" v="1626" actId="1076"/>
          <ac:cxnSpMkLst>
            <pc:docMk/>
            <pc:sldMk cId="1437930201" sldId="2134804305"/>
            <ac:cxnSpMk id="50" creationId="{4793C5C9-0BE0-4B32-B0ED-31853EF8C5DE}"/>
          </ac:cxnSpMkLst>
        </pc:cxnChg>
      </pc:sldChg>
      <pc:sldChg chg="delSp modSp del mod">
        <pc:chgData name="Andrea Mogollon Nossa (CENIT)" userId="f6a3e592-cc27-4858-b185-ff86be206069" providerId="ADAL" clId="{2CAEC1E3-2241-4370-8FDB-F4FAA904BB83}" dt="2020-06-17T13:06:06.614" v="2737" actId="47"/>
        <pc:sldMkLst>
          <pc:docMk/>
          <pc:sldMk cId="2047688200" sldId="2134804306"/>
        </pc:sldMkLst>
        <pc:spChg chg="del mod">
          <ac:chgData name="Andrea Mogollon Nossa (CENIT)" userId="f6a3e592-cc27-4858-b185-ff86be206069" providerId="ADAL" clId="{2CAEC1E3-2241-4370-8FDB-F4FAA904BB83}" dt="2020-06-16T22:22:16.680" v="2023" actId="478"/>
          <ac:spMkLst>
            <pc:docMk/>
            <pc:sldMk cId="2047688200" sldId="2134804306"/>
            <ac:spMk id="81" creationId="{E12BDE06-5E0D-4104-90BD-A7E69EF59B22}"/>
          </ac:spMkLst>
        </pc:spChg>
      </pc:sldChg>
      <pc:sldChg chg="del">
        <pc:chgData name="Andrea Mogollon Nossa (CENIT)" userId="f6a3e592-cc27-4858-b185-ff86be206069" providerId="ADAL" clId="{2CAEC1E3-2241-4370-8FDB-F4FAA904BB83}" dt="2020-06-17T13:06:08.155" v="2738" actId="47"/>
        <pc:sldMkLst>
          <pc:docMk/>
          <pc:sldMk cId="474409443" sldId="2134804307"/>
        </pc:sldMkLst>
      </pc:sldChg>
      <pc:sldChg chg="addSp delSp modSp new mod">
        <pc:chgData name="Andrea Mogollon Nossa (CENIT)" userId="f6a3e592-cc27-4858-b185-ff86be206069" providerId="ADAL" clId="{2CAEC1E3-2241-4370-8FDB-F4FAA904BB83}" dt="2020-06-16T23:19:00.727" v="2637" actId="20577"/>
        <pc:sldMkLst>
          <pc:docMk/>
          <pc:sldMk cId="2563757368" sldId="2134804308"/>
        </pc:sldMkLst>
        <pc:spChg chg="del">
          <ac:chgData name="Andrea Mogollon Nossa (CENIT)" userId="f6a3e592-cc27-4858-b185-ff86be206069" providerId="ADAL" clId="{2CAEC1E3-2241-4370-8FDB-F4FAA904BB83}" dt="2020-06-16T23:09:45.921" v="2419" actId="478"/>
          <ac:spMkLst>
            <pc:docMk/>
            <pc:sldMk cId="2563757368" sldId="2134804308"/>
            <ac:spMk id="3" creationId="{7C18822C-0FE5-43E2-9F59-9CEBAF89510C}"/>
          </ac:spMkLst>
        </pc:spChg>
        <pc:spChg chg="add mod">
          <ac:chgData name="Andrea Mogollon Nossa (CENIT)" userId="f6a3e592-cc27-4858-b185-ff86be206069" providerId="ADAL" clId="{2CAEC1E3-2241-4370-8FDB-F4FAA904BB83}" dt="2020-06-16T23:10:41.183" v="2437" actId="108"/>
          <ac:spMkLst>
            <pc:docMk/>
            <pc:sldMk cId="2563757368" sldId="2134804308"/>
            <ac:spMk id="4" creationId="{2CB156C4-E600-4A66-8FF1-40D0D01DBFB3}"/>
          </ac:spMkLst>
        </pc:spChg>
        <pc:spChg chg="add mod">
          <ac:chgData name="Andrea Mogollon Nossa (CENIT)" userId="f6a3e592-cc27-4858-b185-ff86be206069" providerId="ADAL" clId="{2CAEC1E3-2241-4370-8FDB-F4FAA904BB83}" dt="2020-06-16T23:10:44.762" v="2438" actId="108"/>
          <ac:spMkLst>
            <pc:docMk/>
            <pc:sldMk cId="2563757368" sldId="2134804308"/>
            <ac:spMk id="5" creationId="{2D3A3965-3A26-4BC3-B278-4D79AA8917B8}"/>
          </ac:spMkLst>
        </pc:spChg>
        <pc:spChg chg="add mod">
          <ac:chgData name="Andrea Mogollon Nossa (CENIT)" userId="f6a3e592-cc27-4858-b185-ff86be206069" providerId="ADAL" clId="{2CAEC1E3-2241-4370-8FDB-F4FAA904BB83}" dt="2020-06-16T23:10:46.783" v="2439" actId="108"/>
          <ac:spMkLst>
            <pc:docMk/>
            <pc:sldMk cId="2563757368" sldId="2134804308"/>
            <ac:spMk id="6" creationId="{59FF8909-C72A-47FE-8FC7-7CD8166AD6D3}"/>
          </ac:spMkLst>
        </pc:spChg>
        <pc:spChg chg="add mod">
          <ac:chgData name="Andrea Mogollon Nossa (CENIT)" userId="f6a3e592-cc27-4858-b185-ff86be206069" providerId="ADAL" clId="{2CAEC1E3-2241-4370-8FDB-F4FAA904BB83}" dt="2020-06-16T23:10:53.665" v="2441" actId="108"/>
          <ac:spMkLst>
            <pc:docMk/>
            <pc:sldMk cId="2563757368" sldId="2134804308"/>
            <ac:spMk id="7" creationId="{5E0BD821-795D-4A38-A805-A9DDD9BA4806}"/>
          </ac:spMkLst>
        </pc:spChg>
        <pc:spChg chg="add mod">
          <ac:chgData name="Andrea Mogollon Nossa (CENIT)" userId="f6a3e592-cc27-4858-b185-ff86be206069" providerId="ADAL" clId="{2CAEC1E3-2241-4370-8FDB-F4FAA904BB83}" dt="2020-06-16T23:10:55.629" v="2442" actId="108"/>
          <ac:spMkLst>
            <pc:docMk/>
            <pc:sldMk cId="2563757368" sldId="2134804308"/>
            <ac:spMk id="8" creationId="{BD2682F8-1D6B-44D2-BB66-42A57A795C11}"/>
          </ac:spMkLst>
        </pc:spChg>
        <pc:spChg chg="add del mod">
          <ac:chgData name="Andrea Mogollon Nossa (CENIT)" userId="f6a3e592-cc27-4858-b185-ff86be206069" providerId="ADAL" clId="{2CAEC1E3-2241-4370-8FDB-F4FAA904BB83}" dt="2020-06-16T23:08:51.233" v="2409" actId="478"/>
          <ac:spMkLst>
            <pc:docMk/>
            <pc:sldMk cId="2563757368" sldId="2134804308"/>
            <ac:spMk id="9" creationId="{D0085BAD-6016-47D2-A009-144213AD2A7F}"/>
          </ac:spMkLst>
        </pc:spChg>
        <pc:spChg chg="add mod">
          <ac:chgData name="Andrea Mogollon Nossa (CENIT)" userId="f6a3e592-cc27-4858-b185-ff86be206069" providerId="ADAL" clId="{2CAEC1E3-2241-4370-8FDB-F4FAA904BB83}" dt="2020-06-16T23:10:41.183" v="2437" actId="108"/>
          <ac:spMkLst>
            <pc:docMk/>
            <pc:sldMk cId="2563757368" sldId="2134804308"/>
            <ac:spMk id="10" creationId="{46AC7E4D-4059-4085-BE95-71AAE8236283}"/>
          </ac:spMkLst>
        </pc:spChg>
        <pc:spChg chg="add mod">
          <ac:chgData name="Andrea Mogollon Nossa (CENIT)" userId="f6a3e592-cc27-4858-b185-ff86be206069" providerId="ADAL" clId="{2CAEC1E3-2241-4370-8FDB-F4FAA904BB83}" dt="2020-06-16T23:10:59.584" v="2444" actId="108"/>
          <ac:spMkLst>
            <pc:docMk/>
            <pc:sldMk cId="2563757368" sldId="2134804308"/>
            <ac:spMk id="11" creationId="{3DE5B17A-8F51-48E2-8B97-77DA0C53BDF3}"/>
          </ac:spMkLst>
        </pc:spChg>
        <pc:spChg chg="add mod">
          <ac:chgData name="Andrea Mogollon Nossa (CENIT)" userId="f6a3e592-cc27-4858-b185-ff86be206069" providerId="ADAL" clId="{2CAEC1E3-2241-4370-8FDB-F4FAA904BB83}" dt="2020-06-16T23:10:57.777" v="2443" actId="108"/>
          <ac:spMkLst>
            <pc:docMk/>
            <pc:sldMk cId="2563757368" sldId="2134804308"/>
            <ac:spMk id="12" creationId="{5D0CBD00-2033-4480-89F9-A8EBA307D9B1}"/>
          </ac:spMkLst>
        </pc:spChg>
        <pc:spChg chg="add mod">
          <ac:chgData name="Andrea Mogollon Nossa (CENIT)" userId="f6a3e592-cc27-4858-b185-ff86be206069" providerId="ADAL" clId="{2CAEC1E3-2241-4370-8FDB-F4FAA904BB83}" dt="2020-06-16T23:09:46.238" v="2420"/>
          <ac:spMkLst>
            <pc:docMk/>
            <pc:sldMk cId="2563757368" sldId="2134804308"/>
            <ac:spMk id="13" creationId="{D94DB474-A4DE-45FE-9DC8-50C2BF2F3AC8}"/>
          </ac:spMkLst>
        </pc:spChg>
        <pc:spChg chg="add mod">
          <ac:chgData name="Andrea Mogollon Nossa (CENIT)" userId="f6a3e592-cc27-4858-b185-ff86be206069" providerId="ADAL" clId="{2CAEC1E3-2241-4370-8FDB-F4FAA904BB83}" dt="2020-06-16T23:17:36.868" v="2574" actId="20577"/>
          <ac:spMkLst>
            <pc:docMk/>
            <pc:sldMk cId="2563757368" sldId="2134804308"/>
            <ac:spMk id="14" creationId="{61FEAB6A-FE76-49BE-BFCB-53669A4458F2}"/>
          </ac:spMkLst>
        </pc:spChg>
        <pc:spChg chg="add mod">
          <ac:chgData name="Andrea Mogollon Nossa (CENIT)" userId="f6a3e592-cc27-4858-b185-ff86be206069" providerId="ADAL" clId="{2CAEC1E3-2241-4370-8FDB-F4FAA904BB83}" dt="2020-06-16T23:17:45.549" v="2577" actId="20577"/>
          <ac:spMkLst>
            <pc:docMk/>
            <pc:sldMk cId="2563757368" sldId="2134804308"/>
            <ac:spMk id="15" creationId="{898AE2C5-4234-4DC2-9AF1-D6E3224C9435}"/>
          </ac:spMkLst>
        </pc:spChg>
        <pc:spChg chg="add mod">
          <ac:chgData name="Andrea Mogollon Nossa (CENIT)" userId="f6a3e592-cc27-4858-b185-ff86be206069" providerId="ADAL" clId="{2CAEC1E3-2241-4370-8FDB-F4FAA904BB83}" dt="2020-06-16T23:17:47.463" v="2578" actId="20577"/>
          <ac:spMkLst>
            <pc:docMk/>
            <pc:sldMk cId="2563757368" sldId="2134804308"/>
            <ac:spMk id="16" creationId="{5CE99B8A-98AA-4F33-A914-11B2F707C23E}"/>
          </ac:spMkLst>
        </pc:spChg>
        <pc:spChg chg="add mod">
          <ac:chgData name="Andrea Mogollon Nossa (CENIT)" userId="f6a3e592-cc27-4858-b185-ff86be206069" providerId="ADAL" clId="{2CAEC1E3-2241-4370-8FDB-F4FAA904BB83}" dt="2020-06-16T23:17:50.649" v="2579" actId="6549"/>
          <ac:spMkLst>
            <pc:docMk/>
            <pc:sldMk cId="2563757368" sldId="2134804308"/>
            <ac:spMk id="17" creationId="{0717619D-886E-4428-BAC5-120137D1C665}"/>
          </ac:spMkLst>
        </pc:spChg>
        <pc:spChg chg="add mod">
          <ac:chgData name="Andrea Mogollon Nossa (CENIT)" userId="f6a3e592-cc27-4858-b185-ff86be206069" providerId="ADAL" clId="{2CAEC1E3-2241-4370-8FDB-F4FAA904BB83}" dt="2020-06-16T23:17:53.221" v="2580" actId="6549"/>
          <ac:spMkLst>
            <pc:docMk/>
            <pc:sldMk cId="2563757368" sldId="2134804308"/>
            <ac:spMk id="18" creationId="{C4A98803-B62A-4CE1-9121-D1B553271BEA}"/>
          </ac:spMkLst>
        </pc:spChg>
        <pc:spChg chg="add mod">
          <ac:chgData name="Andrea Mogollon Nossa (CENIT)" userId="f6a3e592-cc27-4858-b185-ff86be206069" providerId="ADAL" clId="{2CAEC1E3-2241-4370-8FDB-F4FAA904BB83}" dt="2020-06-16T23:17:55.242" v="2581" actId="20577"/>
          <ac:spMkLst>
            <pc:docMk/>
            <pc:sldMk cId="2563757368" sldId="2134804308"/>
            <ac:spMk id="19" creationId="{170CB77E-534B-4FAB-8977-54A5ECED0DEB}"/>
          </ac:spMkLst>
        </pc:spChg>
        <pc:spChg chg="add mod">
          <ac:chgData name="Andrea Mogollon Nossa (CENIT)" userId="f6a3e592-cc27-4858-b185-ff86be206069" providerId="ADAL" clId="{2CAEC1E3-2241-4370-8FDB-F4FAA904BB83}" dt="2020-06-16T23:17:57.825" v="2582" actId="6549"/>
          <ac:spMkLst>
            <pc:docMk/>
            <pc:sldMk cId="2563757368" sldId="2134804308"/>
            <ac:spMk id="20" creationId="{694FC483-9015-40E6-BA78-039126E53C27}"/>
          </ac:spMkLst>
        </pc:spChg>
        <pc:spChg chg="add mod">
          <ac:chgData name="Andrea Mogollon Nossa (CENIT)" userId="f6a3e592-cc27-4858-b185-ff86be206069" providerId="ADAL" clId="{2CAEC1E3-2241-4370-8FDB-F4FAA904BB83}" dt="2020-06-16T23:17:43.469" v="2576" actId="20577"/>
          <ac:spMkLst>
            <pc:docMk/>
            <pc:sldMk cId="2563757368" sldId="2134804308"/>
            <ac:spMk id="21" creationId="{C2726D1A-A52B-454F-98A2-8987B0D343DE}"/>
          </ac:spMkLst>
        </pc:spChg>
        <pc:spChg chg="add mod">
          <ac:chgData name="Andrea Mogollon Nossa (CENIT)" userId="f6a3e592-cc27-4858-b185-ff86be206069" providerId="ADAL" clId="{2CAEC1E3-2241-4370-8FDB-F4FAA904BB83}" dt="2020-06-16T23:18:33.976" v="2602" actId="20577"/>
          <ac:spMkLst>
            <pc:docMk/>
            <pc:sldMk cId="2563757368" sldId="2134804308"/>
            <ac:spMk id="22" creationId="{DEDA060D-CBF9-4752-9363-398F4CD9EE01}"/>
          </ac:spMkLst>
        </pc:spChg>
        <pc:spChg chg="add mod">
          <ac:chgData name="Andrea Mogollon Nossa (CENIT)" userId="f6a3e592-cc27-4858-b185-ff86be206069" providerId="ADAL" clId="{2CAEC1E3-2241-4370-8FDB-F4FAA904BB83}" dt="2020-06-16T23:18:37.152" v="2606" actId="20577"/>
          <ac:spMkLst>
            <pc:docMk/>
            <pc:sldMk cId="2563757368" sldId="2134804308"/>
            <ac:spMk id="23" creationId="{28BCAAC5-8FE7-49D5-9325-0F9C46D44E85}"/>
          </ac:spMkLst>
        </pc:spChg>
        <pc:spChg chg="add mod">
          <ac:chgData name="Andrea Mogollon Nossa (CENIT)" userId="f6a3e592-cc27-4858-b185-ff86be206069" providerId="ADAL" clId="{2CAEC1E3-2241-4370-8FDB-F4FAA904BB83}" dt="2020-06-16T23:18:41.403" v="2614" actId="20577"/>
          <ac:spMkLst>
            <pc:docMk/>
            <pc:sldMk cId="2563757368" sldId="2134804308"/>
            <ac:spMk id="24" creationId="{D8045A6D-2F77-48AF-8529-0F5CD4535798}"/>
          </ac:spMkLst>
        </pc:spChg>
        <pc:spChg chg="add mod">
          <ac:chgData name="Andrea Mogollon Nossa (CENIT)" userId="f6a3e592-cc27-4858-b185-ff86be206069" providerId="ADAL" clId="{2CAEC1E3-2241-4370-8FDB-F4FAA904BB83}" dt="2020-06-16T23:18:46.282" v="2619" actId="1076"/>
          <ac:spMkLst>
            <pc:docMk/>
            <pc:sldMk cId="2563757368" sldId="2134804308"/>
            <ac:spMk id="25" creationId="{20C1FF16-22A3-4AB1-888B-8157FC3583CD}"/>
          </ac:spMkLst>
        </pc:spChg>
        <pc:spChg chg="add mod">
          <ac:chgData name="Andrea Mogollon Nossa (CENIT)" userId="f6a3e592-cc27-4858-b185-ff86be206069" providerId="ADAL" clId="{2CAEC1E3-2241-4370-8FDB-F4FAA904BB83}" dt="2020-06-16T23:18:54.339" v="2629" actId="20577"/>
          <ac:spMkLst>
            <pc:docMk/>
            <pc:sldMk cId="2563757368" sldId="2134804308"/>
            <ac:spMk id="26" creationId="{C21242C1-564B-43A8-BBAB-A5AD347F59C1}"/>
          </ac:spMkLst>
        </pc:spChg>
        <pc:spChg chg="add mod">
          <ac:chgData name="Andrea Mogollon Nossa (CENIT)" userId="f6a3e592-cc27-4858-b185-ff86be206069" providerId="ADAL" clId="{2CAEC1E3-2241-4370-8FDB-F4FAA904BB83}" dt="2020-06-16T23:18:56.687" v="2633" actId="20577"/>
          <ac:spMkLst>
            <pc:docMk/>
            <pc:sldMk cId="2563757368" sldId="2134804308"/>
            <ac:spMk id="27" creationId="{585F7416-241D-4B0C-9474-8C02992B82B7}"/>
          </ac:spMkLst>
        </pc:spChg>
        <pc:spChg chg="add mod">
          <ac:chgData name="Andrea Mogollon Nossa (CENIT)" userId="f6a3e592-cc27-4858-b185-ff86be206069" providerId="ADAL" clId="{2CAEC1E3-2241-4370-8FDB-F4FAA904BB83}" dt="2020-06-16T23:19:00.727" v="2637" actId="20577"/>
          <ac:spMkLst>
            <pc:docMk/>
            <pc:sldMk cId="2563757368" sldId="2134804308"/>
            <ac:spMk id="28" creationId="{CD9194B2-AE5E-4E38-B12A-440C1EBF1026}"/>
          </ac:spMkLst>
        </pc:spChg>
        <pc:spChg chg="add mod">
          <ac:chgData name="Andrea Mogollon Nossa (CENIT)" userId="f6a3e592-cc27-4858-b185-ff86be206069" providerId="ADAL" clId="{2CAEC1E3-2241-4370-8FDB-F4FAA904BB83}" dt="2020-06-16T23:18:39.288" v="2610" actId="20577"/>
          <ac:spMkLst>
            <pc:docMk/>
            <pc:sldMk cId="2563757368" sldId="2134804308"/>
            <ac:spMk id="29" creationId="{D3F2BE4E-801D-4772-814C-1130441326E8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7T21:36:22.358" v="6505" actId="313"/>
        <pc:sldMkLst>
          <pc:docMk/>
          <pc:sldMk cId="1881171097" sldId="2134804309"/>
        </pc:sldMkLst>
        <pc:spChg chg="mod">
          <ac:chgData name="Andrea Mogollon Nossa (CENIT)" userId="f6a3e592-cc27-4858-b185-ff86be206069" providerId="ADAL" clId="{2CAEC1E3-2241-4370-8FDB-F4FAA904BB83}" dt="2020-06-17T21:25:56.852" v="6396" actId="20577"/>
          <ac:spMkLst>
            <pc:docMk/>
            <pc:sldMk cId="1881171097" sldId="2134804309"/>
            <ac:spMk id="4" creationId="{4E416E0B-B198-4FBD-9A5E-87C11F598EB2}"/>
          </ac:spMkLst>
        </pc:spChg>
        <pc:spChg chg="mod">
          <ac:chgData name="Andrea Mogollon Nossa (CENIT)" userId="f6a3e592-cc27-4858-b185-ff86be206069" providerId="ADAL" clId="{2CAEC1E3-2241-4370-8FDB-F4FAA904BB83}" dt="2020-06-17T21:36:22.358" v="6505" actId="313"/>
          <ac:spMkLst>
            <pc:docMk/>
            <pc:sldMk cId="1881171097" sldId="2134804309"/>
            <ac:spMk id="5" creationId="{6E9A1754-20A7-4B35-82A8-CAADFE6AA79E}"/>
          </ac:spMkLst>
        </pc:spChg>
        <pc:spChg chg="mod">
          <ac:chgData name="Andrea Mogollon Nossa (CENIT)" userId="f6a3e592-cc27-4858-b185-ff86be206069" providerId="ADAL" clId="{2CAEC1E3-2241-4370-8FDB-F4FAA904BB83}" dt="2020-06-17T13:30:01.518" v="2846" actId="20577"/>
          <ac:spMkLst>
            <pc:docMk/>
            <pc:sldMk cId="1881171097" sldId="2134804309"/>
            <ac:spMk id="10" creationId="{A192B800-F5BA-4DF6-AD24-3F9707FAC6B5}"/>
          </ac:spMkLst>
        </pc:spChg>
        <pc:spChg chg="mod">
          <ac:chgData name="Andrea Mogollon Nossa (CENIT)" userId="f6a3e592-cc27-4858-b185-ff86be206069" providerId="ADAL" clId="{2CAEC1E3-2241-4370-8FDB-F4FAA904BB83}" dt="2020-06-17T13:30:53.473" v="2861" actId="1076"/>
          <ac:spMkLst>
            <pc:docMk/>
            <pc:sldMk cId="1881171097" sldId="2134804309"/>
            <ac:spMk id="23" creationId="{19DB4BE3-5133-4C05-9DFC-C8E8F930E13A}"/>
          </ac:spMkLst>
        </pc:spChg>
        <pc:spChg chg="mod">
          <ac:chgData name="Andrea Mogollon Nossa (CENIT)" userId="f6a3e592-cc27-4858-b185-ff86be206069" providerId="ADAL" clId="{2CAEC1E3-2241-4370-8FDB-F4FAA904BB83}" dt="2020-06-17T13:31:38.434" v="2867" actId="1076"/>
          <ac:spMkLst>
            <pc:docMk/>
            <pc:sldMk cId="1881171097" sldId="2134804309"/>
            <ac:spMk id="24" creationId="{389B18D5-C39A-47EE-B3A9-7DEE4189E676}"/>
          </ac:spMkLst>
        </pc:spChg>
        <pc:spChg chg="mod">
          <ac:chgData name="Andrea Mogollon Nossa (CENIT)" userId="f6a3e592-cc27-4858-b185-ff86be206069" providerId="ADAL" clId="{2CAEC1E3-2241-4370-8FDB-F4FAA904BB83}" dt="2020-06-17T13:31:42.562" v="2868" actId="1076"/>
          <ac:spMkLst>
            <pc:docMk/>
            <pc:sldMk cId="1881171097" sldId="2134804309"/>
            <ac:spMk id="25" creationId="{52048D91-45AA-408F-9D1F-D2E9F2D37210}"/>
          </ac:spMkLst>
        </pc:spChg>
        <pc:spChg chg="mod">
          <ac:chgData name="Andrea Mogollon Nossa (CENIT)" userId="f6a3e592-cc27-4858-b185-ff86be206069" providerId="ADAL" clId="{2CAEC1E3-2241-4370-8FDB-F4FAA904BB83}" dt="2020-06-17T13:32:00.956" v="2871" actId="14100"/>
          <ac:spMkLst>
            <pc:docMk/>
            <pc:sldMk cId="1881171097" sldId="2134804309"/>
            <ac:spMk id="27" creationId="{626ADC92-4AB0-48C8-94D3-787A8F6B3965}"/>
          </ac:spMkLst>
        </pc:spChg>
        <pc:spChg chg="mod">
          <ac:chgData name="Andrea Mogollon Nossa (CENIT)" userId="f6a3e592-cc27-4858-b185-ff86be206069" providerId="ADAL" clId="{2CAEC1E3-2241-4370-8FDB-F4FAA904BB83}" dt="2020-06-17T13:31:30.923" v="2864" actId="1076"/>
          <ac:spMkLst>
            <pc:docMk/>
            <pc:sldMk cId="1881171097" sldId="2134804309"/>
            <ac:spMk id="58" creationId="{9E214831-F319-484B-878F-CC814AD0E45E}"/>
          </ac:spMkLst>
        </pc:spChg>
        <pc:spChg chg="mod">
          <ac:chgData name="Andrea Mogollon Nossa (CENIT)" userId="f6a3e592-cc27-4858-b185-ff86be206069" providerId="ADAL" clId="{2CAEC1E3-2241-4370-8FDB-F4FAA904BB83}" dt="2020-06-17T13:26:55.946" v="2819" actId="1076"/>
          <ac:spMkLst>
            <pc:docMk/>
            <pc:sldMk cId="1881171097" sldId="2134804309"/>
            <ac:spMk id="59" creationId="{BE3F100C-50B3-4F15-9903-FB21CD00628E}"/>
          </ac:spMkLst>
        </pc:spChg>
        <pc:spChg chg="mod">
          <ac:chgData name="Andrea Mogollon Nossa (CENIT)" userId="f6a3e592-cc27-4858-b185-ff86be206069" providerId="ADAL" clId="{2CAEC1E3-2241-4370-8FDB-F4FAA904BB83}" dt="2020-06-17T13:27:16.241" v="2823" actId="1076"/>
          <ac:spMkLst>
            <pc:docMk/>
            <pc:sldMk cId="1881171097" sldId="2134804309"/>
            <ac:spMk id="60" creationId="{2F47BFE6-652B-4A11-A467-141CEABC6BB5}"/>
          </ac:spMkLst>
        </pc:spChg>
        <pc:spChg chg="mod">
          <ac:chgData name="Andrea Mogollon Nossa (CENIT)" userId="f6a3e592-cc27-4858-b185-ff86be206069" providerId="ADAL" clId="{2CAEC1E3-2241-4370-8FDB-F4FAA904BB83}" dt="2020-06-17T13:27:12.265" v="2822" actId="1076"/>
          <ac:spMkLst>
            <pc:docMk/>
            <pc:sldMk cId="1881171097" sldId="2134804309"/>
            <ac:spMk id="61" creationId="{36328718-1AD9-4A1D-AD92-CA23A630214F}"/>
          </ac:spMkLst>
        </pc:spChg>
        <pc:spChg chg="mod">
          <ac:chgData name="Andrea Mogollon Nossa (CENIT)" userId="f6a3e592-cc27-4858-b185-ff86be206069" providerId="ADAL" clId="{2CAEC1E3-2241-4370-8FDB-F4FAA904BB83}" dt="2020-06-17T13:27:05.011" v="2821" actId="1076"/>
          <ac:spMkLst>
            <pc:docMk/>
            <pc:sldMk cId="1881171097" sldId="2134804309"/>
            <ac:spMk id="62" creationId="{89D5887B-F59D-488C-ABC2-49882027020C}"/>
          </ac:spMkLst>
        </pc:spChg>
        <pc:spChg chg="mod">
          <ac:chgData name="Andrea Mogollon Nossa (CENIT)" userId="f6a3e592-cc27-4858-b185-ff86be206069" providerId="ADAL" clId="{2CAEC1E3-2241-4370-8FDB-F4FAA904BB83}" dt="2020-06-17T13:31:30.923" v="2864" actId="1076"/>
          <ac:spMkLst>
            <pc:docMk/>
            <pc:sldMk cId="1881171097" sldId="2134804309"/>
            <ac:spMk id="63" creationId="{374BF4F6-A8B2-4663-84A5-7564A6B6BE76}"/>
          </ac:spMkLst>
        </pc:spChg>
        <pc:spChg chg="mod">
          <ac:chgData name="Andrea Mogollon Nossa (CENIT)" userId="f6a3e592-cc27-4858-b185-ff86be206069" providerId="ADAL" clId="{2CAEC1E3-2241-4370-8FDB-F4FAA904BB83}" dt="2020-06-17T13:28:43.235" v="2830" actId="1076"/>
          <ac:spMkLst>
            <pc:docMk/>
            <pc:sldMk cId="1881171097" sldId="2134804309"/>
            <ac:spMk id="64" creationId="{C5E7E4EB-F106-4781-B7BA-2EE2E258AF62}"/>
          </ac:spMkLst>
        </pc:spChg>
        <pc:spChg chg="mod">
          <ac:chgData name="Andrea Mogollon Nossa (CENIT)" userId="f6a3e592-cc27-4858-b185-ff86be206069" providerId="ADAL" clId="{2CAEC1E3-2241-4370-8FDB-F4FAA904BB83}" dt="2020-06-17T13:32:08.162" v="2873" actId="1076"/>
          <ac:spMkLst>
            <pc:docMk/>
            <pc:sldMk cId="1881171097" sldId="2134804309"/>
            <ac:spMk id="65" creationId="{3AB53F82-6278-4D35-87FA-B760C5ACA7CC}"/>
          </ac:spMkLst>
        </pc:spChg>
        <pc:spChg chg="mod">
          <ac:chgData name="Andrea Mogollon Nossa (CENIT)" userId="f6a3e592-cc27-4858-b185-ff86be206069" providerId="ADAL" clId="{2CAEC1E3-2241-4370-8FDB-F4FAA904BB83}" dt="2020-06-17T13:29:20.098" v="2837" actId="1076"/>
          <ac:spMkLst>
            <pc:docMk/>
            <pc:sldMk cId="1881171097" sldId="2134804309"/>
            <ac:spMk id="66" creationId="{985BCC26-C4E2-4E5F-98E2-17B1D4970605}"/>
          </ac:spMkLst>
        </pc:spChg>
        <pc:spChg chg="mod">
          <ac:chgData name="Andrea Mogollon Nossa (CENIT)" userId="f6a3e592-cc27-4858-b185-ff86be206069" providerId="ADAL" clId="{2CAEC1E3-2241-4370-8FDB-F4FAA904BB83}" dt="2020-06-17T13:31:57.929" v="2870" actId="14100"/>
          <ac:spMkLst>
            <pc:docMk/>
            <pc:sldMk cId="1881171097" sldId="2134804309"/>
            <ac:spMk id="67" creationId="{0B609A71-0C9E-44AA-A60D-A49754DFA355}"/>
          </ac:spMkLst>
        </pc:spChg>
        <pc:spChg chg="mod">
          <ac:chgData name="Andrea Mogollon Nossa (CENIT)" userId="f6a3e592-cc27-4858-b185-ff86be206069" providerId="ADAL" clId="{2CAEC1E3-2241-4370-8FDB-F4FAA904BB83}" dt="2020-06-17T20:04:40.143" v="5577" actId="20577"/>
          <ac:spMkLst>
            <pc:docMk/>
            <pc:sldMk cId="1881171097" sldId="2134804309"/>
            <ac:spMk id="70" creationId="{174EEA1B-56BF-43B0-AD0F-9422D850ED90}"/>
          </ac:spMkLst>
        </pc:spChg>
        <pc:spChg chg="mod">
          <ac:chgData name="Andrea Mogollon Nossa (CENIT)" userId="f6a3e592-cc27-4858-b185-ff86be206069" providerId="ADAL" clId="{2CAEC1E3-2241-4370-8FDB-F4FAA904BB83}" dt="2020-06-17T13:19:58.609" v="2779" actId="14100"/>
          <ac:spMkLst>
            <pc:docMk/>
            <pc:sldMk cId="1881171097" sldId="2134804309"/>
            <ac:spMk id="71" creationId="{BC07B333-2990-47FE-BD43-8FDF5587ED98}"/>
          </ac:spMkLst>
        </pc:spChg>
        <pc:spChg chg="mod">
          <ac:chgData name="Andrea Mogollon Nossa (CENIT)" userId="f6a3e592-cc27-4858-b185-ff86be206069" providerId="ADAL" clId="{2CAEC1E3-2241-4370-8FDB-F4FAA904BB83}" dt="2020-06-17T13:21:03.747" v="2793" actId="14100"/>
          <ac:spMkLst>
            <pc:docMk/>
            <pc:sldMk cId="1881171097" sldId="2134804309"/>
            <ac:spMk id="72" creationId="{07300B76-F7DA-4C54-81BE-87BD0E3501A2}"/>
          </ac:spMkLst>
        </pc:spChg>
        <pc:spChg chg="mod">
          <ac:chgData name="Andrea Mogollon Nossa (CENIT)" userId="f6a3e592-cc27-4858-b185-ff86be206069" providerId="ADAL" clId="{2CAEC1E3-2241-4370-8FDB-F4FAA904BB83}" dt="2020-06-17T13:32:08.162" v="2873" actId="1076"/>
          <ac:spMkLst>
            <pc:docMk/>
            <pc:sldMk cId="1881171097" sldId="2134804309"/>
            <ac:spMk id="73" creationId="{AF0C32C2-C6CF-4F2E-8207-CBC53BB5AFCC}"/>
          </ac:spMkLst>
        </pc:spChg>
        <pc:spChg chg="mod">
          <ac:chgData name="Andrea Mogollon Nossa (CENIT)" userId="f6a3e592-cc27-4858-b185-ff86be206069" providerId="ADAL" clId="{2CAEC1E3-2241-4370-8FDB-F4FAA904BB83}" dt="2020-06-17T13:20:46.929" v="2788" actId="1076"/>
          <ac:spMkLst>
            <pc:docMk/>
            <pc:sldMk cId="1881171097" sldId="2134804309"/>
            <ac:spMk id="74" creationId="{044D154E-124C-451E-A67B-8A00C55BEF8B}"/>
          </ac:spMkLst>
        </pc:spChg>
        <pc:spChg chg="mod">
          <ac:chgData name="Andrea Mogollon Nossa (CENIT)" userId="f6a3e592-cc27-4858-b185-ff86be206069" providerId="ADAL" clId="{2CAEC1E3-2241-4370-8FDB-F4FAA904BB83}" dt="2020-06-17T13:20:50.043" v="2789" actId="1076"/>
          <ac:spMkLst>
            <pc:docMk/>
            <pc:sldMk cId="1881171097" sldId="2134804309"/>
            <ac:spMk id="75" creationId="{11A62AE7-512B-4427-88F3-27458EBDAC40}"/>
          </ac:spMkLst>
        </pc:spChg>
        <pc:spChg chg="mod">
          <ac:chgData name="Andrea Mogollon Nossa (CENIT)" userId="f6a3e592-cc27-4858-b185-ff86be206069" providerId="ADAL" clId="{2CAEC1E3-2241-4370-8FDB-F4FAA904BB83}" dt="2020-06-17T20:04:43.908" v="5579" actId="20577"/>
          <ac:spMkLst>
            <pc:docMk/>
            <pc:sldMk cId="1881171097" sldId="2134804309"/>
            <ac:spMk id="76" creationId="{68D0324B-6F93-4628-91B6-C79861BBE01F}"/>
          </ac:spMkLst>
        </pc:spChg>
        <pc:spChg chg="mod">
          <ac:chgData name="Andrea Mogollon Nossa (CENIT)" userId="f6a3e592-cc27-4858-b185-ff86be206069" providerId="ADAL" clId="{2CAEC1E3-2241-4370-8FDB-F4FAA904BB83}" dt="2020-06-17T20:04:45.736" v="5581" actId="20577"/>
          <ac:spMkLst>
            <pc:docMk/>
            <pc:sldMk cId="1881171097" sldId="2134804309"/>
            <ac:spMk id="77" creationId="{82EA84D5-1753-4B93-8376-CBA6A570815D}"/>
          </ac:spMkLst>
        </pc:spChg>
        <pc:spChg chg="mod">
          <ac:chgData name="Andrea Mogollon Nossa (CENIT)" userId="f6a3e592-cc27-4858-b185-ff86be206069" providerId="ADAL" clId="{2CAEC1E3-2241-4370-8FDB-F4FAA904BB83}" dt="2020-06-17T20:04:47.383" v="5583" actId="20577"/>
          <ac:spMkLst>
            <pc:docMk/>
            <pc:sldMk cId="1881171097" sldId="2134804309"/>
            <ac:spMk id="78" creationId="{30621AE7-EF9C-4ABE-84F2-40370AA03E60}"/>
          </ac:spMkLst>
        </pc:spChg>
        <pc:spChg chg="mod">
          <ac:chgData name="Andrea Mogollon Nossa (CENIT)" userId="f6a3e592-cc27-4858-b185-ff86be206069" providerId="ADAL" clId="{2CAEC1E3-2241-4370-8FDB-F4FAA904BB83}" dt="2020-06-17T13:26:51.034" v="2818" actId="1076"/>
          <ac:spMkLst>
            <pc:docMk/>
            <pc:sldMk cId="1881171097" sldId="2134804309"/>
            <ac:spMk id="92" creationId="{E621B45B-C605-46EF-8BAD-713A8EBB5BFF}"/>
          </ac:spMkLst>
        </pc:spChg>
        <pc:spChg chg="mod">
          <ac:chgData name="Andrea Mogollon Nossa (CENIT)" userId="f6a3e592-cc27-4858-b185-ff86be206069" providerId="ADAL" clId="{2CAEC1E3-2241-4370-8FDB-F4FAA904BB83}" dt="2020-06-17T13:26:23.419" v="2816" actId="1076"/>
          <ac:spMkLst>
            <pc:docMk/>
            <pc:sldMk cId="1881171097" sldId="2134804309"/>
            <ac:spMk id="100" creationId="{65BEA0CF-3025-4182-BB7C-7FCB9677B093}"/>
          </ac:spMkLst>
        </pc:spChg>
        <pc:spChg chg="mod">
          <ac:chgData name="Andrea Mogollon Nossa (CENIT)" userId="f6a3e592-cc27-4858-b185-ff86be206069" providerId="ADAL" clId="{2CAEC1E3-2241-4370-8FDB-F4FAA904BB83}" dt="2020-06-17T13:28:43.235" v="2830" actId="1076"/>
          <ac:spMkLst>
            <pc:docMk/>
            <pc:sldMk cId="1881171097" sldId="2134804309"/>
            <ac:spMk id="101" creationId="{69EAD6EC-44EF-4157-BA6D-9433BAF52D36}"/>
          </ac:spMkLst>
        </pc:spChg>
        <pc:spChg chg="add mod ord">
          <ac:chgData name="Andrea Mogollon Nossa (CENIT)" userId="f6a3e592-cc27-4858-b185-ff86be206069" providerId="ADAL" clId="{2CAEC1E3-2241-4370-8FDB-F4FAA904BB83}" dt="2020-06-17T19:59:29.703" v="5517" actId="167"/>
          <ac:spMkLst>
            <pc:docMk/>
            <pc:sldMk cId="1881171097" sldId="2134804309"/>
            <ac:spMk id="102" creationId="{8F13CD16-4D54-47B9-98E2-A25B5BC89ABC}"/>
          </ac:spMkLst>
        </pc:spChg>
        <pc:spChg chg="mod">
          <ac:chgData name="Andrea Mogollon Nossa (CENIT)" userId="f6a3e592-cc27-4858-b185-ff86be206069" providerId="ADAL" clId="{2CAEC1E3-2241-4370-8FDB-F4FAA904BB83}" dt="2020-06-17T13:32:36.465" v="2877" actId="1076"/>
          <ac:spMkLst>
            <pc:docMk/>
            <pc:sldMk cId="1881171097" sldId="2134804309"/>
            <ac:spMk id="116" creationId="{5A16BED0-F706-4065-9F89-248100093201}"/>
          </ac:spMkLst>
        </pc:spChg>
        <pc:spChg chg="mod">
          <ac:chgData name="Andrea Mogollon Nossa (CENIT)" userId="f6a3e592-cc27-4858-b185-ff86be206069" providerId="ADAL" clId="{2CAEC1E3-2241-4370-8FDB-F4FAA904BB83}" dt="2020-06-17T13:32:33.450" v="2876" actId="1076"/>
          <ac:spMkLst>
            <pc:docMk/>
            <pc:sldMk cId="1881171097" sldId="2134804309"/>
            <ac:spMk id="117" creationId="{CD823FF2-16E5-48CF-8D46-A0FA3D6C7F89}"/>
          </ac:spMkLst>
        </pc:spChg>
        <pc:spChg chg="mod">
          <ac:chgData name="Andrea Mogollon Nossa (CENIT)" userId="f6a3e592-cc27-4858-b185-ff86be206069" providerId="ADAL" clId="{2CAEC1E3-2241-4370-8FDB-F4FAA904BB83}" dt="2020-06-17T13:30:59.108" v="2862" actId="14100"/>
          <ac:spMkLst>
            <pc:docMk/>
            <pc:sldMk cId="1881171097" sldId="2134804309"/>
            <ac:spMk id="118" creationId="{4595D805-A213-43C8-B637-A714BE5381A5}"/>
          </ac:spMkLst>
        </pc:spChg>
        <pc:spChg chg="mod">
          <ac:chgData name="Andrea Mogollon Nossa (CENIT)" userId="f6a3e592-cc27-4858-b185-ff86be206069" providerId="ADAL" clId="{2CAEC1E3-2241-4370-8FDB-F4FAA904BB83}" dt="2020-06-17T13:29:56.802" v="2844" actId="1076"/>
          <ac:spMkLst>
            <pc:docMk/>
            <pc:sldMk cId="1881171097" sldId="2134804309"/>
            <ac:spMk id="119" creationId="{7EC1E586-865D-4AE6-8E83-6DD1A461383A}"/>
          </ac:spMkLst>
        </pc:spChg>
        <pc:spChg chg="mod">
          <ac:chgData name="Andrea Mogollon Nossa (CENIT)" userId="f6a3e592-cc27-4858-b185-ff86be206069" providerId="ADAL" clId="{2CAEC1E3-2241-4370-8FDB-F4FAA904BB83}" dt="2020-06-17T13:21:17.955" v="2797" actId="14100"/>
          <ac:spMkLst>
            <pc:docMk/>
            <pc:sldMk cId="1881171097" sldId="2134804309"/>
            <ac:spMk id="120" creationId="{8AC43903-3E05-4E77-83F5-D173AA753F73}"/>
          </ac:spMkLst>
        </pc:spChg>
        <pc:spChg chg="mod">
          <ac:chgData name="Andrea Mogollon Nossa (CENIT)" userId="f6a3e592-cc27-4858-b185-ff86be206069" providerId="ADAL" clId="{2CAEC1E3-2241-4370-8FDB-F4FAA904BB83}" dt="2020-06-17T13:29:10.790" v="2835" actId="1076"/>
          <ac:spMkLst>
            <pc:docMk/>
            <pc:sldMk cId="1881171097" sldId="2134804309"/>
            <ac:spMk id="121" creationId="{33D17D00-C5E0-4296-BB51-8B9CF48F67F8}"/>
          </ac:spMkLst>
        </pc:spChg>
        <pc:spChg chg="mod">
          <ac:chgData name="Andrea Mogollon Nossa (CENIT)" userId="f6a3e592-cc27-4858-b185-ff86be206069" providerId="ADAL" clId="{2CAEC1E3-2241-4370-8FDB-F4FAA904BB83}" dt="2020-06-17T13:30:04.759" v="2848" actId="20577"/>
          <ac:spMkLst>
            <pc:docMk/>
            <pc:sldMk cId="1881171097" sldId="2134804309"/>
            <ac:spMk id="122" creationId="{977AA09D-5209-43EC-82D8-E76ADC7BF2E0}"/>
          </ac:spMkLst>
        </pc:spChg>
        <pc:spChg chg="mod">
          <ac:chgData name="Andrea Mogollon Nossa (CENIT)" userId="f6a3e592-cc27-4858-b185-ff86be206069" providerId="ADAL" clId="{2CAEC1E3-2241-4370-8FDB-F4FAA904BB83}" dt="2020-06-17T13:30:07.094" v="2850" actId="20577"/>
          <ac:spMkLst>
            <pc:docMk/>
            <pc:sldMk cId="1881171097" sldId="2134804309"/>
            <ac:spMk id="123" creationId="{B7B2CB6A-5941-466A-A7D0-8B81D284EE83}"/>
          </ac:spMkLst>
        </pc:spChg>
        <pc:spChg chg="del">
          <ac:chgData name="Andrea Mogollon Nossa (CENIT)" userId="f6a3e592-cc27-4858-b185-ff86be206069" providerId="ADAL" clId="{2CAEC1E3-2241-4370-8FDB-F4FAA904BB83}" dt="2020-06-17T13:33:05.412" v="2881" actId="478"/>
          <ac:spMkLst>
            <pc:docMk/>
            <pc:sldMk cId="1881171097" sldId="2134804309"/>
            <ac:spMk id="125" creationId="{9F7953BA-08B8-41AB-921C-EB108DB7A0DE}"/>
          </ac:spMkLst>
        </pc:spChg>
        <pc:spChg chg="del">
          <ac:chgData name="Andrea Mogollon Nossa (CENIT)" userId="f6a3e592-cc27-4858-b185-ff86be206069" providerId="ADAL" clId="{2CAEC1E3-2241-4370-8FDB-F4FAA904BB83}" dt="2020-06-17T13:33:07.877" v="2883" actId="478"/>
          <ac:spMkLst>
            <pc:docMk/>
            <pc:sldMk cId="1881171097" sldId="2134804309"/>
            <ac:spMk id="126" creationId="{7B96189B-1F4E-475F-9B8B-5D1F1C5B7438}"/>
          </ac:spMkLst>
        </pc:spChg>
        <pc:spChg chg="del">
          <ac:chgData name="Andrea Mogollon Nossa (CENIT)" userId="f6a3e592-cc27-4858-b185-ff86be206069" providerId="ADAL" clId="{2CAEC1E3-2241-4370-8FDB-F4FAA904BB83}" dt="2020-06-17T13:33:02.824" v="2879" actId="478"/>
          <ac:spMkLst>
            <pc:docMk/>
            <pc:sldMk cId="1881171097" sldId="2134804309"/>
            <ac:spMk id="127" creationId="{28FDC0C8-718F-4A25-B8A5-83A62B27FD1B}"/>
          </ac:spMkLst>
        </pc:spChg>
        <pc:spChg chg="del">
          <ac:chgData name="Andrea Mogollon Nossa (CENIT)" userId="f6a3e592-cc27-4858-b185-ff86be206069" providerId="ADAL" clId="{2CAEC1E3-2241-4370-8FDB-F4FAA904BB83}" dt="2020-06-17T13:33:04.155" v="2880" actId="478"/>
          <ac:spMkLst>
            <pc:docMk/>
            <pc:sldMk cId="1881171097" sldId="2134804309"/>
            <ac:spMk id="128" creationId="{1B81E860-9775-490E-8921-9504ABA7D771}"/>
          </ac:spMkLst>
        </pc:spChg>
        <pc:spChg chg="del">
          <ac:chgData name="Andrea Mogollon Nossa (CENIT)" userId="f6a3e592-cc27-4858-b185-ff86be206069" providerId="ADAL" clId="{2CAEC1E3-2241-4370-8FDB-F4FAA904BB83}" dt="2020-06-17T13:33:06.708" v="2882" actId="478"/>
          <ac:spMkLst>
            <pc:docMk/>
            <pc:sldMk cId="1881171097" sldId="2134804309"/>
            <ac:spMk id="129" creationId="{5547E264-0776-449F-9A3B-7B6A092FB298}"/>
          </ac:spMkLst>
        </pc:spChg>
        <pc:spChg chg="mod">
          <ac:chgData name="Andrea Mogollon Nossa (CENIT)" userId="f6a3e592-cc27-4858-b185-ff86be206069" providerId="ADAL" clId="{2CAEC1E3-2241-4370-8FDB-F4FAA904BB83}" dt="2020-06-17T20:00:18.319" v="5526" actId="20577"/>
          <ac:spMkLst>
            <pc:docMk/>
            <pc:sldMk cId="1881171097" sldId="2134804309"/>
            <ac:spMk id="130" creationId="{4FD9B8CA-9352-41D3-88BC-F0C86CA4B007}"/>
          </ac:spMkLst>
        </pc:spChg>
        <pc:spChg chg="mod">
          <ac:chgData name="Andrea Mogollon Nossa (CENIT)" userId="f6a3e592-cc27-4858-b185-ff86be206069" providerId="ADAL" clId="{2CAEC1E3-2241-4370-8FDB-F4FAA904BB83}" dt="2020-06-17T13:30:42.987" v="2859" actId="14100"/>
          <ac:spMkLst>
            <pc:docMk/>
            <pc:sldMk cId="1881171097" sldId="2134804309"/>
            <ac:spMk id="132" creationId="{6A90B078-206F-4E1D-89A1-298F78E33B76}"/>
          </ac:spMkLst>
        </pc:spChg>
        <pc:spChg chg="mod">
          <ac:chgData name="Andrea Mogollon Nossa (CENIT)" userId="f6a3e592-cc27-4858-b185-ff86be206069" providerId="ADAL" clId="{2CAEC1E3-2241-4370-8FDB-F4FAA904BB83}" dt="2020-06-17T20:02:31.815" v="5563" actId="122"/>
          <ac:spMkLst>
            <pc:docMk/>
            <pc:sldMk cId="1881171097" sldId="2134804309"/>
            <ac:spMk id="135" creationId="{A96D59B7-AD0C-4A43-B666-01ACCBF85F75}"/>
          </ac:spMkLst>
        </pc:spChg>
        <pc:spChg chg="mod">
          <ac:chgData name="Andrea Mogollon Nossa (CENIT)" userId="f6a3e592-cc27-4858-b185-ff86be206069" providerId="ADAL" clId="{2CAEC1E3-2241-4370-8FDB-F4FAA904BB83}" dt="2020-06-17T20:01:11.108" v="5531" actId="20577"/>
          <ac:spMkLst>
            <pc:docMk/>
            <pc:sldMk cId="1881171097" sldId="2134804309"/>
            <ac:spMk id="136" creationId="{5890EB29-9FAA-4C90-A355-FBA18A97BDDE}"/>
          </ac:spMkLst>
        </pc:spChg>
        <pc:spChg chg="mod">
          <ac:chgData name="Andrea Mogollon Nossa (CENIT)" userId="f6a3e592-cc27-4858-b185-ff86be206069" providerId="ADAL" clId="{2CAEC1E3-2241-4370-8FDB-F4FAA904BB83}" dt="2020-06-17T20:04:50.424" v="5586" actId="20577"/>
          <ac:spMkLst>
            <pc:docMk/>
            <pc:sldMk cId="1881171097" sldId="2134804309"/>
            <ac:spMk id="138" creationId="{47FFB5EB-8D30-4053-83FE-3EB0C26FC914}"/>
          </ac:spMkLst>
        </pc:spChg>
        <pc:spChg chg="mod">
          <ac:chgData name="Andrea Mogollon Nossa (CENIT)" userId="f6a3e592-cc27-4858-b185-ff86be206069" providerId="ADAL" clId="{2CAEC1E3-2241-4370-8FDB-F4FAA904BB83}" dt="2020-06-17T13:29:15.978" v="2836" actId="1076"/>
          <ac:spMkLst>
            <pc:docMk/>
            <pc:sldMk cId="1881171097" sldId="2134804309"/>
            <ac:spMk id="140" creationId="{2192EC14-9AFE-49A4-ACE7-7007DE218105}"/>
          </ac:spMkLst>
        </pc:spChg>
        <pc:spChg chg="mod">
          <ac:chgData name="Andrea Mogollon Nossa (CENIT)" userId="f6a3e592-cc27-4858-b185-ff86be206069" providerId="ADAL" clId="{2CAEC1E3-2241-4370-8FDB-F4FAA904BB83}" dt="2020-06-17T13:19:18.859" v="2777" actId="1076"/>
          <ac:spMkLst>
            <pc:docMk/>
            <pc:sldMk cId="1881171097" sldId="2134804309"/>
            <ac:spMk id="141" creationId="{69FF13A6-B914-4228-B818-FA84C77810D8}"/>
          </ac:spMkLst>
        </pc:spChg>
        <pc:spChg chg="mod">
          <ac:chgData name="Andrea Mogollon Nossa (CENIT)" userId="f6a3e592-cc27-4858-b185-ff86be206069" providerId="ADAL" clId="{2CAEC1E3-2241-4370-8FDB-F4FAA904BB83}" dt="2020-06-17T13:30:12.310" v="2854" actId="20577"/>
          <ac:spMkLst>
            <pc:docMk/>
            <pc:sldMk cId="1881171097" sldId="2134804309"/>
            <ac:spMk id="142" creationId="{09BA4622-4FF0-4AE7-A2BE-CA9EB89C56FC}"/>
          </ac:spMkLst>
        </pc:spChg>
        <pc:spChg chg="mod">
          <ac:chgData name="Andrea Mogollon Nossa (CENIT)" userId="f6a3e592-cc27-4858-b185-ff86be206069" providerId="ADAL" clId="{2CAEC1E3-2241-4370-8FDB-F4FAA904BB83}" dt="2020-06-17T20:02:01.190" v="5556" actId="20577"/>
          <ac:spMkLst>
            <pc:docMk/>
            <pc:sldMk cId="1881171097" sldId="2134804309"/>
            <ac:spMk id="144" creationId="{31297E8D-1EAA-46FA-A7B3-D13961584BDA}"/>
          </ac:spMkLst>
        </pc:spChg>
        <pc:spChg chg="mod">
          <ac:chgData name="Andrea Mogollon Nossa (CENIT)" userId="f6a3e592-cc27-4858-b185-ff86be206069" providerId="ADAL" clId="{2CAEC1E3-2241-4370-8FDB-F4FAA904BB83}" dt="2020-06-17T20:02:26.371" v="5561" actId="14100"/>
          <ac:spMkLst>
            <pc:docMk/>
            <pc:sldMk cId="1881171097" sldId="2134804309"/>
            <ac:spMk id="145" creationId="{C35B3BDA-B5DD-49E4-869E-1BA753B77D0F}"/>
          </ac:spMkLst>
        </pc:spChg>
        <pc:spChg chg="mod">
          <ac:chgData name="Andrea Mogollon Nossa (CENIT)" userId="f6a3e592-cc27-4858-b185-ff86be206069" providerId="ADAL" clId="{2CAEC1E3-2241-4370-8FDB-F4FAA904BB83}" dt="2020-06-17T20:03:01.625" v="5566" actId="20577"/>
          <ac:spMkLst>
            <pc:docMk/>
            <pc:sldMk cId="1881171097" sldId="2134804309"/>
            <ac:spMk id="147" creationId="{81EBC7C5-5794-471A-9D9A-8E79D7746286}"/>
          </ac:spMkLst>
        </pc:spChg>
        <pc:spChg chg="mod">
          <ac:chgData name="Andrea Mogollon Nossa (CENIT)" userId="f6a3e592-cc27-4858-b185-ff86be206069" providerId="ADAL" clId="{2CAEC1E3-2241-4370-8FDB-F4FAA904BB83}" dt="2020-06-17T13:30:09.924" v="2852" actId="20577"/>
          <ac:spMkLst>
            <pc:docMk/>
            <pc:sldMk cId="1881171097" sldId="2134804309"/>
            <ac:spMk id="153" creationId="{EBCEC452-242A-41DC-B20E-8FCEB57C4FE5}"/>
          </ac:spMkLst>
        </pc:spChg>
        <pc:spChg chg="mod">
          <ac:chgData name="Andrea Mogollon Nossa (CENIT)" userId="f6a3e592-cc27-4858-b185-ff86be206069" providerId="ADAL" clId="{2CAEC1E3-2241-4370-8FDB-F4FAA904BB83}" dt="2020-06-17T13:32:15.762" v="2875" actId="1076"/>
          <ac:spMkLst>
            <pc:docMk/>
            <pc:sldMk cId="1881171097" sldId="2134804309"/>
            <ac:spMk id="159" creationId="{B93976E5-27D0-4BF6-A212-0E310DF88389}"/>
          </ac:spMkLst>
        </pc:spChg>
        <pc:spChg chg="mod">
          <ac:chgData name="Andrea Mogollon Nossa (CENIT)" userId="f6a3e592-cc27-4858-b185-ff86be206069" providerId="ADAL" clId="{2CAEC1E3-2241-4370-8FDB-F4FAA904BB83}" dt="2020-06-17T13:30:47.355" v="2860" actId="1076"/>
          <ac:spMkLst>
            <pc:docMk/>
            <pc:sldMk cId="1881171097" sldId="2134804309"/>
            <ac:spMk id="160" creationId="{2901AD0B-4413-40F5-ACFA-AFC448843BD0}"/>
          </ac:spMkLst>
        </pc:spChg>
        <pc:spChg chg="mod">
          <ac:chgData name="Andrea Mogollon Nossa (CENIT)" userId="f6a3e592-cc27-4858-b185-ff86be206069" providerId="ADAL" clId="{2CAEC1E3-2241-4370-8FDB-F4FAA904BB83}" dt="2020-06-17T13:29:10.790" v="2835" actId="1076"/>
          <ac:spMkLst>
            <pc:docMk/>
            <pc:sldMk cId="1881171097" sldId="2134804309"/>
            <ac:spMk id="161" creationId="{4DFB72A5-4B3C-41DB-A5E7-D636B9A1ED41}"/>
          </ac:spMkLst>
        </pc:spChg>
        <pc:spChg chg="mod">
          <ac:chgData name="Andrea Mogollon Nossa (CENIT)" userId="f6a3e592-cc27-4858-b185-ff86be206069" providerId="ADAL" clId="{2CAEC1E3-2241-4370-8FDB-F4FAA904BB83}" dt="2020-06-17T13:29:56.802" v="2844" actId="1076"/>
          <ac:spMkLst>
            <pc:docMk/>
            <pc:sldMk cId="1881171097" sldId="2134804309"/>
            <ac:spMk id="162" creationId="{C80AAD0A-3366-4703-9780-480AA5B1EC87}"/>
          </ac:spMkLst>
        </pc:spChg>
        <pc:spChg chg="mod">
          <ac:chgData name="Andrea Mogollon Nossa (CENIT)" userId="f6a3e592-cc27-4858-b185-ff86be206069" providerId="ADAL" clId="{2CAEC1E3-2241-4370-8FDB-F4FAA904BB83}" dt="2020-06-17T13:27:47.033" v="2829" actId="1076"/>
          <ac:spMkLst>
            <pc:docMk/>
            <pc:sldMk cId="1881171097" sldId="2134804309"/>
            <ac:spMk id="163" creationId="{2B9AC342-E8FE-4143-925A-3CB829923C4D}"/>
          </ac:spMkLst>
        </pc:spChg>
        <pc:spChg chg="mod">
          <ac:chgData name="Andrea Mogollon Nossa (CENIT)" userId="f6a3e592-cc27-4858-b185-ff86be206069" providerId="ADAL" clId="{2CAEC1E3-2241-4370-8FDB-F4FAA904BB83}" dt="2020-06-17T13:27:35.314" v="2827" actId="1076"/>
          <ac:spMkLst>
            <pc:docMk/>
            <pc:sldMk cId="1881171097" sldId="2134804309"/>
            <ac:spMk id="164" creationId="{70748BF9-B4EA-4E45-A806-C5641A532561}"/>
          </ac:spMkLst>
        </pc:spChg>
        <pc:spChg chg="mod">
          <ac:chgData name="Andrea Mogollon Nossa (CENIT)" userId="f6a3e592-cc27-4858-b185-ff86be206069" providerId="ADAL" clId="{2CAEC1E3-2241-4370-8FDB-F4FAA904BB83}" dt="2020-06-17T13:28:43.235" v="2830" actId="1076"/>
          <ac:spMkLst>
            <pc:docMk/>
            <pc:sldMk cId="1881171097" sldId="2134804309"/>
            <ac:spMk id="165" creationId="{194EC9F5-F1D2-47AF-990B-CBCBFCC972F8}"/>
          </ac:spMkLst>
        </pc:spChg>
        <pc:spChg chg="mod">
          <ac:chgData name="Andrea Mogollon Nossa (CENIT)" userId="f6a3e592-cc27-4858-b185-ff86be206069" providerId="ADAL" clId="{2CAEC1E3-2241-4370-8FDB-F4FAA904BB83}" dt="2020-06-17T13:21:07.778" v="2794" actId="1076"/>
          <ac:spMkLst>
            <pc:docMk/>
            <pc:sldMk cId="1881171097" sldId="2134804309"/>
            <ac:spMk id="166" creationId="{3AAC2A12-F2F6-48CB-9F59-FACC86D61FA7}"/>
          </ac:spMkLst>
        </pc:spChg>
        <pc:spChg chg="mod">
          <ac:chgData name="Andrea Mogollon Nossa (CENIT)" userId="f6a3e592-cc27-4858-b185-ff86be206069" providerId="ADAL" clId="{2CAEC1E3-2241-4370-8FDB-F4FAA904BB83}" dt="2020-06-17T13:27:01.090" v="2820" actId="1076"/>
          <ac:spMkLst>
            <pc:docMk/>
            <pc:sldMk cId="1881171097" sldId="2134804309"/>
            <ac:spMk id="167" creationId="{A5D3EC19-3BF6-4041-9828-93D1DE4CDAD0}"/>
          </ac:spMkLst>
        </pc:spChg>
        <pc:spChg chg="mod">
          <ac:chgData name="Andrea Mogollon Nossa (CENIT)" userId="f6a3e592-cc27-4858-b185-ff86be206069" providerId="ADAL" clId="{2CAEC1E3-2241-4370-8FDB-F4FAA904BB83}" dt="2020-06-17T13:27:26.970" v="2825" actId="1076"/>
          <ac:spMkLst>
            <pc:docMk/>
            <pc:sldMk cId="1881171097" sldId="2134804309"/>
            <ac:spMk id="168" creationId="{A52E7ECA-65B4-453E-936A-E9AF2AAFD058}"/>
          </ac:spMkLst>
        </pc:spChg>
        <pc:spChg chg="mod">
          <ac:chgData name="Andrea Mogollon Nossa (CENIT)" userId="f6a3e592-cc27-4858-b185-ff86be206069" providerId="ADAL" clId="{2CAEC1E3-2241-4370-8FDB-F4FAA904BB83}" dt="2020-06-17T13:28:43.235" v="2830" actId="1076"/>
          <ac:spMkLst>
            <pc:docMk/>
            <pc:sldMk cId="1881171097" sldId="2134804309"/>
            <ac:spMk id="169" creationId="{86DC604E-B99E-462C-9EA2-106AD4E6C314}"/>
          </ac:spMkLst>
        </pc:spChg>
        <pc:spChg chg="mod">
          <ac:chgData name="Andrea Mogollon Nossa (CENIT)" userId="f6a3e592-cc27-4858-b185-ff86be206069" providerId="ADAL" clId="{2CAEC1E3-2241-4370-8FDB-F4FAA904BB83}" dt="2020-06-17T13:32:12.323" v="2874" actId="1076"/>
          <ac:spMkLst>
            <pc:docMk/>
            <pc:sldMk cId="1881171097" sldId="2134804309"/>
            <ac:spMk id="170" creationId="{54D05389-E3E9-4168-AFFF-27D476CAFCA2}"/>
          </ac:spMkLst>
        </pc:spChg>
        <pc:spChg chg="mod">
          <ac:chgData name="Andrea Mogollon Nossa (CENIT)" userId="f6a3e592-cc27-4858-b185-ff86be206069" providerId="ADAL" clId="{2CAEC1E3-2241-4370-8FDB-F4FAA904BB83}" dt="2020-06-17T13:32:04.546" v="2872" actId="1076"/>
          <ac:spMkLst>
            <pc:docMk/>
            <pc:sldMk cId="1881171097" sldId="2134804309"/>
            <ac:spMk id="171" creationId="{497FA596-462E-412E-B356-7FBE349705A0}"/>
          </ac:spMkLst>
        </pc:spChg>
        <pc:spChg chg="mod">
          <ac:chgData name="Andrea Mogollon Nossa (CENIT)" userId="f6a3e592-cc27-4858-b185-ff86be206069" providerId="ADAL" clId="{2CAEC1E3-2241-4370-8FDB-F4FAA904BB83}" dt="2020-06-17T13:27:41.425" v="2828" actId="1076"/>
          <ac:spMkLst>
            <pc:docMk/>
            <pc:sldMk cId="1881171097" sldId="2134804309"/>
            <ac:spMk id="172" creationId="{0C07494B-8798-4454-8C76-A3DF84B018D8}"/>
          </ac:spMkLst>
        </pc:spChg>
        <pc:spChg chg="mod">
          <ac:chgData name="Andrea Mogollon Nossa (CENIT)" userId="f6a3e592-cc27-4858-b185-ff86be206069" providerId="ADAL" clId="{2CAEC1E3-2241-4370-8FDB-F4FAA904BB83}" dt="2020-06-17T13:27:30.690" v="2826" actId="1076"/>
          <ac:spMkLst>
            <pc:docMk/>
            <pc:sldMk cId="1881171097" sldId="2134804309"/>
            <ac:spMk id="173" creationId="{91CD8E64-8CB2-44A7-8795-E9D52032D305}"/>
          </ac:spMkLst>
        </pc:spChg>
        <pc:spChg chg="mod">
          <ac:chgData name="Andrea Mogollon Nossa (CENIT)" userId="f6a3e592-cc27-4858-b185-ff86be206069" providerId="ADAL" clId="{2CAEC1E3-2241-4370-8FDB-F4FAA904BB83}" dt="2020-06-17T13:28:43.235" v="2830" actId="1076"/>
          <ac:spMkLst>
            <pc:docMk/>
            <pc:sldMk cId="1881171097" sldId="2134804309"/>
            <ac:spMk id="174" creationId="{4F7554FC-2E26-4AD3-96CD-552B818B62E9}"/>
          </ac:spMkLst>
        </pc:spChg>
        <pc:spChg chg="mod">
          <ac:chgData name="Andrea Mogollon Nossa (CENIT)" userId="f6a3e592-cc27-4858-b185-ff86be206069" providerId="ADAL" clId="{2CAEC1E3-2241-4370-8FDB-F4FAA904BB83}" dt="2020-06-17T13:20:18.473" v="2781" actId="1076"/>
          <ac:spMkLst>
            <pc:docMk/>
            <pc:sldMk cId="1881171097" sldId="2134804309"/>
            <ac:spMk id="175" creationId="{0D55B3BB-A7B6-4628-8AA8-738A4C6F3437}"/>
          </ac:spMkLst>
        </pc:spChg>
        <pc:spChg chg="mod">
          <ac:chgData name="Andrea Mogollon Nossa (CENIT)" userId="f6a3e592-cc27-4858-b185-ff86be206069" providerId="ADAL" clId="{2CAEC1E3-2241-4370-8FDB-F4FAA904BB83}" dt="2020-06-17T13:21:11.304" v="2795" actId="1076"/>
          <ac:spMkLst>
            <pc:docMk/>
            <pc:sldMk cId="1881171097" sldId="2134804309"/>
            <ac:spMk id="176" creationId="{393DD43E-1230-4F0C-9651-99E6BBD4FE05}"/>
          </ac:spMkLst>
        </pc:spChg>
        <pc:spChg chg="mod">
          <ac:chgData name="Andrea Mogollon Nossa (CENIT)" userId="f6a3e592-cc27-4858-b185-ff86be206069" providerId="ADAL" clId="{2CAEC1E3-2241-4370-8FDB-F4FAA904BB83}" dt="2020-06-17T13:21:15.043" v="2796" actId="1076"/>
          <ac:spMkLst>
            <pc:docMk/>
            <pc:sldMk cId="1881171097" sldId="2134804309"/>
            <ac:spMk id="177" creationId="{521F6A96-E05A-4EBC-8A00-20717CBD3086}"/>
          </ac:spMkLst>
        </pc:spChg>
        <pc:spChg chg="mod">
          <ac:chgData name="Andrea Mogollon Nossa (CENIT)" userId="f6a3e592-cc27-4858-b185-ff86be206069" providerId="ADAL" clId="{2CAEC1E3-2241-4370-8FDB-F4FAA904BB83}" dt="2020-06-17T13:29:10.790" v="2835" actId="1076"/>
          <ac:spMkLst>
            <pc:docMk/>
            <pc:sldMk cId="1881171097" sldId="2134804309"/>
            <ac:spMk id="179" creationId="{56D1A497-A8FE-4FC9-9783-FAE1DF97D648}"/>
          </ac:spMkLst>
        </pc:spChg>
        <pc:spChg chg="mod">
          <ac:chgData name="Andrea Mogollon Nossa (CENIT)" userId="f6a3e592-cc27-4858-b185-ff86be206069" providerId="ADAL" clId="{2CAEC1E3-2241-4370-8FDB-F4FAA904BB83}" dt="2020-06-17T13:29:10.790" v="2835" actId="1076"/>
          <ac:spMkLst>
            <pc:docMk/>
            <pc:sldMk cId="1881171097" sldId="2134804309"/>
            <ac:spMk id="180" creationId="{0F422F67-327E-41CA-B2AE-E1590988ACDA}"/>
          </ac:spMkLst>
        </pc:spChg>
        <pc:spChg chg="mod">
          <ac:chgData name="Andrea Mogollon Nossa (CENIT)" userId="f6a3e592-cc27-4858-b185-ff86be206069" providerId="ADAL" clId="{2CAEC1E3-2241-4370-8FDB-F4FAA904BB83}" dt="2020-06-17T13:31:05.194" v="2863" actId="1076"/>
          <ac:spMkLst>
            <pc:docMk/>
            <pc:sldMk cId="1881171097" sldId="2134804309"/>
            <ac:spMk id="181" creationId="{37080A62-F27F-4A20-A3F0-2EE06B877BC2}"/>
          </ac:spMkLst>
        </pc:spChg>
      </pc:sldChg>
      <pc:sldChg chg="addSp delSp modSp new mod">
        <pc:chgData name="Andrea Mogollon Nossa (CENIT)" userId="f6a3e592-cc27-4858-b185-ff86be206069" providerId="ADAL" clId="{2CAEC1E3-2241-4370-8FDB-F4FAA904BB83}" dt="2020-06-17T20:41:07.369" v="5947" actId="1076"/>
        <pc:sldMkLst>
          <pc:docMk/>
          <pc:sldMk cId="888575759" sldId="2134804310"/>
        </pc:sldMkLst>
        <pc:spChg chg="del">
          <ac:chgData name="Andrea Mogollon Nossa (CENIT)" userId="f6a3e592-cc27-4858-b185-ff86be206069" providerId="ADAL" clId="{2CAEC1E3-2241-4370-8FDB-F4FAA904BB83}" dt="2020-06-17T13:06:58.573" v="2740" actId="478"/>
          <ac:spMkLst>
            <pc:docMk/>
            <pc:sldMk cId="888575759" sldId="2134804310"/>
            <ac:spMk id="3" creationId="{1D349DD6-F284-47E9-A7FA-7812A05D9FD6}"/>
          </ac:spMkLst>
        </pc:spChg>
        <pc:spChg chg="add mod">
          <ac:chgData name="Andrea Mogollon Nossa (CENIT)" userId="f6a3e592-cc27-4858-b185-ff86be206069" providerId="ADAL" clId="{2CAEC1E3-2241-4370-8FDB-F4FAA904BB83}" dt="2020-06-17T13:07:07.657" v="2743" actId="1076"/>
          <ac:spMkLst>
            <pc:docMk/>
            <pc:sldMk cId="888575759" sldId="2134804310"/>
            <ac:spMk id="4" creationId="{8D7CE29D-5B5D-422A-AFD4-3542EF5AECE6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7" creationId="{DC709DF1-9EE3-450C-A671-EC5F06474CAB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8" creationId="{C2EE283C-164E-417D-8857-BF9E92B02925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9" creationId="{A806DCDE-C774-4055-BB52-13335B10124B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10" creationId="{668DF9D7-8A87-44BC-AC4E-32CC9DDD1A56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17" creationId="{C833C0BC-65B6-4CFB-BE40-4A75511923B2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18" creationId="{5AB1AAF5-3757-46E8-BE65-D942897A3BA1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19" creationId="{74CF077A-13B3-44D7-B551-99041FE15671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20" creationId="{B4625FB5-093C-4C01-8984-C4A9CCAF8D84}"/>
          </ac:spMkLst>
        </pc:spChg>
        <pc:spChg chg="add mod">
          <ac:chgData name="Andrea Mogollon Nossa (CENIT)" userId="f6a3e592-cc27-4858-b185-ff86be206069" providerId="ADAL" clId="{2CAEC1E3-2241-4370-8FDB-F4FAA904BB83}" dt="2020-06-17T13:07:46.347" v="2762" actId="20577"/>
          <ac:spMkLst>
            <pc:docMk/>
            <pc:sldMk cId="888575759" sldId="2134804310"/>
            <ac:spMk id="26" creationId="{EA77E2C0-9E45-42C1-B379-2ED95D177F62}"/>
          </ac:spMkLst>
        </pc:spChg>
        <pc:spChg chg="mod">
          <ac:chgData name="Andrea Mogollon Nossa (CENIT)" userId="f6a3e592-cc27-4858-b185-ff86be206069" providerId="ADAL" clId="{2CAEC1E3-2241-4370-8FDB-F4FAA904BB83}" dt="2020-06-17T20:41:07.369" v="5947" actId="1076"/>
          <ac:spMkLst>
            <pc:docMk/>
            <pc:sldMk cId="888575759" sldId="2134804310"/>
            <ac:spMk id="171" creationId="{C6CEC047-8BDC-4D5F-B351-53BC9E694CED}"/>
          </ac:spMkLst>
        </pc:spChg>
        <pc:grpChg chg="add mod">
          <ac:chgData name="Andrea Mogollon Nossa (CENIT)" userId="f6a3e592-cc27-4858-b185-ff86be206069" providerId="ADAL" clId="{2CAEC1E3-2241-4370-8FDB-F4FAA904BB83}" dt="2020-06-17T13:07:04" v="2742" actId="1076"/>
          <ac:grpSpMkLst>
            <pc:docMk/>
            <pc:sldMk cId="888575759" sldId="2134804310"/>
            <ac:grpSpMk id="5" creationId="{B8B3F25F-5EEF-49B5-AF43-A778A4A44B6A}"/>
          </ac:grpSpMkLst>
        </pc:grpChg>
        <pc:grpChg chg="add mod">
          <ac:chgData name="Andrea Mogollon Nossa (CENIT)" userId="f6a3e592-cc27-4858-b185-ff86be206069" providerId="ADAL" clId="{2CAEC1E3-2241-4370-8FDB-F4FAA904BB83}" dt="2020-06-17T13:07:04" v="2742" actId="1076"/>
          <ac:grpSpMkLst>
            <pc:docMk/>
            <pc:sldMk cId="888575759" sldId="2134804310"/>
            <ac:grpSpMk id="15" creationId="{41EBE1F9-8288-4A08-BEED-96A4EBB42235}"/>
          </ac:grpSpMkLst>
        </pc:grpChg>
        <pc:graphicFrameChg chg="mod">
          <ac:chgData name="Andrea Mogollon Nossa (CENIT)" userId="f6a3e592-cc27-4858-b185-ff86be206069" providerId="ADAL" clId="{2CAEC1E3-2241-4370-8FDB-F4FAA904BB83}" dt="2020-06-17T13:06:59.987" v="2741"/>
          <ac:graphicFrameMkLst>
            <pc:docMk/>
            <pc:sldMk cId="888575759" sldId="2134804310"/>
            <ac:graphicFrameMk id="6" creationId="{2E3A30AA-DB47-4B29-B363-034FFF944EAB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7T13:06:59.987" v="2741"/>
          <ac:graphicFrameMkLst>
            <pc:docMk/>
            <pc:sldMk cId="888575759" sldId="2134804310"/>
            <ac:graphicFrameMk id="16" creationId="{5A23C997-30D5-4E11-B543-0DF1FB50A6D1}"/>
          </ac:graphicFrameMkLst>
        </pc:graphicFrameChg>
        <pc:picChg chg="add mod">
          <ac:chgData name="Andrea Mogollon Nossa (CENIT)" userId="f6a3e592-cc27-4858-b185-ff86be206069" providerId="ADAL" clId="{2CAEC1E3-2241-4370-8FDB-F4FAA904BB83}" dt="2020-06-17T20:39:05.596" v="5944" actId="1076"/>
          <ac:picMkLst>
            <pc:docMk/>
            <pc:sldMk cId="888575759" sldId="2134804310"/>
            <ac:picMk id="25" creationId="{1B346304-7BF9-41D6-840A-C14B65067CF2}"/>
          </ac:picMkLst>
        </pc:pic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11" creationId="{CBF6F0AF-1ED1-4DEA-BD57-2DCE1AF712CA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12" creationId="{CE775488-C30F-45A8-AD45-A401EBA69B0A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13" creationId="{B4813DB6-54FC-43DA-94FE-11EE0B4A1C99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14" creationId="{C1E7A24B-2C2F-4DEB-ABA1-CA0B97E94AB9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21" creationId="{DE89067E-BE3C-4CDA-82DB-B9B34A8F01EB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22" creationId="{8470F1CA-9C55-4787-9E21-926328681A18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23" creationId="{1B271121-2ED5-4318-80FE-844C336B781B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24" creationId="{B0872B39-3E3A-42CB-A01F-A18B892E46D3}"/>
          </ac:cxnSpMkLst>
        </pc:cxnChg>
      </pc:sldChg>
      <pc:sldChg chg="addSp delSp modSp del mod ord">
        <pc:chgData name="Andrea Mogollon Nossa (CENIT)" userId="f6a3e592-cc27-4858-b185-ff86be206069" providerId="ADAL" clId="{2CAEC1E3-2241-4370-8FDB-F4FAA904BB83}" dt="2020-06-17T21:25:30.075" v="6379" actId="2696"/>
        <pc:sldMkLst>
          <pc:docMk/>
          <pc:sldMk cId="420306642" sldId="2134804311"/>
        </pc:sldMkLst>
        <pc:spChg chg="add 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13" creationId="{C6B13A26-4225-4280-9E91-2D4DFFF58BDB}"/>
          </ac:spMkLst>
        </pc:spChg>
        <pc:spChg chg="add mod">
          <ac:chgData name="Andrea Mogollon Nossa (CENIT)" userId="f6a3e592-cc27-4858-b185-ff86be206069" providerId="ADAL" clId="{2CAEC1E3-2241-4370-8FDB-F4FAA904BB83}" dt="2020-06-17T19:21:04.715" v="5389" actId="1076"/>
          <ac:spMkLst>
            <pc:docMk/>
            <pc:sldMk cId="420306642" sldId="2134804311"/>
            <ac:spMk id="14" creationId="{4D4332FC-2D84-4713-8AD1-2D316409471B}"/>
          </ac:spMkLst>
        </pc:spChg>
        <pc:spChg chg="mod">
          <ac:chgData name="Andrea Mogollon Nossa (CENIT)" userId="f6a3e592-cc27-4858-b185-ff86be206069" providerId="ADAL" clId="{2CAEC1E3-2241-4370-8FDB-F4FAA904BB83}" dt="2020-06-17T14:17:04.471" v="3334" actId="20577"/>
          <ac:spMkLst>
            <pc:docMk/>
            <pc:sldMk cId="420306642" sldId="2134804311"/>
            <ac:spMk id="20" creationId="{50DAA493-1B46-4D68-99FD-F9BDA2477D9B}"/>
          </ac:spMkLst>
        </pc:spChg>
        <pc:spChg chg="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21" creationId="{FCFE65B7-3A35-4722-84A8-FEC6DADDBA49}"/>
          </ac:spMkLst>
        </pc:spChg>
        <pc:spChg chg="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22" creationId="{7565957D-73CC-497F-A9EE-BA5F2A79250A}"/>
          </ac:spMkLst>
        </pc:spChg>
        <pc:spChg chg="del mod">
          <ac:chgData name="Andrea Mogollon Nossa (CENIT)" userId="f6a3e592-cc27-4858-b185-ff86be206069" providerId="ADAL" clId="{2CAEC1E3-2241-4370-8FDB-F4FAA904BB83}" dt="2020-06-17T14:20:44.065" v="3620" actId="478"/>
          <ac:spMkLst>
            <pc:docMk/>
            <pc:sldMk cId="420306642" sldId="2134804311"/>
            <ac:spMk id="23" creationId="{2090C287-4A91-45B9-8277-A5A2EF2B34A0}"/>
          </ac:spMkLst>
        </pc:spChg>
        <pc:spChg chg="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25" creationId="{8E78EDE9-40A1-48AE-9549-373B04A21BE1}"/>
          </ac:spMkLst>
        </pc:spChg>
        <pc:spChg chg="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26" creationId="{DDE70F6C-1ADB-475F-BE97-D0A8A27E8FE6}"/>
          </ac:spMkLst>
        </pc:spChg>
        <pc:spChg chg="add del 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27" creationId="{C90699C9-D1A5-4C87-8409-4DD5B288FE4D}"/>
          </ac:spMkLst>
        </pc:spChg>
        <pc:spChg chg="mod">
          <ac:chgData name="Andrea Mogollon Nossa (CENIT)" userId="f6a3e592-cc27-4858-b185-ff86be206069" providerId="ADAL" clId="{2CAEC1E3-2241-4370-8FDB-F4FAA904BB83}" dt="2020-06-17T21:23:25.723" v="6352" actId="122"/>
          <ac:spMkLst>
            <pc:docMk/>
            <pc:sldMk cId="420306642" sldId="2134804311"/>
            <ac:spMk id="55" creationId="{71D2E868-A54D-4479-B446-29F9C50FDEA5}"/>
          </ac:spMkLst>
        </pc:spChg>
      </pc:sldChg>
      <pc:sldMasterChg chg="delSldLayout">
        <pc:chgData name="Andrea Mogollon Nossa (CENIT)" userId="f6a3e592-cc27-4858-b185-ff86be206069" providerId="ADAL" clId="{2CAEC1E3-2241-4370-8FDB-F4FAA904BB83}" dt="2020-06-17T13:09:57.099" v="2763" actId="47"/>
        <pc:sldMasterMkLst>
          <pc:docMk/>
          <pc:sldMasterMk cId="2612954595" sldId="2147483660"/>
        </pc:sldMasterMkLst>
        <pc:sldLayoutChg chg="del">
          <pc:chgData name="Andrea Mogollon Nossa (CENIT)" userId="f6a3e592-cc27-4858-b185-ff86be206069" providerId="ADAL" clId="{2CAEC1E3-2241-4370-8FDB-F4FAA904BB83}" dt="2020-06-17T13:09:57.099" v="2763" actId="47"/>
          <pc:sldLayoutMkLst>
            <pc:docMk/>
            <pc:sldMasterMk cId="2612954595" sldId="2147483660"/>
            <pc:sldLayoutMk cId="1468670035" sldId="2147483667"/>
          </pc:sldLayoutMkLst>
        </pc:sldLayoutChg>
      </pc:sldMasterChg>
    </pc:docChg>
  </pc:docChgLst>
  <pc:docChgLst>
    <pc:chgData name="Yuly Andrea Castaneda Ramirez (CENIT)" userId="S::yuly.castaneda@cenit-transporte.com::9d6b9224-b289-47c8-b6d4-3bf138101243" providerId="AD" clId="Web-{273310E5-473D-9836-DDDD-E3CFF223FA4B}"/>
    <pc:docChg chg="modSld">
      <pc:chgData name="Yuly Andrea Castaneda Ramirez (CENIT)" userId="S::yuly.castaneda@cenit-transporte.com::9d6b9224-b289-47c8-b6d4-3bf138101243" providerId="AD" clId="Web-{273310E5-473D-9836-DDDD-E3CFF223FA4B}" dt="2020-06-16T23:08:45.604" v="31"/>
      <pc:docMkLst>
        <pc:docMk/>
      </pc:docMkLst>
      <pc:sldChg chg="addSp delSp modSp">
        <pc:chgData name="Yuly Andrea Castaneda Ramirez (CENIT)" userId="S::yuly.castaneda@cenit-transporte.com::9d6b9224-b289-47c8-b6d4-3bf138101243" providerId="AD" clId="Web-{273310E5-473D-9836-DDDD-E3CFF223FA4B}" dt="2020-06-16T23:08:45.604" v="31"/>
        <pc:sldMkLst>
          <pc:docMk/>
          <pc:sldMk cId="838099151" sldId="2134804292"/>
        </pc:sldMkLst>
        <pc:spChg chg="add del mod">
          <ac:chgData name="Yuly Andrea Castaneda Ramirez (CENIT)" userId="S::yuly.castaneda@cenit-transporte.com::9d6b9224-b289-47c8-b6d4-3bf138101243" providerId="AD" clId="Web-{273310E5-473D-9836-DDDD-E3CFF223FA4B}" dt="2020-06-16T23:05:19.868" v="9"/>
          <ac:spMkLst>
            <pc:docMk/>
            <pc:sldMk cId="838099151" sldId="2134804292"/>
            <ac:spMk id="11" creationId="{FE8F7237-62A5-4691-816B-12FFB472711F}"/>
          </ac:spMkLst>
        </pc:spChg>
        <pc:spChg chg="add del mod">
          <ac:chgData name="Yuly Andrea Castaneda Ramirez (CENIT)" userId="S::yuly.castaneda@cenit-transporte.com::9d6b9224-b289-47c8-b6d4-3bf138101243" providerId="AD" clId="Web-{273310E5-473D-9836-DDDD-E3CFF223FA4B}" dt="2020-06-16T23:04:37.993" v="6"/>
          <ac:spMkLst>
            <pc:docMk/>
            <pc:sldMk cId="838099151" sldId="2134804292"/>
            <ac:spMk id="12" creationId="{3C650C94-3134-4818-9079-FC1D4126E996}"/>
          </ac:spMkLst>
        </pc:spChg>
        <pc:spChg chg="add mod">
          <ac:chgData name="Yuly Andrea Castaneda Ramirez (CENIT)" userId="S::yuly.castaneda@cenit-transporte.com::9d6b9224-b289-47c8-b6d4-3bf138101243" providerId="AD" clId="Web-{273310E5-473D-9836-DDDD-E3CFF223FA4B}" dt="2020-06-16T23:07:55.510" v="29" actId="20577"/>
          <ac:spMkLst>
            <pc:docMk/>
            <pc:sldMk cId="838099151" sldId="2134804292"/>
            <ac:spMk id="13" creationId="{D1CF4700-4906-4F29-B146-BA40E72EA40A}"/>
          </ac:spMkLst>
        </pc:spChg>
        <pc:spChg chg="add">
          <ac:chgData name="Yuly Andrea Castaneda Ramirez (CENIT)" userId="S::yuly.castaneda@cenit-transporte.com::9d6b9224-b289-47c8-b6d4-3bf138101243" providerId="AD" clId="Web-{273310E5-473D-9836-DDDD-E3CFF223FA4B}" dt="2020-06-16T23:08:31.636" v="30"/>
          <ac:spMkLst>
            <pc:docMk/>
            <pc:sldMk cId="838099151" sldId="2134804292"/>
            <ac:spMk id="71" creationId="{A69B7E9C-1301-476B-9B8D-50B1CA3CB77F}"/>
          </ac:spMkLst>
        </pc:spChg>
        <pc:spChg chg="add">
          <ac:chgData name="Yuly Andrea Castaneda Ramirez (CENIT)" userId="S::yuly.castaneda@cenit-transporte.com::9d6b9224-b289-47c8-b6d4-3bf138101243" providerId="AD" clId="Web-{273310E5-473D-9836-DDDD-E3CFF223FA4B}" dt="2020-06-16T23:08:45.604" v="31"/>
          <ac:spMkLst>
            <pc:docMk/>
            <pc:sldMk cId="838099151" sldId="2134804292"/>
            <ac:spMk id="72" creationId="{622D38D3-D447-4679-8F81-A3EC3CD4CFF6}"/>
          </ac:spMkLst>
        </pc:spChg>
        <pc:spChg chg="mod">
          <ac:chgData name="Yuly Andrea Castaneda Ramirez (CENIT)" userId="S::yuly.castaneda@cenit-transporte.com::9d6b9224-b289-47c8-b6d4-3bf138101243" providerId="AD" clId="Web-{273310E5-473D-9836-DDDD-E3CFF223FA4B}" dt="2020-06-16T23:06:49.463" v="23"/>
          <ac:spMkLst>
            <pc:docMk/>
            <pc:sldMk cId="838099151" sldId="2134804292"/>
            <ac:spMk id="137" creationId="{F2F1441C-82E3-4978-ADB4-2E81AB714A12}"/>
          </ac:spMkLst>
        </pc:spChg>
      </pc:sldChg>
    </pc:docChg>
  </pc:docChgLst>
  <pc:docChgLst>
    <pc:chgData name="Mariam Daniela Tristancho Pineda (PTA SAS)" userId="a45a17f7-7950-4cb5-bfab-f5c894f959a9" providerId="ADAL" clId="{7EBB4E1E-93A9-4035-834A-9A0B60182E9F}"/>
    <pc:docChg chg="undo custSel addSld delSld modSld sldOrd">
      <pc:chgData name="Mariam Daniela Tristancho Pineda (PTA SAS)" userId="a45a17f7-7950-4cb5-bfab-f5c894f959a9" providerId="ADAL" clId="{7EBB4E1E-93A9-4035-834A-9A0B60182E9F}" dt="2020-10-14T13:45:15.613" v="3904"/>
      <pc:docMkLst>
        <pc:docMk/>
      </pc:docMkLst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983129115" sldId="256"/>
        </pc:sldMkLst>
      </pc:sldChg>
      <pc:sldChg chg="add ord">
        <pc:chgData name="Mariam Daniela Tristancho Pineda (PTA SAS)" userId="a45a17f7-7950-4cb5-bfab-f5c894f959a9" providerId="ADAL" clId="{7EBB4E1E-93A9-4035-834A-9A0B60182E9F}" dt="2020-10-13T21:38:27.393" v="3696"/>
        <pc:sldMkLst>
          <pc:docMk/>
          <pc:sldMk cId="2393382206" sldId="257"/>
        </pc:sldMkLst>
      </pc:sldChg>
      <pc:sldChg chg="add del setBg">
        <pc:chgData name="Mariam Daniela Tristancho Pineda (PTA SAS)" userId="a45a17f7-7950-4cb5-bfab-f5c894f959a9" providerId="ADAL" clId="{7EBB4E1E-93A9-4035-834A-9A0B60182E9F}" dt="2020-10-08T15:26:14.903" v="3580" actId="47"/>
        <pc:sldMkLst>
          <pc:docMk/>
          <pc:sldMk cId="3581186725" sldId="257"/>
        </pc:sldMkLst>
      </pc:sldChg>
      <pc:sldChg chg="modSp add">
        <pc:chgData name="Mariam Daniela Tristancho Pineda (PTA SAS)" userId="a45a17f7-7950-4cb5-bfab-f5c894f959a9" providerId="ADAL" clId="{7EBB4E1E-93A9-4035-834A-9A0B60182E9F}" dt="2020-10-13T22:04:12.619" v="3786" actId="1076"/>
        <pc:sldMkLst>
          <pc:docMk/>
          <pc:sldMk cId="79256001" sldId="258"/>
        </pc:sldMkLst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2" creationId="{090C1320-6994-484E-A891-913C54413B2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3" creationId="{21EC57EB-0533-4E47-AA50-282AAFAC0C2F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4" creationId="{D442C354-3ADD-B04D-B860-90F480313E1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5" creationId="{4E5DD6D4-184B-6245-9D44-B9BE5232C37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6" creationId="{2816FD52-DCF4-C642-B5C7-2374B589731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7" creationId="{27C50117-71E2-594B-8DE8-F95F232BBD2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8" creationId="{E7640469-FD64-0C4F-AB4C-D64B250C9D4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9" creationId="{3A90D63D-516E-9941-8F3C-8D95623286A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0" creationId="{5733140C-0370-9E4B-812B-8D8D407DB28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1" creationId="{3DF75C4D-AE82-D544-A1F0-8847388657E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2" creationId="{4554435D-2047-A842-92E7-E6D20BAF879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3" creationId="{1516991E-988E-544B-A816-FAC52864EC8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4" creationId="{FE142598-CDDF-684A-8BF7-41BF664676F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5" creationId="{3E926638-3ADF-5842-9B9B-500B655F1DF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6" creationId="{6C408736-E65A-1E4C-9008-E2A375F33A0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7" creationId="{30164589-AF63-904F-A66E-C469323BD2E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8" creationId="{43F79088-60FD-8145-B200-1C943CAFBBE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9" creationId="{7C7C4743-BADF-1B40-A028-0F0F37687EB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0" creationId="{D2E5CC20-1819-8447-8781-68B88D24993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1" creationId="{17F87D26-F4B3-8342-BD52-97C8C66FF9B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2" creationId="{0214F479-3FBB-0940-9024-8BF8EB4040E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3" creationId="{6D4E3C27-A98A-7C4B-9432-E18DD3F6C9FF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4" creationId="{DD45D8B4-C4E3-3E46-9EA2-EF8598F112B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5" creationId="{5F99D43B-CDAC-EB4B-A035-30408FE6720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6" creationId="{A31851A8-CD2F-544B-A65E-B9E87B4EE564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7" creationId="{37449BD8-8406-154B-8C21-A7F70DA8737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8" creationId="{27D211E2-BCFC-654C-ABE0-6D6151689554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9" creationId="{201393E1-987D-9745-BED3-AF761D8E966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46" creationId="{3A16BB13-572D-624C-98C6-AC1F4675FAC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47" creationId="{8C325362-5400-E547-9C5B-B8C80D083428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48" creationId="{7AF7773A-437D-884B-9A70-0F6DB024980F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51" creationId="{F1B8782F-24EB-684D-9550-E6CD4E7C74F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52" creationId="{78AB6B13-BA6A-0B41-AFE9-752B0136F818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53" creationId="{23F15020-E526-3946-9A1A-ECE8C4611149}"/>
          </ac:spMkLst>
        </pc:sp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0" creationId="{47479E3D-AB29-CB43-8A56-3573FF2A6027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1" creationId="{1FEE7DF4-3FF6-474C-94DF-241B045E0351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2" creationId="{D24E3E24-A6DF-2E40-B551-BFA4581BB5EC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3" creationId="{66DCB0E8-2FEC-9E48-B14B-0E6ABED98DBD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4" creationId="{86D5500F-30F1-0D43-9511-3005A9240EC8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5" creationId="{8CDFB431-E605-E646-821C-E95A978A0189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701447597" sldId="263"/>
        </pc:sldMkLst>
      </pc:sldChg>
      <pc:sldChg chg="add">
        <pc:chgData name="Mariam Daniela Tristancho Pineda (PTA SAS)" userId="a45a17f7-7950-4cb5-bfab-f5c894f959a9" providerId="ADAL" clId="{7EBB4E1E-93A9-4035-834A-9A0B60182E9F}" dt="2020-10-13T23:32:25.113" v="3839"/>
        <pc:sldMkLst>
          <pc:docMk/>
          <pc:sldMk cId="3844388932" sldId="264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573704206" sldId="279"/>
        </pc:sldMkLst>
      </pc:sldChg>
      <pc:sldChg chg="add">
        <pc:chgData name="Mariam Daniela Tristancho Pineda (PTA SAS)" userId="a45a17f7-7950-4cb5-bfab-f5c894f959a9" providerId="ADAL" clId="{7EBB4E1E-93A9-4035-834A-9A0B60182E9F}" dt="2020-10-13T21:39:46.904" v="3697"/>
        <pc:sldMkLst>
          <pc:docMk/>
          <pc:sldMk cId="1701384957" sldId="280"/>
        </pc:sldMkLst>
      </pc:sldChg>
      <pc:sldChg chg="delSp add del mod setBg">
        <pc:chgData name="Mariam Daniela Tristancho Pineda (PTA SAS)" userId="a45a17f7-7950-4cb5-bfab-f5c894f959a9" providerId="ADAL" clId="{7EBB4E1E-93A9-4035-834A-9A0B60182E9F}" dt="2020-10-08T15:27:35.064" v="3582" actId="47"/>
        <pc:sldMkLst>
          <pc:docMk/>
          <pc:sldMk cId="1900757941" sldId="282"/>
        </pc:sldMkLst>
        <pc:picChg chg="del">
          <ac:chgData name="Mariam Daniela Tristancho Pineda (PTA SAS)" userId="a45a17f7-7950-4cb5-bfab-f5c894f959a9" providerId="ADAL" clId="{7EBB4E1E-93A9-4035-834A-9A0B60182E9F}" dt="2020-10-08T15:27:13.186" v="3581" actId="478"/>
          <ac:picMkLst>
            <pc:docMk/>
            <pc:sldMk cId="1900757941" sldId="282"/>
            <ac:picMk id="10" creationId="{00000000-0000-0000-0000-000000000000}"/>
          </ac:picMkLst>
        </pc:picChg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2374507134" sldId="282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553431596" sldId="283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152085915" sldId="284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864960676" sldId="286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839694801" sldId="287"/>
        </pc:sldMkLst>
      </pc:sldChg>
      <pc:sldChg chg="modSp add mod">
        <pc:chgData name="Mariam Daniela Tristancho Pineda (PTA SAS)" userId="a45a17f7-7950-4cb5-bfab-f5c894f959a9" providerId="ADAL" clId="{7EBB4E1E-93A9-4035-834A-9A0B60182E9F}" dt="2020-10-06T16:20:31.188" v="893" actId="20577"/>
        <pc:sldMkLst>
          <pc:docMk/>
          <pc:sldMk cId="1046801049" sldId="288"/>
        </pc:sldMkLst>
        <pc:spChg chg="mod">
          <ac:chgData name="Mariam Daniela Tristancho Pineda (PTA SAS)" userId="a45a17f7-7950-4cb5-bfab-f5c894f959a9" providerId="ADAL" clId="{7EBB4E1E-93A9-4035-834A-9A0B60182E9F}" dt="2020-10-06T16:20:31.188" v="893" actId="20577"/>
          <ac:spMkLst>
            <pc:docMk/>
            <pc:sldMk cId="1046801049" sldId="288"/>
            <ac:spMk id="17" creationId="{D90E3A1E-2F31-41DC-B883-AFD300F30ED5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20" creationId="{BA71CAB1-059A-4682-B7CE-73D93DC727F2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42" creationId="{8C6C9463-38E0-44BF-A606-AD2FAE25F4EF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48" creationId="{3D5B9A0C-A094-44A4-8CD7-BD8B7612947C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50" creationId="{A92FB6B2-22A2-4568-A9CA-7C97419CC0A1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54" creationId="{CD2E0FE5-7403-40BC-BD69-19937EDD1C27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60" creationId="{63D96A83-7AC3-44B6-B68B-2AB5BFE50843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91" creationId="{07CBC177-9FC6-C343-A97F-7D9FD1AD4A40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93" creationId="{821B7FB2-45AC-7943-9211-8C5A56B0B1D0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94" creationId="{4B1C927A-9904-0645-BCA2-25CA2CAF52C5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99" creationId="{F7274B33-B192-4347-A044-6DC3E078F83D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106" creationId="{88C01678-B2F7-1045-90CD-53A08DDEB55A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109" creationId="{DC6FE364-503B-7946-8E38-C2A6F34B3F59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110" creationId="{86D16295-E7AA-AD4A-BBAC-9BD05EEA09B8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111" creationId="{C9BEE47A-869F-5147-B51D-BCF46C0AE4A1}"/>
          </ac:spMkLst>
        </pc:spChg>
        <pc:picChg chg="mod">
          <ac:chgData name="Mariam Daniela Tristancho Pineda (PTA SAS)" userId="a45a17f7-7950-4cb5-bfab-f5c894f959a9" providerId="ADAL" clId="{7EBB4E1E-93A9-4035-834A-9A0B60182E9F}" dt="2020-10-06T16:18:08.819" v="868" actId="1038"/>
          <ac:picMkLst>
            <pc:docMk/>
            <pc:sldMk cId="1046801049" sldId="288"/>
            <ac:picMk id="33" creationId="{52F0AC2F-4F50-514E-BAC5-40FB8FFE3B9F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18:08.819" v="868" actId="1038"/>
          <ac:picMkLst>
            <pc:docMk/>
            <pc:sldMk cId="1046801049" sldId="288"/>
            <ac:picMk id="101" creationId="{D30FAB84-6765-4EA7-8B2C-0B76621F31E4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18:16.940" v="870" actId="1076"/>
          <ac:picMkLst>
            <pc:docMk/>
            <pc:sldMk cId="1046801049" sldId="288"/>
            <ac:picMk id="103" creationId="{7C64DD4C-B66D-4C04-B15D-EDBF75D4827D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18:29.713" v="872" actId="1076"/>
          <ac:picMkLst>
            <pc:docMk/>
            <pc:sldMk cId="1046801049" sldId="288"/>
            <ac:picMk id="105" creationId="{D28A723D-BE5C-4CCD-BB55-26CC0939C143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18:08.819" v="868" actId="1038"/>
          <ac:picMkLst>
            <pc:docMk/>
            <pc:sldMk cId="1046801049" sldId="288"/>
            <ac:picMk id="107" creationId="{DDDCB467-82D2-4906-8E14-265CD169797B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18:08.819" v="868" actId="1038"/>
          <ac:picMkLst>
            <pc:docMk/>
            <pc:sldMk cId="1046801049" sldId="288"/>
            <ac:picMk id="135" creationId="{4E16E3A8-711F-4172-B56E-43B025F29A3E}"/>
          </ac:picMkLst>
        </pc:picChg>
      </pc:sldChg>
      <pc:sldChg chg="addSp delSp modSp add mod setBg">
        <pc:chgData name="Mariam Daniela Tristancho Pineda (PTA SAS)" userId="a45a17f7-7950-4cb5-bfab-f5c894f959a9" providerId="ADAL" clId="{7EBB4E1E-93A9-4035-834A-9A0B60182E9F}" dt="2020-10-13T21:51:20.875" v="3769" actId="1037"/>
        <pc:sldMkLst>
          <pc:docMk/>
          <pc:sldMk cId="676461558" sldId="291"/>
        </pc:sldMkLst>
        <pc:spChg chg="add mod">
          <ac:chgData name="Mariam Daniela Tristancho Pineda (PTA SAS)" userId="a45a17f7-7950-4cb5-bfab-f5c894f959a9" providerId="ADAL" clId="{7EBB4E1E-93A9-4035-834A-9A0B60182E9F}" dt="2020-10-08T15:27:49.555" v="3593" actId="1076"/>
          <ac:spMkLst>
            <pc:docMk/>
            <pc:sldMk cId="676461558" sldId="291"/>
            <ac:spMk id="2" creationId="{7D76A58A-375F-4061-9D4C-651C14864658}"/>
          </ac:spMkLst>
        </pc:spChg>
        <pc:spChg chg="mod">
          <ac:chgData name="Mariam Daniela Tristancho Pineda (PTA SAS)" userId="a45a17f7-7950-4cb5-bfab-f5c894f959a9" providerId="ADAL" clId="{7EBB4E1E-93A9-4035-834A-9A0B60182E9F}" dt="2020-10-13T21:43:01.845" v="3732" actId="478"/>
          <ac:spMkLst>
            <pc:docMk/>
            <pc:sldMk cId="676461558" sldId="291"/>
            <ac:spMk id="75" creationId="{5B8CCDEC-3063-4086-81AC-9F72052576DB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76" creationId="{EEF9D3BD-0FCD-4E3B-A30D-451C7AAF6633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12.615" v="3753" actId="1035"/>
          <ac:spMkLst>
            <pc:docMk/>
            <pc:sldMk cId="676461558" sldId="291"/>
            <ac:spMk id="77" creationId="{44DAAF07-704B-4AD2-9029-4FE6270429E3}"/>
          </ac:spMkLst>
        </pc:spChg>
        <pc:spChg chg="mod">
          <ac:chgData name="Mariam Daniela Tristancho Pineda (PTA SAS)" userId="a45a17f7-7950-4cb5-bfab-f5c894f959a9" providerId="ADAL" clId="{7EBB4E1E-93A9-4035-834A-9A0B60182E9F}" dt="2020-10-13T21:43:01.845" v="3732" actId="478"/>
          <ac:spMkLst>
            <pc:docMk/>
            <pc:sldMk cId="676461558" sldId="291"/>
            <ac:spMk id="78" creationId="{D7ED818D-DF43-4887-9FC6-46A86EADD745}"/>
          </ac:spMkLst>
        </pc:spChg>
        <pc:spChg chg="mod">
          <ac:chgData name="Mariam Daniela Tristancho Pineda (PTA SAS)" userId="a45a17f7-7950-4cb5-bfab-f5c894f959a9" providerId="ADAL" clId="{7EBB4E1E-93A9-4035-834A-9A0B60182E9F}" dt="2020-10-13T21:43:01.845" v="3732" actId="478"/>
          <ac:spMkLst>
            <pc:docMk/>
            <pc:sldMk cId="676461558" sldId="291"/>
            <ac:spMk id="79" creationId="{7BFD4651-C124-4098-991C-AAEA34B50BD1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12.615" v="3753" actId="1035"/>
          <ac:spMkLst>
            <pc:docMk/>
            <pc:sldMk cId="676461558" sldId="291"/>
            <ac:spMk id="80" creationId="{E4642C6D-F1C3-451F-AEC6-3440A3FD291D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12.615" v="3753" actId="1035"/>
          <ac:spMkLst>
            <pc:docMk/>
            <pc:sldMk cId="676461558" sldId="291"/>
            <ac:spMk id="81" creationId="{646D5B8E-AC08-4AA5-823A-4F62C3888F63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12.615" v="3753" actId="1035"/>
          <ac:spMkLst>
            <pc:docMk/>
            <pc:sldMk cId="676461558" sldId="291"/>
            <ac:spMk id="82" creationId="{8E48A216-4859-4526-9CC2-DFF2DC55EDD5}"/>
          </ac:spMkLst>
        </pc:spChg>
        <pc:spChg chg="mod">
          <ac:chgData name="Mariam Daniela Tristancho Pineda (PTA SAS)" userId="a45a17f7-7950-4cb5-bfab-f5c894f959a9" providerId="ADAL" clId="{7EBB4E1E-93A9-4035-834A-9A0B60182E9F}" dt="2020-10-13T21:43:01.845" v="3732" actId="478"/>
          <ac:spMkLst>
            <pc:docMk/>
            <pc:sldMk cId="676461558" sldId="291"/>
            <ac:spMk id="83" creationId="{547F6A79-4122-46A8-AB72-6BC5CCC79737}"/>
          </ac:spMkLst>
        </pc:spChg>
        <pc:spChg chg="del mod">
          <ac:chgData name="Mariam Daniela Tristancho Pineda (PTA SAS)" userId="a45a17f7-7950-4cb5-bfab-f5c894f959a9" providerId="ADAL" clId="{7EBB4E1E-93A9-4035-834A-9A0B60182E9F}" dt="2020-10-08T15:27:41.981" v="3585" actId="478"/>
          <ac:spMkLst>
            <pc:docMk/>
            <pc:sldMk cId="676461558" sldId="291"/>
            <ac:spMk id="104" creationId="{8CE1B58E-79F2-4989-B54A-0EC4BAD566C3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08" creationId="{0DFAE232-C03A-4447-AF4F-2FEEE826CF8A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11" creationId="{238FD54F-35A5-4122-9015-D197608097DD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12" creationId="{0DC8B8DA-3D9B-4936-81F1-CE85FFE781C2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15" creationId="{DB35C4D3-61DC-4194-A530-0CD186587533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18" creationId="{005BD08C-0EE8-4633-8B97-08CC29CE51B8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19" creationId="{E3BEB78D-E8E1-481E-8CEB-EEC808402A59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20" creationId="{D1B62530-57CE-4A21-A7E2-B81C22F47BB8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21" creationId="{878445E7-B1EA-49B9-9A06-600E42D9C00D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28" creationId="{ED59BBA5-78C0-4BAE-A239-BB0D192DF18D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29" creationId="{38F6E427-4252-4DBA-A22D-B030B7878228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0" creationId="{3F9DB1DF-1494-4D67-AE7E-694DC494A129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1" creationId="{7BEB4D49-A38C-4972-AA35-9C77065D91C7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4" creationId="{5BC2AB0D-6046-4152-AF02-7891CB54CA54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5" creationId="{0972EA45-CA71-4C58-B3E3-2CE03A37733F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6" creationId="{10F2F476-E3DF-44DB-93E1-67C528B845D4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7" creationId="{E07EEAAE-3F46-4635-B660-163BBE708926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44" creationId="{9A40AC9D-F2DE-429E-B1E7-87793BEF9411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45" creationId="{CFD7A2B8-7760-4F47-9755-80C90649B2FD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46" creationId="{288966CF-A2CB-4920-8B6E-870D67CE8DB4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47" creationId="{7B9ED864-7CF7-4FC1-AAEB-6C50E8128BD6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58" creationId="{D7DCC36E-87EB-40F0-B8DA-26802C828AF9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0" creationId="{C60BD2D3-9268-46A4-A248-8754845A2B7A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1" creationId="{9DEB7601-FDE6-4584-A603-436E8B612A41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2" creationId="{2A62CB7D-E2D1-48FE-AA10-A873E92AE577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4" creationId="{BDBFDC69-A308-49F6-B954-651C284DFA8F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5" creationId="{532C5EF6-9E60-460C-8174-9AA5833C4275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6" creationId="{E051AACB-533A-458D-A6AD-4EE882A51BFA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7" creationId="{6110F769-958A-47EA-9391-D7D10AB9A4BC}"/>
          </ac:spMkLst>
        </pc:spChg>
        <pc:grpChg chg="add mod">
          <ac:chgData name="Mariam Daniela Tristancho Pineda (PTA SAS)" userId="a45a17f7-7950-4cb5-bfab-f5c894f959a9" providerId="ADAL" clId="{7EBB4E1E-93A9-4035-834A-9A0B60182E9F}" dt="2020-10-13T21:43:01.845" v="3732" actId="478"/>
          <ac:grpSpMkLst>
            <pc:docMk/>
            <pc:sldMk cId="676461558" sldId="291"/>
            <ac:grpSpMk id="74" creationId="{121B6C72-25EA-420A-B3EF-5E5C41E9C8A8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87" creationId="{2048A83A-AA05-4B15-BF12-590132B0B976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17" creationId="{6B2613F8-F744-454D-91E2-AEE6A9F29C43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27" creationId="{60702B56-DECD-447B-A9E3-E75220CE6451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33" creationId="{230FEFAE-02E8-496A-B8AD-506B3F9F1126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43" creationId="{C2B0831D-672E-4270-8739-782D4278768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53" creationId="{C74AA7BD-0482-4430-AE80-88955BE81BD6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63" creationId="{4C04BC2E-3186-4C80-B37F-E5B305AAC1ED}"/>
          </ac:grpSpMkLst>
        </pc:grpChg>
        <pc:picChg chg="del mod">
          <ac:chgData name="Mariam Daniela Tristancho Pineda (PTA SAS)" userId="a45a17f7-7950-4cb5-bfab-f5c894f959a9" providerId="ADAL" clId="{7EBB4E1E-93A9-4035-834A-9A0B60182E9F}" dt="2020-10-13T21:43:01.845" v="3732" actId="478"/>
          <ac:picMkLst>
            <pc:docMk/>
            <pc:sldMk cId="676461558" sldId="291"/>
            <ac:picMk id="84" creationId="{12D90C34-7021-4B13-9148-93C1A48969F9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16" creationId="{5BC46F26-8961-4F34-9760-89437609076D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22" creationId="{735FD6AB-4D9E-48C4-A2A4-4CB2A1261919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32" creationId="{D85EFBB4-82A1-4AEB-A02E-54D3607A36BA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38" creationId="{5BCB04AD-8A35-4E76-831A-BE37AB758B92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48" creationId="{4B1C7764-E939-4F67-A9D8-34E249741996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59" creationId="{9E8D376D-8F72-4FAA-8753-2439E745B16B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68" creationId="{BFFEDC3F-5D44-459C-AB94-57B812C8143F}"/>
          </ac:picMkLst>
        </pc:picChg>
        <pc:cxnChg chg="add mod">
          <ac:chgData name="Mariam Daniela Tristancho Pineda (PTA SAS)" userId="a45a17f7-7950-4cb5-bfab-f5c894f959a9" providerId="ADAL" clId="{7EBB4E1E-93A9-4035-834A-9A0B60182E9F}" dt="2020-10-13T21:43:07.852" v="3733"/>
          <ac:cxnSpMkLst>
            <pc:docMk/>
            <pc:sldMk cId="676461558" sldId="291"/>
            <ac:cxnSpMk id="85" creationId="{0D4611E1-A165-442F-BA2C-8F441113EDF5}"/>
          </ac:cxnSpMkLst>
        </pc:cxnChg>
        <pc:cxnChg chg="add mod">
          <ac:chgData name="Mariam Daniela Tristancho Pineda (PTA SAS)" userId="a45a17f7-7950-4cb5-bfab-f5c894f959a9" providerId="ADAL" clId="{7EBB4E1E-93A9-4035-834A-9A0B60182E9F}" dt="2020-10-13T21:43:07.852" v="3733"/>
          <ac:cxnSpMkLst>
            <pc:docMk/>
            <pc:sldMk cId="676461558" sldId="291"/>
            <ac:cxnSpMk id="86" creationId="{64B00851-8360-444C-895D-C871B795CB0E}"/>
          </ac:cxnSpMkLst>
        </pc:cxnChg>
        <pc:cxnChg chg="add mod">
          <ac:chgData name="Mariam Daniela Tristancho Pineda (PTA SAS)" userId="a45a17f7-7950-4cb5-bfab-f5c894f959a9" providerId="ADAL" clId="{7EBB4E1E-93A9-4035-834A-9A0B60182E9F}" dt="2020-10-13T21:43:07.852" v="3733"/>
          <ac:cxnSpMkLst>
            <pc:docMk/>
            <pc:sldMk cId="676461558" sldId="291"/>
            <ac:cxnSpMk id="88" creationId="{F8AA4A87-F341-4370-ADEB-048748734F1E}"/>
          </ac:cxnSpMkLst>
        </pc:cxnChg>
        <pc:cxnChg chg="add mod">
          <ac:chgData name="Mariam Daniela Tristancho Pineda (PTA SAS)" userId="a45a17f7-7950-4cb5-bfab-f5c894f959a9" providerId="ADAL" clId="{7EBB4E1E-93A9-4035-834A-9A0B60182E9F}" dt="2020-10-13T21:43:07.852" v="3733"/>
          <ac:cxnSpMkLst>
            <pc:docMk/>
            <pc:sldMk cId="676461558" sldId="291"/>
            <ac:cxnSpMk id="89" creationId="{7AC3B9E8-5AA8-4AC2-92CB-72376F0FD425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09" creationId="{7434769E-8F5B-4CDA-AFEA-2FA908180F28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10" creationId="{C0926ED7-6C71-4132-9062-E0B720E03046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13" creationId="{59088CD4-BBE7-483B-9FF9-1D62F9236779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14" creationId="{945F525E-96D6-4C2C-A528-6A902709A377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23" creationId="{C7FAFEC2-6E97-4F6F-BA24-F080C2F52D9B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24" creationId="{052C1626-B7E9-4CBB-B41B-19F1C52B2489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25" creationId="{EEBFE2DA-5127-4FBD-871C-BC30BC9886B6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26" creationId="{A0159407-C1E0-42F9-96B7-52E8DE9FB54C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39" creationId="{C3E2F61F-1C4B-476B-A2BD-A0EB158221F7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40" creationId="{113CCA2C-1CA9-4102-92F6-87C454341705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41" creationId="{A84DA711-F321-4D6A-8C5F-7514C157EC7F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42" creationId="{6B8615B1-8EDC-48F5-B371-CCB9A26F6263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49" creationId="{3DD257FE-0DBC-4BDE-8E41-F0693773C024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0" creationId="{6A192D05-FA68-4C91-B411-42299285EFCC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1" creationId="{70130B1F-D0F6-464E-B312-55BB85042484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2" creationId="{C3DB8877-7BF3-4FAC-A3D2-5BA95D944800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4" creationId="{257C7050-446B-4BC0-AE56-15B1276BF84B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5" creationId="{1EDA848A-C3C5-44F2-B0B2-5B39061E32D7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6" creationId="{6D136770-E5C6-4FD4-994A-347A35303349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7" creationId="{53B5734F-88D4-4463-BC76-B0A78957F1BB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69" creationId="{EFE50E1C-6452-48D5-887E-325BDE8412DF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70" creationId="{9C6D144F-AE7D-41B8-A40D-748F60DC87E9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71" creationId="{F9A75E3E-F16F-47D3-AD78-BFC9C9348449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72" creationId="{3767DA6F-DABE-4D6F-AE17-AB5D8250600B}"/>
          </ac:cxnSpMkLst>
        </pc:cxnChg>
      </pc:sldChg>
      <pc:sldChg chg="modSp add setBg">
        <pc:chgData name="Mariam Daniela Tristancho Pineda (PTA SAS)" userId="a45a17f7-7950-4cb5-bfab-f5c894f959a9" providerId="ADAL" clId="{7EBB4E1E-93A9-4035-834A-9A0B60182E9F}" dt="2020-10-13T22:08:11.778" v="3794" actId="207"/>
        <pc:sldMkLst>
          <pc:docMk/>
          <pc:sldMk cId="2420381739" sldId="293"/>
        </pc:sldMkLst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13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14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15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16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17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28" creationId="{469FFF33-FBA2-4928-A28E-F8DA63BB85A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2" creationId="{C81B52F9-6545-41FC-8FDD-04AD3F51D34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3" creationId="{2838E78F-A0B8-4E13-88C4-1FC0EA0CFC9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4" creationId="{2597569B-1703-4C46-AF01-010856657B7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5" creationId="{2C07EABB-C99B-4891-B442-0E1FD4CB627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6" creationId="{4BD75945-4DBD-455A-A66C-C1FD576E601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7" creationId="{579F6135-9230-4202-AB72-5F5EEB80D72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8" creationId="{D6939C34-FA38-4690-9FCA-56D6552E8E3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9" creationId="{DFFAD689-083F-4B62-A266-176833C7A87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40" creationId="{C596F085-F02C-4218-9E54-8F8EE9C3336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41" creationId="{D3E8B1A9-9D48-4099-935B-16F8678F5A2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4" creationId="{075551A8-EF01-A94E-9BBA-E0D70B5B43E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5" creationId="{32DF14CA-43D5-D34B-AF22-CA54E06EAE0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6" creationId="{2702C704-BFAB-C244-B9BC-13B8F321592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7" creationId="{DCD0B206-F865-A74E-83C1-329B0B0F3EF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8" creationId="{2E5F2F13-35BD-BA40-8AA7-AD9BD92C9A9F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9" creationId="{16A43156-C86E-9D43-8A63-1E2E0C8C297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0" creationId="{FA2EC263-1E05-814E-A422-4272F5E0F47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1" creationId="{FC8E68AB-451B-3A48-89DA-48C83AF4219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2" creationId="{44159E44-9AC1-AF4F-9258-3E102A0EB0F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3" creationId="{34A71376-20AF-F548-8D0C-E44AA292161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7" creationId="{0228C0B3-15C8-864A-8130-07EF282D1B5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9" creationId="{82A24DB1-AA75-C545-A1AE-613008D4A99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70" creationId="{000CC94D-B3DF-DF45-A1A0-F1B96CC0088C}"/>
          </ac:spMkLst>
        </pc:spChg>
        <pc:grpChg chg="mod">
          <ac:chgData name="Mariam Daniela Tristancho Pineda (PTA SAS)" userId="a45a17f7-7950-4cb5-bfab-f5c894f959a9" providerId="ADAL" clId="{7EBB4E1E-93A9-4035-834A-9A0B60182E9F}" dt="2020-10-13T22:08:11.778" v="3794" actId="207"/>
          <ac:grpSpMkLst>
            <pc:docMk/>
            <pc:sldMk cId="2420381739" sldId="293"/>
            <ac:grpSpMk id="64" creationId="{46295CC4-4489-1242-BEC2-14B517A85F89}"/>
          </ac:grpSpMkLst>
        </pc:grpChg>
        <pc:picChg chg="mod">
          <ac:chgData name="Mariam Daniela Tristancho Pineda (PTA SAS)" userId="a45a17f7-7950-4cb5-bfab-f5c894f959a9" providerId="ADAL" clId="{7EBB4E1E-93A9-4035-834A-9A0B60182E9F}" dt="2020-10-13T22:08:11.778" v="3794" actId="207"/>
          <ac:picMkLst>
            <pc:docMk/>
            <pc:sldMk cId="2420381739" sldId="293"/>
            <ac:picMk id="2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11.778" v="3794" actId="207"/>
          <ac:picMkLst>
            <pc:docMk/>
            <pc:sldMk cId="2420381739" sldId="293"/>
            <ac:picMk id="29" creationId="{6402AAE5-7ADB-4F07-87AE-6E87C3C807B9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11.778" v="3794" actId="207"/>
          <ac:picMkLst>
            <pc:docMk/>
            <pc:sldMk cId="2420381739" sldId="293"/>
            <ac:picMk id="68" creationId="{4FAEAB64-19CD-2549-95BA-092DB91C5355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11.778" v="3794" actId="207"/>
          <ac:picMkLst>
            <pc:docMk/>
            <pc:sldMk cId="2420381739" sldId="293"/>
            <ac:picMk id="71" creationId="{DD3DEAFC-4EBB-8C4C-97E0-DDF6D24A2C11}"/>
          </ac:picMkLst>
        </pc:picChg>
      </pc:sldChg>
      <pc:sldChg chg="modSp add setBg">
        <pc:chgData name="Mariam Daniela Tristancho Pineda (PTA SAS)" userId="a45a17f7-7950-4cb5-bfab-f5c894f959a9" providerId="ADAL" clId="{7EBB4E1E-93A9-4035-834A-9A0B60182E9F}" dt="2020-10-13T22:09:07.762" v="3815" actId="208"/>
        <pc:sldMkLst>
          <pc:docMk/>
          <pc:sldMk cId="797733494" sldId="297"/>
        </pc:sldMkLst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4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5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7" creationId="{3275A2DB-FF4D-4A63-AA5E-92EF107EBCA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8" creationId="{3E6ECC50-E1D4-4068-9C51-9462DA17BA0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23" creationId="{8044EFED-5844-49F5-BE08-EDBB50C8926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24" creationId="{EF195726-DE5A-443F-9CD4-D1F087940C78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25" creationId="{1C35055A-B902-455E-B299-37DE138F30EF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26" creationId="{F191C46A-D8E9-45A4-9BD2-4ACDFAFFFE4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28" creationId="{73B24458-CB02-433E-A912-8427D5C1E5A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2" creationId="{BE41E3C2-7E79-4185-9A4A-205158364D68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3" creationId="{76340788-3C00-4567-8509-6D8865621F2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4" creationId="{A060BC3F-A916-4C37-AC5B-157081BC069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5" creationId="{72BA83DE-464E-4360-80B2-506C2A0E101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6" creationId="{E0AF671E-1CCF-4F59-A5D4-B3298A6CC674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7" creationId="{96278842-8869-4AFD-9F10-4878AA601F5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8" creationId="{0D2AD4C5-2112-4EFC-A2A0-EC062DA3459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9" creationId="{ACA8B808-650D-4390-A977-7A31172EBA6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40" creationId="{CB8B12CD-17CB-4374-A645-15E4B26A95D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41" creationId="{A2A3418B-1FDB-41FF-BB36-A71F1319EF18}"/>
          </ac:spMkLst>
        </pc:spChg>
        <pc:grpChg chg="mod">
          <ac:chgData name="Mariam Daniela Tristancho Pineda (PTA SAS)" userId="a45a17f7-7950-4cb5-bfab-f5c894f959a9" providerId="ADAL" clId="{7EBB4E1E-93A9-4035-834A-9A0B60182E9F}" dt="2020-10-13T22:09:07.762" v="3815" actId="208"/>
          <ac:grpSpMkLst>
            <pc:docMk/>
            <pc:sldMk cId="797733494" sldId="297"/>
            <ac:grpSpMk id="42" creationId="{CFFC9C28-9BBD-4FFC-83FD-BD34E6C82D79}"/>
          </ac:grpSpMkLst>
        </pc:grpChg>
        <pc:picChg chg="mod">
          <ac:chgData name="Mariam Daniela Tristancho Pineda (PTA SAS)" userId="a45a17f7-7950-4cb5-bfab-f5c894f959a9" providerId="ADAL" clId="{7EBB4E1E-93A9-4035-834A-9A0B60182E9F}" dt="2020-10-13T22:09:07.762" v="3815" actId="208"/>
          <ac:picMkLst>
            <pc:docMk/>
            <pc:sldMk cId="797733494" sldId="297"/>
            <ac:picMk id="2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9:07.762" v="3815" actId="208"/>
          <ac:picMkLst>
            <pc:docMk/>
            <pc:sldMk cId="797733494" sldId="297"/>
            <ac:picMk id="12" creationId="{E5D9F84B-4EF1-4BE4-AC3E-F4B17CF3CAB1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9:07.762" v="3815" actId="208"/>
          <ac:picMkLst>
            <pc:docMk/>
            <pc:sldMk cId="797733494" sldId="297"/>
            <ac:picMk id="14" creationId="{B8C2959C-1050-407B-9C35-12D6AA3B39A2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9:07.762" v="3815" actId="208"/>
          <ac:picMkLst>
            <pc:docMk/>
            <pc:sldMk cId="797733494" sldId="297"/>
            <ac:picMk id="45" creationId="{A5B449F3-5F0E-4F6E-8877-6C82BC2D355E}"/>
          </ac:picMkLst>
        </pc:picChg>
      </pc:sldChg>
      <pc:sldChg chg="modSp add setBg">
        <pc:chgData name="Mariam Daniela Tristancho Pineda (PTA SAS)" userId="a45a17f7-7950-4cb5-bfab-f5c894f959a9" providerId="ADAL" clId="{7EBB4E1E-93A9-4035-834A-9A0B60182E9F}" dt="2020-10-13T22:10:17.361" v="3818" actId="1076"/>
        <pc:sldMkLst>
          <pc:docMk/>
          <pc:sldMk cId="2623911924" sldId="298"/>
        </pc:sldMkLst>
        <pc:spChg chg="mod">
          <ac:chgData name="Mariam Daniela Tristancho Pineda (PTA SAS)" userId="a45a17f7-7950-4cb5-bfab-f5c894f959a9" providerId="ADAL" clId="{7EBB4E1E-93A9-4035-834A-9A0B60182E9F}" dt="2020-10-13T22:09:31.133" v="3817" actId="207"/>
          <ac:spMkLst>
            <pc:docMk/>
            <pc:sldMk cId="2623911924" sldId="298"/>
            <ac:spMk id="11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0" creationId="{E940FFDD-CF3B-43F7-907F-20639F966AB9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1" creationId="{91706E1D-0668-4354-9C2C-052AC2B04EFE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2" creationId="{1B65E16C-D30F-4501-8A0B-EC42EC0EEC1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31.133" v="3817" actId="207"/>
          <ac:spMkLst>
            <pc:docMk/>
            <pc:sldMk cId="2623911924" sldId="298"/>
            <ac:spMk id="34" creationId="{9D5EAC75-C57B-41D1-BEF5-42E254AD95FA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6" creationId="{E77170F5-0062-476F-99B3-68F09D53F05A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7" creationId="{6CF738A8-5509-4F50-BF72-7B662F35292B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8" creationId="{634E891F-D93A-434B-8CE9-598C741AA80C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9" creationId="{761AF147-4CFD-4640-8F0D-D631719366CC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0" creationId="{5B368189-622A-431C-93E7-25509DB0F16B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1" creationId="{52ADE04D-6E7F-4A1F-9F2E-FE80C27B71C0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2" creationId="{91D45F73-7FB3-4F66-BD35-DAFDB4FF0344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3" creationId="{6C621023-FA11-4B60-A427-073D00E1B5F1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4" creationId="{D7E38775-005A-4721-9E0F-78AB98BD4BF0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5" creationId="{20DB7B6D-05ED-483C-87AB-61682B0F6A7A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50" creationId="{B85926FF-3DFD-424F-AEFB-E00DE37B6837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53" creationId="{4E5165CF-40B1-4245-BA56-66A12A787843}"/>
          </ac:spMkLst>
        </pc:spChg>
        <pc:grpChg chg="mod">
          <ac:chgData name="Mariam Daniela Tristancho Pineda (PTA SAS)" userId="a45a17f7-7950-4cb5-bfab-f5c894f959a9" providerId="ADAL" clId="{7EBB4E1E-93A9-4035-834A-9A0B60182E9F}" dt="2020-10-13T22:10:17.361" v="3818" actId="1076"/>
          <ac:grpSpMkLst>
            <pc:docMk/>
            <pc:sldMk cId="2623911924" sldId="298"/>
            <ac:grpSpMk id="4" creationId="{2CE5EB50-7E83-4167-9654-999EEE072693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9:31.133" v="3817" actId="207"/>
          <ac:grpSpMkLst>
            <pc:docMk/>
            <pc:sldMk cId="2623911924" sldId="298"/>
            <ac:grpSpMk id="5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9:31.133" v="3817" actId="207"/>
          <ac:grpSpMkLst>
            <pc:docMk/>
            <pc:sldMk cId="2623911924" sldId="298"/>
            <ac:grpSpMk id="7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9:31.133" v="3817" actId="207"/>
          <ac:grpSpMkLst>
            <pc:docMk/>
            <pc:sldMk cId="2623911924" sldId="298"/>
            <ac:grpSpMk id="9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10:17.361" v="3818" actId="1076"/>
          <ac:grpSpMkLst>
            <pc:docMk/>
            <pc:sldMk cId="2623911924" sldId="298"/>
            <ac:grpSpMk id="49" creationId="{764395C2-CC6A-4EB6-BF41-49120B85AB8E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10:17.361" v="3818" actId="1076"/>
          <ac:grpSpMkLst>
            <pc:docMk/>
            <pc:sldMk cId="2623911924" sldId="298"/>
            <ac:grpSpMk id="52" creationId="{CAC9795F-B5C3-49AD-A8EA-16417C948105}"/>
          </ac:grpSpMkLst>
        </pc:grpChg>
        <pc:picChg chg="mod">
          <ac:chgData name="Mariam Daniela Tristancho Pineda (PTA SAS)" userId="a45a17f7-7950-4cb5-bfab-f5c894f959a9" providerId="ADAL" clId="{7EBB4E1E-93A9-4035-834A-9A0B60182E9F}" dt="2020-10-13T22:09:31.133" v="3817" actId="207"/>
          <ac:picMkLst>
            <pc:docMk/>
            <pc:sldMk cId="2623911924" sldId="298"/>
            <ac:picMk id="2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9:31.133" v="3817" actId="207"/>
          <ac:picMkLst>
            <pc:docMk/>
            <pc:sldMk cId="2623911924" sldId="298"/>
            <ac:picMk id="3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10:17.361" v="3818" actId="1076"/>
          <ac:picMkLst>
            <pc:docMk/>
            <pc:sldMk cId="2623911924" sldId="298"/>
            <ac:picMk id="51" creationId="{C2B65E6D-02ED-417E-AD1A-370BA5315559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10:17.361" v="3818" actId="1076"/>
          <ac:picMkLst>
            <pc:docMk/>
            <pc:sldMk cId="2623911924" sldId="298"/>
            <ac:picMk id="54" creationId="{4429E0B1-B8F9-43BA-A1C4-26209C27B02D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10:17.361" v="3818" actId="1076"/>
          <ac:picMkLst>
            <pc:docMk/>
            <pc:sldMk cId="2623911924" sldId="298"/>
            <ac:picMk id="55" creationId="{88A4B8FF-7AB9-45CF-9D05-19FC33A5855B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249039462" sldId="307"/>
        </pc:sldMkLst>
      </pc:sldChg>
      <pc:sldChg chg="modSp add setBg">
        <pc:chgData name="Mariam Daniela Tristancho Pineda (PTA SAS)" userId="a45a17f7-7950-4cb5-bfab-f5c894f959a9" providerId="ADAL" clId="{7EBB4E1E-93A9-4035-834A-9A0B60182E9F}" dt="2020-10-13T22:07:28.023" v="3792" actId="207"/>
        <pc:sldMkLst>
          <pc:docMk/>
          <pc:sldMk cId="1418491404" sldId="310"/>
        </pc:sldMkLst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13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36" creationId="{8AB857DD-7F48-6F44-8DDA-654CBAC2732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37" creationId="{B8C7BFE6-AEEE-A549-938F-D63D0F960FB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0" creationId="{05557A92-3193-CE41-8E87-A1EE05A5881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4" creationId="{1FC0364B-52FA-384A-B23E-72263208DD8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5" creationId="{8A2C9609-C0A4-CF40-BE06-A7E40C552D44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6" creationId="{6E9AA583-44B4-C841-AE83-4912B81E778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7" creationId="{9A7AB3A8-ED0D-C345-B58B-9B604C1F503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8" creationId="{06AF7F8A-A3EB-0249-BBA3-3E2AE26D556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9" creationId="{32B39CB2-168C-CA45-AEEB-1F2AB0CA60A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50" creationId="{D7AF7C10-711F-0943-99EA-58F7B8A25F8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51" creationId="{5F596036-A41F-694B-B0A4-E47EE4F8E01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54" creationId="{765F93CF-92B3-F348-A6A4-C6D21C12CE9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58" creationId="{80EAA07F-65C8-1B4B-BE60-2ABEA63E563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59" creationId="{29A5A392-29E9-2D41-BCCB-844D3DA4B2F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2" creationId="{7769BA9E-B95F-4628-AC0C-8649C399675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5" creationId="{7FA1B8FD-9E91-44E4-BD42-5FC494A50D2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6" creationId="{BC1EA9D7-F69A-433C-A1F1-39C7A25CB89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7" creationId="{75E99389-0C6F-43B9-AEA3-C9FBC3B926F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8" creationId="{EE846AB0-05E6-4E73-84DA-0A38552E569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9" creationId="{2BC44877-FF86-490B-AF23-43DB512689C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70" creationId="{864E9114-157A-432C-BE98-B4B3C07E7F2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71" creationId="{3A9008D4-7037-4200-9164-44D383C923F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73" creationId="{3E97CF09-EF6A-438B-87A6-014E1067A904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74" creationId="{062B088A-1D2E-4798-ABC0-11105B2D0A9E}"/>
          </ac:spMkLst>
        </pc:s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6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8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11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15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24" creationId="{654BE350-1AAE-484A-B238-1C6EC7A570AA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41" creationId="{9F6D7C96-4C7B-B842-85C0-40AC7B0A311D}"/>
          </ac:grpSpMkLst>
        </pc:grp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2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10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52" creationId="{10E69DEC-7B98-A446-B72F-8085833EB5E6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53" creationId="{3EB8728B-A8AF-4849-903B-C0CE3E7D7C63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55" creationId="{1037C22B-8D6F-3441-818A-E16B1F2939CC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56" creationId="{023873FB-9DBF-ED45-A502-09E96DF9427D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57" creationId="{638EC212-41F4-6B4D-8630-5D923174E707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4T13:27:53.534" v="3898"/>
        <pc:sldMkLst>
          <pc:docMk/>
          <pc:sldMk cId="88981641" sldId="539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906370426" sldId="3401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865497767" sldId="3403"/>
        </pc:sldMkLst>
      </pc:sldChg>
      <pc:sldChg chg="delSp modSp add">
        <pc:chgData name="Mariam Daniela Tristancho Pineda (PTA SAS)" userId="a45a17f7-7950-4cb5-bfab-f5c894f959a9" providerId="ADAL" clId="{7EBB4E1E-93A9-4035-834A-9A0B60182E9F}" dt="2020-10-14T13:22:04.058" v="3896" actId="478"/>
        <pc:sldMkLst>
          <pc:docMk/>
          <pc:sldMk cId="4205423605" sldId="3406"/>
        </pc:sldMkLst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6" creationId="{C8675240-14BF-0042-B9F6-F049C2C4B33D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26" creationId="{74F3CF96-BDFD-C440-AED1-076151DFB50F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27" creationId="{460146FD-183E-CE41-98DF-100557713A2F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28" creationId="{15F44C98-BC70-6142-812B-420AF0E50B8D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29" creationId="{06D5CE42-2983-4943-9743-761F23597A51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0" creationId="{EB2ADA44-0062-7949-AC42-E2C3C4237AF8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1" creationId="{F794DECB-8253-E840-BF69-1149D7F20DDA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3" creationId="{6D76A28B-B1F8-4B46-9795-9E4E1A8B7F9A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4" creationId="{42E0D191-52B8-7548-99D9-70A21C563B2F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5" creationId="{1846AC65-CEA0-724C-A766-EC1855A81FF1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6" creationId="{E50B594A-272F-FE42-B73D-347F263F59D2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7" creationId="{0CAB7AF0-AF72-1D4C-AC0B-76FC62A9B876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43" creationId="{F7D734D3-3394-B746-95C1-DA3E6F4CDB13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53" creationId="{31F72C62-C316-964C-B935-F62021863500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71" creationId="{2AC156F7-29C6-934D-B6E5-9A71AA7E27D0}"/>
          </ac:spMkLst>
        </pc:spChg>
        <pc:picChg chg="mod">
          <ac:chgData name="Mariam Daniela Tristancho Pineda (PTA SAS)" userId="a45a17f7-7950-4cb5-bfab-f5c894f959a9" providerId="ADAL" clId="{7EBB4E1E-93A9-4035-834A-9A0B60182E9F}" dt="2020-10-14T13:22:01.331" v="3895" actId="1076"/>
          <ac:picMkLst>
            <pc:docMk/>
            <pc:sldMk cId="4205423605" sldId="3406"/>
            <ac:picMk id="3" creationId="{FDEA636B-9CC7-3643-AB33-A7B5CBAA6C55}"/>
          </ac:picMkLst>
        </pc:picChg>
        <pc:picChg chg="del">
          <ac:chgData name="Mariam Daniela Tristancho Pineda (PTA SAS)" userId="a45a17f7-7950-4cb5-bfab-f5c894f959a9" providerId="ADAL" clId="{7EBB4E1E-93A9-4035-834A-9A0B60182E9F}" dt="2020-10-14T13:22:04.058" v="3896" actId="478"/>
          <ac:picMkLst>
            <pc:docMk/>
            <pc:sldMk cId="4205423605" sldId="3406"/>
            <ac:picMk id="40" creationId="{92C33288-1F55-FA40-81FC-31BAF3A1AA04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22:01.331" v="3895" actId="1076"/>
          <ac:picMkLst>
            <pc:docMk/>
            <pc:sldMk cId="4205423605" sldId="3406"/>
            <ac:picMk id="56" creationId="{AE44FF1C-38A3-FF44-B34F-98B9A12FA65B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22:01.331" v="3895" actId="1076"/>
          <ac:picMkLst>
            <pc:docMk/>
            <pc:sldMk cId="4205423605" sldId="3406"/>
            <ac:picMk id="67" creationId="{4BC4CC7A-5A8C-D545-A728-E40601899B19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22:01.331" v="3895" actId="1076"/>
          <ac:picMkLst>
            <pc:docMk/>
            <pc:sldMk cId="4205423605" sldId="3406"/>
            <ac:picMk id="68" creationId="{FC003E25-17D0-7C4C-A92D-B1B74A103FEF}"/>
          </ac:picMkLst>
        </pc:picChg>
        <pc:cxnChg chg="mod">
          <ac:chgData name="Mariam Daniela Tristancho Pineda (PTA SAS)" userId="a45a17f7-7950-4cb5-bfab-f5c894f959a9" providerId="ADAL" clId="{7EBB4E1E-93A9-4035-834A-9A0B60182E9F}" dt="2020-10-14T13:22:01.331" v="3895" actId="1076"/>
          <ac:cxnSpMkLst>
            <pc:docMk/>
            <pc:sldMk cId="4205423605" sldId="3406"/>
            <ac:cxnSpMk id="32" creationId="{7444F6AA-E255-894F-B2BD-F08D4CE66FB0}"/>
          </ac:cxnSpMkLst>
        </pc:cxnChg>
        <pc:cxnChg chg="mod">
          <ac:chgData name="Mariam Daniela Tristancho Pineda (PTA SAS)" userId="a45a17f7-7950-4cb5-bfab-f5c894f959a9" providerId="ADAL" clId="{7EBB4E1E-93A9-4035-834A-9A0B60182E9F}" dt="2020-10-14T13:22:01.331" v="3895" actId="1076"/>
          <ac:cxnSpMkLst>
            <pc:docMk/>
            <pc:sldMk cId="4205423605" sldId="3406"/>
            <ac:cxnSpMk id="38" creationId="{63F54040-5F43-A649-AA8C-D27C41E20046}"/>
          </ac:cxnSpMkLst>
        </pc:cxn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835901532" sldId="3408"/>
        </pc:sldMkLst>
      </pc:sldChg>
      <pc:sldChg chg="modSp add">
        <pc:chgData name="Mariam Daniela Tristancho Pineda (PTA SAS)" userId="a45a17f7-7950-4cb5-bfab-f5c894f959a9" providerId="ADAL" clId="{7EBB4E1E-93A9-4035-834A-9A0B60182E9F}" dt="2020-10-14T13:15:31.290" v="3893" actId="1036"/>
        <pc:sldMkLst>
          <pc:docMk/>
          <pc:sldMk cId="1194985892" sldId="3409"/>
        </pc:sldMkLst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13" creationId="{54D45F44-A6C1-4943-9B1C-4A105EC99025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14" creationId="{9282F253-AF08-4E40-B560-F65A9A2BB2E2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15" creationId="{E89D0787-5A38-4848-8CAF-FB7254AAEAFD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16" creationId="{A87C493A-E169-1345-B8F9-5ECAD4EBC2F1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29" creationId="{B44340C1-84EC-324C-8427-7890CD32EF80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0" creationId="{6DDC3F79-779A-FE4E-B961-F8D06D64D906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1" creationId="{F10BE76C-B857-634D-A15B-C932A15BD4C3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2" creationId="{7F2737FE-77C5-3E49-A6E6-C98A181E0AC3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3" creationId="{77ABE88A-1352-7441-B402-B7D76FE4C22D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5" creationId="{B0B54D1A-FE67-844B-813D-2D1CC45DF1C9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6" creationId="{061A38F7-80F5-4F45-9CC3-9EC31FA0A266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8" creationId="{1F59D9E8-0CFF-5646-BD63-C4BF98477013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9" creationId="{334069B3-5FF9-F148-B6A4-C73E8A8053DB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41" creationId="{A0558651-A603-0548-BCB3-EE22DA9B4E97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42" creationId="{A8538F08-A777-1E45-9167-667F53DDD88E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44" creationId="{6835BAF4-000F-E241-B252-18FD7315591E}"/>
          </ac:spMkLst>
        </pc:sp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2" creationId="{A677B8E3-8F63-4E01-B907-FB71CBAF11EB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37" creationId="{EBDF9396-1D9B-754F-80A3-9C3B2E393D95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40" creationId="{52B02DEC-82F6-4C41-A6D5-D28216968C02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43" creationId="{F24E898E-91D4-444C-A00C-5BE7A2AE7BF9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45" creationId="{92724496-2CFB-E349-A747-ED0B0885D927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46" creationId="{449EC282-BEB1-AF4C-B251-751BC5CB5762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49" creationId="{949334FF-459C-6540-9F88-B5BB305F0C40}"/>
          </ac:picMkLst>
        </pc:picChg>
        <pc:cxnChg chg="mod">
          <ac:chgData name="Mariam Daniela Tristancho Pineda (PTA SAS)" userId="a45a17f7-7950-4cb5-bfab-f5c894f959a9" providerId="ADAL" clId="{7EBB4E1E-93A9-4035-834A-9A0B60182E9F}" dt="2020-10-14T13:15:31.290" v="3893" actId="1036"/>
          <ac:cxnSpMkLst>
            <pc:docMk/>
            <pc:sldMk cId="1194985892" sldId="3409"/>
            <ac:cxnSpMk id="47" creationId="{E1D6D2BE-1643-6945-B13D-5F1D219359CD}"/>
          </ac:cxnSpMkLst>
        </pc:cxnChg>
      </pc:sldChg>
      <pc:sldChg chg="modSp add">
        <pc:chgData name="Mariam Daniela Tristancho Pineda (PTA SAS)" userId="a45a17f7-7950-4cb5-bfab-f5c894f959a9" providerId="ADAL" clId="{7EBB4E1E-93A9-4035-834A-9A0B60182E9F}" dt="2020-10-14T13:15:02.540" v="3867" actId="1036"/>
        <pc:sldMkLst>
          <pc:docMk/>
          <pc:sldMk cId="1081445694" sldId="3412"/>
        </pc:sldMkLst>
        <pc:picChg chg="mod">
          <ac:chgData name="Mariam Daniela Tristancho Pineda (PTA SAS)" userId="a45a17f7-7950-4cb5-bfab-f5c894f959a9" providerId="ADAL" clId="{7EBB4E1E-93A9-4035-834A-9A0B60182E9F}" dt="2020-10-14T13:15:02.540" v="3867" actId="1036"/>
          <ac:picMkLst>
            <pc:docMk/>
            <pc:sldMk cId="1081445694" sldId="3412"/>
            <ac:picMk id="1030" creationId="{62DEBD3D-1D12-114F-B528-7678554C4521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473259662" sldId="3418"/>
        </pc:sldMkLst>
      </pc:sldChg>
      <pc:sldChg chg="modSp add">
        <pc:chgData name="Mariam Daniela Tristancho Pineda (PTA SAS)" userId="a45a17f7-7950-4cb5-bfab-f5c894f959a9" providerId="ADAL" clId="{7EBB4E1E-93A9-4035-834A-9A0B60182E9F}" dt="2020-10-14T13:22:11.134" v="3897" actId="1076"/>
        <pc:sldMkLst>
          <pc:docMk/>
          <pc:sldMk cId="1328674564" sldId="3422"/>
        </pc:sldMkLst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34" creationId="{A9646525-5547-E544-BCF6-568E47017387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35" creationId="{8DDCE746-639C-1D49-B3EF-F627CAB824F9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36" creationId="{55953232-C155-C741-8A11-A552113E1BBF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37" creationId="{CBAFD48D-CB99-994B-92D2-4DA6C627A3E3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3" creationId="{CBE3A5E8-93F4-0642-B0F0-6582E48636F4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4" creationId="{AFC8F410-588F-B44E-B558-E9650520658B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5" creationId="{42876031-288B-F445-AF93-7BD95CE15B8A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6" creationId="{D008CED8-EE71-7940-BB56-A2CF4179EB99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7" creationId="{F70C1A25-6771-5E41-B95D-AA209690DD7D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8" creationId="{847A95B6-7D2E-3D43-A7AC-3E2206272852}"/>
          </ac:spMkLst>
        </pc:spChg>
        <pc:picChg chg="mod">
          <ac:chgData name="Mariam Daniela Tristancho Pineda (PTA SAS)" userId="a45a17f7-7950-4cb5-bfab-f5c894f959a9" providerId="ADAL" clId="{7EBB4E1E-93A9-4035-834A-9A0B60182E9F}" dt="2020-10-14T13:22:11.134" v="3897" actId="1076"/>
          <ac:picMkLst>
            <pc:docMk/>
            <pc:sldMk cId="1328674564" sldId="3422"/>
            <ac:picMk id="33" creationId="{6CC16877-F011-EB4E-AA4D-90A858638982}"/>
          </ac:picMkLst>
        </pc:picChg>
        <pc:cxnChg chg="mod">
          <ac:chgData name="Mariam Daniela Tristancho Pineda (PTA SAS)" userId="a45a17f7-7950-4cb5-bfab-f5c894f959a9" providerId="ADAL" clId="{7EBB4E1E-93A9-4035-834A-9A0B60182E9F}" dt="2020-10-14T13:22:11.134" v="3897" actId="1076"/>
          <ac:cxnSpMkLst>
            <pc:docMk/>
            <pc:sldMk cId="1328674564" sldId="3422"/>
            <ac:cxnSpMk id="38" creationId="{591FF4F5-3E8B-FB4A-9471-8BC633613C1A}"/>
          </ac:cxnSpMkLst>
        </pc:cxn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4200580314" sldId="3433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125016411" sldId="3436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783431933" sldId="3437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140351519" sldId="3438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4255123732" sldId="3439"/>
        </pc:sldMkLst>
      </pc:sldChg>
      <pc:sldChg chg="add ord">
        <pc:chgData name="Mariam Daniela Tristancho Pineda (PTA SAS)" userId="a45a17f7-7950-4cb5-bfab-f5c894f959a9" providerId="ADAL" clId="{7EBB4E1E-93A9-4035-834A-9A0B60182E9F}" dt="2020-10-13T22:11:23.028" v="3820"/>
        <pc:sldMkLst>
          <pc:docMk/>
          <pc:sldMk cId="196982883" sldId="3466"/>
        </pc:sldMkLst>
      </pc:sldChg>
      <pc:sldChg chg="add ord">
        <pc:chgData name="Mariam Daniela Tristancho Pineda (PTA SAS)" userId="a45a17f7-7950-4cb5-bfab-f5c894f959a9" providerId="ADAL" clId="{7EBB4E1E-93A9-4035-834A-9A0B60182E9F}" dt="2020-10-13T22:11:23.028" v="3820"/>
        <pc:sldMkLst>
          <pc:docMk/>
          <pc:sldMk cId="46801324" sldId="3472"/>
        </pc:sldMkLst>
      </pc:sldChg>
      <pc:sldChg chg="add ord">
        <pc:chgData name="Mariam Daniela Tristancho Pineda (PTA SAS)" userId="a45a17f7-7950-4cb5-bfab-f5c894f959a9" providerId="ADAL" clId="{7EBB4E1E-93A9-4035-834A-9A0B60182E9F}" dt="2020-10-13T22:11:23.028" v="3820"/>
        <pc:sldMkLst>
          <pc:docMk/>
          <pc:sldMk cId="3670265490" sldId="3473"/>
        </pc:sldMkLst>
      </pc:sldChg>
      <pc:sldChg chg="modSp add mod">
        <pc:chgData name="Mariam Daniela Tristancho Pineda (PTA SAS)" userId="a45a17f7-7950-4cb5-bfab-f5c894f959a9" providerId="ADAL" clId="{7EBB4E1E-93A9-4035-834A-9A0B60182E9F}" dt="2020-10-06T20:00:56.360" v="2386" actId="1076"/>
        <pc:sldMkLst>
          <pc:docMk/>
          <pc:sldMk cId="3639736222" sldId="2134803689"/>
        </pc:sldMkLst>
        <pc:spChg chg="mod">
          <ac:chgData name="Mariam Daniela Tristancho Pineda (PTA SAS)" userId="a45a17f7-7950-4cb5-bfab-f5c894f959a9" providerId="ADAL" clId="{7EBB4E1E-93A9-4035-834A-9A0B60182E9F}" dt="2020-10-06T20:00:56.360" v="2386" actId="1076"/>
          <ac:spMkLst>
            <pc:docMk/>
            <pc:sldMk cId="3639736222" sldId="2134803689"/>
            <ac:spMk id="4" creationId="{4D5F0815-E5B4-4E74-8145-A182522C6A3D}"/>
          </ac:spMkLst>
        </pc:spChg>
        <pc:picChg chg="mod">
          <ac:chgData name="Mariam Daniela Tristancho Pineda (PTA SAS)" userId="a45a17f7-7950-4cb5-bfab-f5c894f959a9" providerId="ADAL" clId="{7EBB4E1E-93A9-4035-834A-9A0B60182E9F}" dt="2020-10-06T20:00:54.235" v="2385" actId="1076"/>
          <ac:picMkLst>
            <pc:docMk/>
            <pc:sldMk cId="3639736222" sldId="2134803689"/>
            <ac:picMk id="7" creationId="{C6562ECF-1AA1-E74B-9CEB-3FBAB0EB4C46}"/>
          </ac:picMkLst>
        </pc:picChg>
      </pc:sldChg>
      <pc:sldChg chg="addSp delSp modSp add mod">
        <pc:chgData name="Mariam Daniela Tristancho Pineda (PTA SAS)" userId="a45a17f7-7950-4cb5-bfab-f5c894f959a9" providerId="ADAL" clId="{7EBB4E1E-93A9-4035-834A-9A0B60182E9F}" dt="2020-10-06T20:01:46.881" v="2390" actId="1076"/>
        <pc:sldMkLst>
          <pc:docMk/>
          <pc:sldMk cId="2695251238" sldId="2134803693"/>
        </pc:sldMkLst>
        <pc:spChg chg="mod">
          <ac:chgData name="Mariam Daniela Tristancho Pineda (PTA SAS)" userId="a45a17f7-7950-4cb5-bfab-f5c894f959a9" providerId="ADAL" clId="{7EBB4E1E-93A9-4035-834A-9A0B60182E9F}" dt="2020-10-06T20:01:42.200" v="2388" actId="1076"/>
          <ac:spMkLst>
            <pc:docMk/>
            <pc:sldMk cId="2695251238" sldId="2134803693"/>
            <ac:spMk id="2" creationId="{38EDB1DE-AF47-9D40-B81D-283FF4E6C2A4}"/>
          </ac:spMkLst>
        </pc:spChg>
        <pc:spChg chg="mod">
          <ac:chgData name="Mariam Daniela Tristancho Pineda (PTA SAS)" userId="a45a17f7-7950-4cb5-bfab-f5c894f959a9" providerId="ADAL" clId="{7EBB4E1E-93A9-4035-834A-9A0B60182E9F}" dt="2020-10-06T20:01:42.200" v="2388" actId="1076"/>
          <ac:spMkLst>
            <pc:docMk/>
            <pc:sldMk cId="2695251238" sldId="2134803693"/>
            <ac:spMk id="6" creationId="{0B95BECA-B91B-1947-B0D6-C4A401178577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6:12:15.487" v="780" actId="1076"/>
          <ac:spMkLst>
            <pc:docMk/>
            <pc:sldMk cId="2695251238" sldId="2134803693"/>
            <ac:spMk id="8" creationId="{591C4119-5F03-49EC-BE67-435D4744873C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20:01:37.859" v="2387" actId="478"/>
          <ac:spMkLst>
            <pc:docMk/>
            <pc:sldMk cId="2695251238" sldId="2134803693"/>
            <ac:spMk id="9" creationId="{D38F0F5C-AAFC-49FC-9BEB-2EDFBEAC3FBC}"/>
          </ac:spMkLst>
        </pc:spChg>
        <pc:spChg chg="mod">
          <ac:chgData name="Mariam Daniela Tristancho Pineda (PTA SAS)" userId="a45a17f7-7950-4cb5-bfab-f5c894f959a9" providerId="ADAL" clId="{7EBB4E1E-93A9-4035-834A-9A0B60182E9F}" dt="2020-10-06T20:01:46.881" v="2390" actId="1076"/>
          <ac:spMkLst>
            <pc:docMk/>
            <pc:sldMk cId="2695251238" sldId="2134803693"/>
            <ac:spMk id="11" creationId="{B7555FB1-F363-8646-896F-4E2589A794C7}"/>
          </ac:spMkLst>
        </pc:spChg>
        <pc:spChg chg="mod">
          <ac:chgData name="Mariam Daniela Tristancho Pineda (PTA SAS)" userId="a45a17f7-7950-4cb5-bfab-f5c894f959a9" providerId="ADAL" clId="{7EBB4E1E-93A9-4035-834A-9A0B60182E9F}" dt="2020-10-06T20:01:42.200" v="2388" actId="1076"/>
          <ac:spMkLst>
            <pc:docMk/>
            <pc:sldMk cId="2695251238" sldId="2134803693"/>
            <ac:spMk id="13" creationId="{250199F8-A82E-4057-B60A-23CC702AD1C3}"/>
          </ac:spMkLst>
        </pc:spChg>
        <pc:spChg chg="mod">
          <ac:chgData name="Mariam Daniela Tristancho Pineda (PTA SAS)" userId="a45a17f7-7950-4cb5-bfab-f5c894f959a9" providerId="ADAL" clId="{7EBB4E1E-93A9-4035-834A-9A0B60182E9F}" dt="2020-10-06T20:01:44.649" v="2389" actId="1076"/>
          <ac:spMkLst>
            <pc:docMk/>
            <pc:sldMk cId="2695251238" sldId="2134803693"/>
            <ac:spMk id="29" creationId="{6497B98C-D7E0-40EE-93FD-7D042C49631E}"/>
          </ac:spMkLst>
        </pc:spChg>
        <pc:picChg chg="mod">
          <ac:chgData name="Mariam Daniela Tristancho Pineda (PTA SAS)" userId="a45a17f7-7950-4cb5-bfab-f5c894f959a9" providerId="ADAL" clId="{7EBB4E1E-93A9-4035-834A-9A0B60182E9F}" dt="2020-10-06T20:01:42.200" v="2388" actId="1076"/>
          <ac:picMkLst>
            <pc:docMk/>
            <pc:sldMk cId="2695251238" sldId="2134803693"/>
            <ac:picMk id="3" creationId="{6B712A9A-A1B5-5C40-93E1-9889A9084930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1:42.200" v="2388" actId="1076"/>
          <ac:picMkLst>
            <pc:docMk/>
            <pc:sldMk cId="2695251238" sldId="2134803693"/>
            <ac:picMk id="4" creationId="{4508CFCE-3704-BB45-8028-EF43011836AF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1:42.200" v="2388" actId="1076"/>
          <ac:picMkLst>
            <pc:docMk/>
            <pc:sldMk cId="2695251238" sldId="2134803693"/>
            <ac:picMk id="5" creationId="{18C1DFB3-692A-534F-AC32-C986A4BC3B00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1:42.200" v="2388" actId="1076"/>
          <ac:picMkLst>
            <pc:docMk/>
            <pc:sldMk cId="2695251238" sldId="2134803693"/>
            <ac:picMk id="7" creationId="{49282EF9-0542-D941-ADFB-971D99A7FB66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1:42.200" v="2388" actId="1076"/>
          <ac:picMkLst>
            <pc:docMk/>
            <pc:sldMk cId="2695251238" sldId="2134803693"/>
            <ac:picMk id="10" creationId="{59AD9CD2-8747-4542-95C9-8984CD45153A}"/>
          </ac:picMkLst>
        </pc:picChg>
      </pc:sldChg>
      <pc:sldChg chg="addSp modSp add mod ord">
        <pc:chgData name="Mariam Daniela Tristancho Pineda (PTA SAS)" userId="a45a17f7-7950-4cb5-bfab-f5c894f959a9" providerId="ADAL" clId="{7EBB4E1E-93A9-4035-834A-9A0B60182E9F}" dt="2020-10-08T15:30:35.413" v="3630"/>
        <pc:sldMkLst>
          <pc:docMk/>
          <pc:sldMk cId="542338739" sldId="2134803694"/>
        </pc:sldMkLst>
        <pc:spChg chg="mod">
          <ac:chgData name="Mariam Daniela Tristancho Pineda (PTA SAS)" userId="a45a17f7-7950-4cb5-bfab-f5c894f959a9" providerId="ADAL" clId="{7EBB4E1E-93A9-4035-834A-9A0B60182E9F}" dt="2020-10-06T16:27:13.924" v="930" actId="20577"/>
          <ac:spMkLst>
            <pc:docMk/>
            <pc:sldMk cId="542338739" sldId="2134803694"/>
            <ac:spMk id="2" creationId="{D52FD195-FC31-4E4A-8A9E-6AFFFC3CEFE1}"/>
          </ac:spMkLst>
        </pc:spChg>
        <pc:spChg chg="mod">
          <ac:chgData name="Mariam Daniela Tristancho Pineda (PTA SAS)" userId="a45a17f7-7950-4cb5-bfab-f5c894f959a9" providerId="ADAL" clId="{7EBB4E1E-93A9-4035-834A-9A0B60182E9F}" dt="2020-10-06T16:24:36.793" v="910" actId="1076"/>
          <ac:spMkLst>
            <pc:docMk/>
            <pc:sldMk cId="542338739" sldId="2134803694"/>
            <ac:spMk id="5" creationId="{3614627F-5836-4EDD-9D2A-35841B0DCBCD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6:24:20.337" v="907" actId="1036"/>
          <ac:spMkLst>
            <pc:docMk/>
            <pc:sldMk cId="542338739" sldId="2134803694"/>
            <ac:spMk id="6" creationId="{6A18C77A-DE43-47DD-A220-C9425E31C189}"/>
          </ac:spMkLst>
        </pc:spChg>
        <pc:spChg chg="mod">
          <ac:chgData name="Mariam Daniela Tristancho Pineda (PTA SAS)" userId="a45a17f7-7950-4cb5-bfab-f5c894f959a9" providerId="ADAL" clId="{7EBB4E1E-93A9-4035-834A-9A0B60182E9F}" dt="2020-10-06T16:27:35.810" v="932" actId="1076"/>
          <ac:spMkLst>
            <pc:docMk/>
            <pc:sldMk cId="542338739" sldId="2134803694"/>
            <ac:spMk id="9" creationId="{A217AF25-B5D9-4E79-A590-03BC149292DB}"/>
          </ac:spMkLst>
        </pc:spChg>
        <pc:spChg chg="mod">
          <ac:chgData name="Mariam Daniela Tristancho Pineda (PTA SAS)" userId="a45a17f7-7950-4cb5-bfab-f5c894f959a9" providerId="ADAL" clId="{7EBB4E1E-93A9-4035-834A-9A0B60182E9F}" dt="2020-10-06T16:26:28.153" v="927" actId="1076"/>
          <ac:spMkLst>
            <pc:docMk/>
            <pc:sldMk cId="542338739" sldId="2134803694"/>
            <ac:spMk id="14" creationId="{2CE3ED3A-DE01-4E16-A5DF-2140E74ACF8E}"/>
          </ac:spMkLst>
        </pc:spChg>
        <pc:spChg chg="mod">
          <ac:chgData name="Mariam Daniela Tristancho Pineda (PTA SAS)" userId="a45a17f7-7950-4cb5-bfab-f5c894f959a9" providerId="ADAL" clId="{7EBB4E1E-93A9-4035-834A-9A0B60182E9F}" dt="2020-10-06T16:26:22.650" v="926" actId="1076"/>
          <ac:spMkLst>
            <pc:docMk/>
            <pc:sldMk cId="542338739" sldId="2134803694"/>
            <ac:spMk id="15" creationId="{11DE0C5E-DF7A-4FFF-8D04-1A849954E4E4}"/>
          </ac:spMkLst>
        </pc:spChg>
        <pc:spChg chg="mod">
          <ac:chgData name="Mariam Daniela Tristancho Pineda (PTA SAS)" userId="a45a17f7-7950-4cb5-bfab-f5c894f959a9" providerId="ADAL" clId="{7EBB4E1E-93A9-4035-834A-9A0B60182E9F}" dt="2020-10-06T16:24:27.737" v="909" actId="1076"/>
          <ac:spMkLst>
            <pc:docMk/>
            <pc:sldMk cId="542338739" sldId="2134803694"/>
            <ac:spMk id="16" creationId="{87107B41-3A93-4392-9C16-CA0B6493B319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33.375" v="2520" actId="1035"/>
          <ac:spMkLst>
            <pc:docMk/>
            <pc:sldMk cId="542338739" sldId="2134803694"/>
            <ac:spMk id="22" creationId="{9018B24E-9E13-40A8-BF16-9F308CDE2D5C}"/>
          </ac:spMkLst>
        </pc:spChg>
        <pc:spChg chg="mod">
          <ac:chgData name="Mariam Daniela Tristancho Pineda (PTA SAS)" userId="a45a17f7-7950-4cb5-bfab-f5c894f959a9" providerId="ADAL" clId="{7EBB4E1E-93A9-4035-834A-9A0B60182E9F}" dt="2020-10-06T16:27:29.713" v="931" actId="1076"/>
          <ac:spMkLst>
            <pc:docMk/>
            <pc:sldMk cId="542338739" sldId="2134803694"/>
            <ac:spMk id="24" creationId="{12C6E26F-1E97-A540-AE0D-1C4573D5FAF5}"/>
          </ac:spMkLst>
        </pc:spChg>
        <pc:picChg chg="mod">
          <ac:chgData name="Mariam Daniela Tristancho Pineda (PTA SAS)" userId="a45a17f7-7950-4cb5-bfab-f5c894f959a9" providerId="ADAL" clId="{7EBB4E1E-93A9-4035-834A-9A0B60182E9F}" dt="2020-10-06T16:26:33.307" v="929" actId="1076"/>
          <ac:picMkLst>
            <pc:docMk/>
            <pc:sldMk cId="542338739" sldId="2134803694"/>
            <ac:picMk id="10" creationId="{D6E10809-3AFF-4925-9A53-84B2AE2D7FF4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24:14.953" v="900" actId="1076"/>
          <ac:picMkLst>
            <pc:docMk/>
            <pc:sldMk cId="542338739" sldId="2134803694"/>
            <ac:picMk id="23" creationId="{3E7C3733-DE7C-3A4C-8534-D6859C8C1E39}"/>
          </ac:picMkLst>
        </pc:picChg>
      </pc:sldChg>
      <pc:sldChg chg="addSp delSp modSp add mod">
        <pc:chgData name="Mariam Daniela Tristancho Pineda (PTA SAS)" userId="a45a17f7-7950-4cb5-bfab-f5c894f959a9" providerId="ADAL" clId="{7EBB4E1E-93A9-4035-834A-9A0B60182E9F}" dt="2020-10-06T19:55:47.993" v="2368" actId="1076"/>
        <pc:sldMkLst>
          <pc:docMk/>
          <pc:sldMk cId="478932680" sldId="2134803695"/>
        </pc:sldMkLst>
        <pc:spChg chg="del">
          <ac:chgData name="Mariam Daniela Tristancho Pineda (PTA SAS)" userId="a45a17f7-7950-4cb5-bfab-f5c894f959a9" providerId="ADAL" clId="{7EBB4E1E-93A9-4035-834A-9A0B60182E9F}" dt="2020-10-06T19:31:41.252" v="1586" actId="478"/>
          <ac:spMkLst>
            <pc:docMk/>
            <pc:sldMk cId="478932680" sldId="2134803695"/>
            <ac:spMk id="5" creationId="{9D16257F-95D3-5045-9186-393C7BD6611A}"/>
          </ac:spMkLst>
        </pc:spChg>
        <pc:spChg chg="mod">
          <ac:chgData name="Mariam Daniela Tristancho Pineda (PTA SAS)" userId="a45a17f7-7950-4cb5-bfab-f5c894f959a9" providerId="ADAL" clId="{7EBB4E1E-93A9-4035-834A-9A0B60182E9F}" dt="2020-10-06T19:31:45.843" v="1587" actId="1076"/>
          <ac:spMkLst>
            <pc:docMk/>
            <pc:sldMk cId="478932680" sldId="2134803695"/>
            <ac:spMk id="6" creationId="{5BB45E83-35DA-46EF-B4DB-5D71AD3B2EA6}"/>
          </ac:spMkLst>
        </pc:spChg>
        <pc:spChg chg="mod">
          <ac:chgData name="Mariam Daniela Tristancho Pineda (PTA SAS)" userId="a45a17f7-7950-4cb5-bfab-f5c894f959a9" providerId="ADAL" clId="{7EBB4E1E-93A9-4035-834A-9A0B60182E9F}" dt="2020-10-06T19:31:45.843" v="1587" actId="1076"/>
          <ac:spMkLst>
            <pc:docMk/>
            <pc:sldMk cId="478932680" sldId="2134803695"/>
            <ac:spMk id="7" creationId="{F6E3C441-DFAD-4F93-AD8E-85A0A709F810}"/>
          </ac:spMkLst>
        </pc:spChg>
        <pc:spChg chg="mod">
          <ac:chgData name="Mariam Daniela Tristancho Pineda (PTA SAS)" userId="a45a17f7-7950-4cb5-bfab-f5c894f959a9" providerId="ADAL" clId="{7EBB4E1E-93A9-4035-834A-9A0B60182E9F}" dt="2020-10-06T19:31:45.843" v="1587" actId="1076"/>
          <ac:spMkLst>
            <pc:docMk/>
            <pc:sldMk cId="478932680" sldId="2134803695"/>
            <ac:spMk id="8" creationId="{E6D68CFE-9473-4259-985E-E73C54C0AB2C}"/>
          </ac:spMkLst>
        </pc:spChg>
        <pc:spChg chg="add mod ord">
          <ac:chgData name="Mariam Daniela Tristancho Pineda (PTA SAS)" userId="a45a17f7-7950-4cb5-bfab-f5c894f959a9" providerId="ADAL" clId="{7EBB4E1E-93A9-4035-834A-9A0B60182E9F}" dt="2020-10-06T19:55:47.993" v="2368" actId="1076"/>
          <ac:spMkLst>
            <pc:docMk/>
            <pc:sldMk cId="478932680" sldId="2134803695"/>
            <ac:spMk id="9" creationId="{5F717C8E-9030-4E5A-A099-28AAD3340896}"/>
          </ac:spMkLst>
        </pc:spChg>
        <pc:spChg chg="mod">
          <ac:chgData name="Mariam Daniela Tristancho Pineda (PTA SAS)" userId="a45a17f7-7950-4cb5-bfab-f5c894f959a9" providerId="ADAL" clId="{7EBB4E1E-93A9-4035-834A-9A0B60182E9F}" dt="2020-10-06T19:31:51.674" v="1588" actId="1076"/>
          <ac:spMkLst>
            <pc:docMk/>
            <pc:sldMk cId="478932680" sldId="2134803695"/>
            <ac:spMk id="16" creationId="{08C4BC45-A881-BB43-8991-7F434CCD56A7}"/>
          </ac:spMkLst>
        </pc:spChg>
        <pc:picChg chg="add mod">
          <ac:chgData name="Mariam Daniela Tristancho Pineda (PTA SAS)" userId="a45a17f7-7950-4cb5-bfab-f5c894f959a9" providerId="ADAL" clId="{7EBB4E1E-93A9-4035-834A-9A0B60182E9F}" dt="2020-10-06T19:55:47.993" v="2368" actId="1076"/>
          <ac:picMkLst>
            <pc:docMk/>
            <pc:sldMk cId="478932680" sldId="2134803695"/>
            <ac:picMk id="11" creationId="{A6846F95-AEC6-4C88-9C37-7C4AEC0514CB}"/>
          </ac:picMkLst>
        </pc:picChg>
        <pc:picChg chg="del mod">
          <ac:chgData name="Mariam Daniela Tristancho Pineda (PTA SAS)" userId="a45a17f7-7950-4cb5-bfab-f5c894f959a9" providerId="ADAL" clId="{7EBB4E1E-93A9-4035-834A-9A0B60182E9F}" dt="2020-10-06T19:55:32.102" v="2361" actId="478"/>
          <ac:picMkLst>
            <pc:docMk/>
            <pc:sldMk cId="478932680" sldId="2134803695"/>
            <ac:picMk id="15" creationId="{84E36BF4-5E19-B343-8672-EF19FCFC255A}"/>
          </ac:picMkLst>
        </pc:picChg>
        <pc:cxnChg chg="mod">
          <ac:chgData name="Mariam Daniela Tristancho Pineda (PTA SAS)" userId="a45a17f7-7950-4cb5-bfab-f5c894f959a9" providerId="ADAL" clId="{7EBB4E1E-93A9-4035-834A-9A0B60182E9F}" dt="2020-10-06T19:31:45.843" v="1587" actId="1076"/>
          <ac:cxnSpMkLst>
            <pc:docMk/>
            <pc:sldMk cId="478932680" sldId="2134803695"/>
            <ac:cxnSpMk id="17" creationId="{C9BC9A7E-BBF8-45D2-8451-88207B9E08D1}"/>
          </ac:cxnSpMkLst>
        </pc:cxnChg>
      </pc:sldChg>
      <pc:sldChg chg="addSp delSp modSp add mod">
        <pc:chgData name="Mariam Daniela Tristancho Pineda (PTA SAS)" userId="a45a17f7-7950-4cb5-bfab-f5c894f959a9" providerId="ADAL" clId="{7EBB4E1E-93A9-4035-834A-9A0B60182E9F}" dt="2020-10-06T20:04:33.304" v="2529" actId="1076"/>
        <pc:sldMkLst>
          <pc:docMk/>
          <pc:sldMk cId="3033330877" sldId="2134803696"/>
        </pc:sldMkLst>
        <pc:spChg chg="mod">
          <ac:chgData name="Mariam Daniela Tristancho Pineda (PTA SAS)" userId="a45a17f7-7950-4cb5-bfab-f5c894f959a9" providerId="ADAL" clId="{7EBB4E1E-93A9-4035-834A-9A0B60182E9F}" dt="2020-10-06T19:33:25.834" v="1607" actId="1076"/>
          <ac:spMkLst>
            <pc:docMk/>
            <pc:sldMk cId="3033330877" sldId="2134803696"/>
            <ac:spMk id="2" creationId="{465636FD-CDFE-0043-A2AE-795688D7897B}"/>
          </ac:spMkLst>
        </pc:spChg>
        <pc:spChg chg="mod">
          <ac:chgData name="Mariam Daniela Tristancho Pineda (PTA SAS)" userId="a45a17f7-7950-4cb5-bfab-f5c894f959a9" providerId="ADAL" clId="{7EBB4E1E-93A9-4035-834A-9A0B60182E9F}" dt="2020-10-06T19:33:25.834" v="1607" actId="1076"/>
          <ac:spMkLst>
            <pc:docMk/>
            <pc:sldMk cId="3033330877" sldId="2134803696"/>
            <ac:spMk id="3" creationId="{77D62C3A-45C4-024F-9483-8A1D73A274A3}"/>
          </ac:spMkLst>
        </pc:spChg>
        <pc:spChg chg="mod">
          <ac:chgData name="Mariam Daniela Tristancho Pineda (PTA SAS)" userId="a45a17f7-7950-4cb5-bfab-f5c894f959a9" providerId="ADAL" clId="{7EBB4E1E-93A9-4035-834A-9A0B60182E9F}" dt="2020-10-06T20:04:00.950" v="2521" actId="6549"/>
          <ac:spMkLst>
            <pc:docMk/>
            <pc:sldMk cId="3033330877" sldId="2134803696"/>
            <ac:spMk id="4" creationId="{6A31DB10-96F1-8D45-8D81-CCA502E42C15}"/>
          </ac:spMkLst>
        </pc:spChg>
        <pc:spChg chg="mod">
          <ac:chgData name="Mariam Daniela Tristancho Pineda (PTA SAS)" userId="a45a17f7-7950-4cb5-bfab-f5c894f959a9" providerId="ADAL" clId="{7EBB4E1E-93A9-4035-834A-9A0B60182E9F}" dt="2020-10-06T20:04:33.304" v="2529" actId="1076"/>
          <ac:spMkLst>
            <pc:docMk/>
            <pc:sldMk cId="3033330877" sldId="2134803696"/>
            <ac:spMk id="8" creationId="{D2451A65-5C54-7E48-8D52-CB24D8CE93B9}"/>
          </ac:spMkLst>
        </pc:spChg>
        <pc:spChg chg="mod">
          <ac:chgData name="Mariam Daniela Tristancho Pineda (PTA SAS)" userId="a45a17f7-7950-4cb5-bfab-f5c894f959a9" providerId="ADAL" clId="{7EBB4E1E-93A9-4035-834A-9A0B60182E9F}" dt="2020-10-06T20:04:33.304" v="2529" actId="1076"/>
          <ac:spMkLst>
            <pc:docMk/>
            <pc:sldMk cId="3033330877" sldId="2134803696"/>
            <ac:spMk id="9" creationId="{3EA31D6B-43E8-CB47-83EA-4134A270433D}"/>
          </ac:spMkLst>
        </pc:spChg>
        <pc:spChg chg="mod">
          <ac:chgData name="Mariam Daniela Tristancho Pineda (PTA SAS)" userId="a45a17f7-7950-4cb5-bfab-f5c894f959a9" providerId="ADAL" clId="{7EBB4E1E-93A9-4035-834A-9A0B60182E9F}" dt="2020-10-06T20:04:33.304" v="2529" actId="1076"/>
          <ac:spMkLst>
            <pc:docMk/>
            <pc:sldMk cId="3033330877" sldId="2134803696"/>
            <ac:spMk id="10" creationId="{2C55E4C0-E506-A544-99EF-1A4FADAE96DE}"/>
          </ac:spMkLst>
        </pc:spChg>
        <pc:spChg chg="add mod ord">
          <ac:chgData name="Mariam Daniela Tristancho Pineda (PTA SAS)" userId="a45a17f7-7950-4cb5-bfab-f5c894f959a9" providerId="ADAL" clId="{7EBB4E1E-93A9-4035-834A-9A0B60182E9F}" dt="2020-10-06T19:56:07.441" v="2381" actId="1076"/>
          <ac:spMkLst>
            <pc:docMk/>
            <pc:sldMk cId="3033330877" sldId="2134803696"/>
            <ac:spMk id="11" creationId="{9EB26948-AEB9-40DC-95A3-307946587810}"/>
          </ac:spMkLst>
        </pc:spChg>
        <pc:spChg chg="mod">
          <ac:chgData name="Mariam Daniela Tristancho Pineda (PTA SAS)" userId="a45a17f7-7950-4cb5-bfab-f5c894f959a9" providerId="ADAL" clId="{7EBB4E1E-93A9-4035-834A-9A0B60182E9F}" dt="2020-10-06T19:33:32.355" v="1613" actId="1076"/>
          <ac:spMkLst>
            <pc:docMk/>
            <pc:sldMk cId="3033330877" sldId="2134803696"/>
            <ac:spMk id="12" creationId="{CFEF7504-136F-CF4E-BC65-65D7B80E6249}"/>
          </ac:spMkLst>
        </pc:spChg>
        <pc:spChg chg="mod">
          <ac:chgData name="Mariam Daniela Tristancho Pineda (PTA SAS)" userId="a45a17f7-7950-4cb5-bfab-f5c894f959a9" providerId="ADAL" clId="{7EBB4E1E-93A9-4035-834A-9A0B60182E9F}" dt="2020-10-06T19:33:34.002" v="1614" actId="1076"/>
          <ac:spMkLst>
            <pc:docMk/>
            <pc:sldMk cId="3033330877" sldId="2134803696"/>
            <ac:spMk id="18" creationId="{73C77D80-3296-9F46-BA35-4412CBAF9405}"/>
          </ac:spMkLst>
        </pc:spChg>
        <pc:picChg chg="mod">
          <ac:chgData name="Mariam Daniela Tristancho Pineda (PTA SAS)" userId="a45a17f7-7950-4cb5-bfab-f5c894f959a9" providerId="ADAL" clId="{7EBB4E1E-93A9-4035-834A-9A0B60182E9F}" dt="2020-10-06T20:04:33.304" v="2529" actId="1076"/>
          <ac:picMkLst>
            <pc:docMk/>
            <pc:sldMk cId="3033330877" sldId="2134803696"/>
            <ac:picMk id="5" creationId="{94885677-7B19-2C48-B6F1-0E1A52DC522C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4:33.304" v="2529" actId="1076"/>
          <ac:picMkLst>
            <pc:docMk/>
            <pc:sldMk cId="3033330877" sldId="2134803696"/>
            <ac:picMk id="6" creationId="{D6A27ED5-971F-DE4E-8750-72A34AB089D8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4:33.304" v="2529" actId="1076"/>
          <ac:picMkLst>
            <pc:docMk/>
            <pc:sldMk cId="3033330877" sldId="2134803696"/>
            <ac:picMk id="7" creationId="{6DE5FCA8-E048-8D4C-8161-943E5E7B4F9A}"/>
          </ac:picMkLst>
        </pc:picChg>
        <pc:picChg chg="add mod">
          <ac:chgData name="Mariam Daniela Tristancho Pineda (PTA SAS)" userId="a45a17f7-7950-4cb5-bfab-f5c894f959a9" providerId="ADAL" clId="{7EBB4E1E-93A9-4035-834A-9A0B60182E9F}" dt="2020-10-06T19:56:07.441" v="2381" actId="1076"/>
          <ac:picMkLst>
            <pc:docMk/>
            <pc:sldMk cId="3033330877" sldId="2134803696"/>
            <ac:picMk id="13" creationId="{F0E2C602-B151-4A8B-B98B-63ECC8DB5DED}"/>
          </ac:picMkLst>
        </pc:picChg>
        <pc:picChg chg="del mod">
          <ac:chgData name="Mariam Daniela Tristancho Pineda (PTA SAS)" userId="a45a17f7-7950-4cb5-bfab-f5c894f959a9" providerId="ADAL" clId="{7EBB4E1E-93A9-4035-834A-9A0B60182E9F}" dt="2020-10-06T19:55:30.129" v="2360" actId="21"/>
          <ac:picMkLst>
            <pc:docMk/>
            <pc:sldMk cId="3033330877" sldId="2134803696"/>
            <ac:picMk id="16" creationId="{FEF0D3C6-D79F-0044-B1ED-028F1CB23688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4:33.304" v="2529" actId="1076"/>
          <ac:picMkLst>
            <pc:docMk/>
            <pc:sldMk cId="3033330877" sldId="2134803696"/>
            <ac:picMk id="21" creationId="{683C0F51-8C09-CE43-9A68-12C0E64311B9}"/>
          </ac:picMkLst>
        </pc:picChg>
      </pc:sldChg>
      <pc:sldChg chg="delSp modSp add mod">
        <pc:chgData name="Mariam Daniela Tristancho Pineda (PTA SAS)" userId="a45a17f7-7950-4cb5-bfab-f5c894f959a9" providerId="ADAL" clId="{7EBB4E1E-93A9-4035-834A-9A0B60182E9F}" dt="2020-10-06T20:02:08.177" v="2392" actId="1076"/>
        <pc:sldMkLst>
          <pc:docMk/>
          <pc:sldMk cId="16616583" sldId="2134803697"/>
        </pc:sldMkLst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2" creationId="{38EDB1DE-AF47-9D40-B81D-283FF4E6C2A4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6" creationId="{0B95BECA-B91B-1947-B0D6-C4A401178577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9" creationId="{F4EA02F3-489B-4F56-B83B-A3E6EFCD6C62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11" creationId="{B7555FB1-F363-8646-896F-4E2589A794C7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12" creationId="{B9E82B6E-0015-4A40-8F67-A63ADDF3DB44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13" creationId="{250199F8-A82E-4057-B60A-23CC702AD1C3}"/>
          </ac:spMkLst>
        </pc:spChg>
        <pc:picChg chg="del mod">
          <ac:chgData name="Mariam Daniela Tristancho Pineda (PTA SAS)" userId="a45a17f7-7950-4cb5-bfab-f5c894f959a9" providerId="ADAL" clId="{7EBB4E1E-93A9-4035-834A-9A0B60182E9F}" dt="2020-10-06T19:34:39.379" v="1616" actId="478"/>
          <ac:picMkLst>
            <pc:docMk/>
            <pc:sldMk cId="16616583" sldId="2134803697"/>
            <ac:picMk id="14" creationId="{183C7245-B99D-DB48-9D89-30411EEB42C6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2:08.177" v="2392" actId="1076"/>
          <ac:picMkLst>
            <pc:docMk/>
            <pc:sldMk cId="16616583" sldId="2134803697"/>
            <ac:picMk id="16" creationId="{A344A14F-33F3-4B77-9BFB-45506A0EBBD0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2:08.177" v="2392" actId="1076"/>
          <ac:picMkLst>
            <pc:docMk/>
            <pc:sldMk cId="16616583" sldId="2134803697"/>
            <ac:picMk id="18" creationId="{28260F04-AA04-4E5B-9B8F-06C318CA8205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2:08.177" v="2392" actId="1076"/>
          <ac:picMkLst>
            <pc:docMk/>
            <pc:sldMk cId="16616583" sldId="2134803697"/>
            <ac:picMk id="24" creationId="{5718E154-7845-40C6-BBF4-06E91DDB7B54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2:08.177" v="2392" actId="1076"/>
          <ac:picMkLst>
            <pc:docMk/>
            <pc:sldMk cId="16616583" sldId="2134803697"/>
            <ac:picMk id="31" creationId="{A8E9EF51-64BE-4193-9FDF-A0683F838FC5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2:08.177" v="2392" actId="1076"/>
          <ac:picMkLst>
            <pc:docMk/>
            <pc:sldMk cId="16616583" sldId="2134803697"/>
            <ac:picMk id="33" creationId="{E08C4F9D-FF5D-4BC7-87EE-58CF1AFAC0E8}"/>
          </ac:picMkLst>
        </pc:picChg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95424355" sldId="2134804070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446426025" sldId="2134804071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2724062261" sldId="2134804072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2375134941" sldId="2134804073"/>
        </pc:sldMkLst>
      </pc:sldChg>
      <pc:sldChg chg="modSp add setBg">
        <pc:chgData name="Mariam Daniela Tristancho Pineda (PTA SAS)" userId="a45a17f7-7950-4cb5-bfab-f5c894f959a9" providerId="ADAL" clId="{7EBB4E1E-93A9-4035-834A-9A0B60182E9F}" dt="2020-10-13T22:08:58.147" v="3812" actId="1035"/>
        <pc:sldMkLst>
          <pc:docMk/>
          <pc:sldMk cId="1320800415" sldId="2134804075"/>
        </pc:sldMkLst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4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26" creationId="{41C60CC4-8F21-4A94-899E-F9BED2465B4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27" creationId="{B09DAB73-9D66-4BF9-9FA8-EB22DA8CC04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28" creationId="{1A8F65F1-8B69-4C88-9734-3D2EC528373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29" creationId="{DE7749AC-B21F-F74A-9936-82CE13690D8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30" creationId="{D8D825EA-AC89-A549-B227-CB9867017AD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31" creationId="{3A045290-A7AF-8F42-8717-9132D3F106B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2" creationId="{661D6835-C731-462C-90FA-17BC5369CA9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3" creationId="{48E778FA-E2B9-4634-AD9C-34CDF2D2DE1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4" creationId="{8BDBBEA5-166A-4010-A2AF-6511274F4CB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5" creationId="{C74D3C78-DED7-4616-9017-9A799701DA1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6" creationId="{21D1BD67-2981-4F4F-8B83-6A36BB16CFA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7" creationId="{BA0664B6-B5D4-48D2-96BE-896AA299AD7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45" creationId="{5C0B0279-9920-41E9-A75F-F322E155093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46" creationId="{FCA85588-CC45-4481-94AC-6ED05B7D59D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47" creationId="{3C6EC40D-31B2-4ADD-A814-6366E18E7F4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49" creationId="{5EE2707E-CFB4-AB46-A73B-D4052755E8E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0" creationId="{2D77FE62-110E-5446-BDEA-ABFC1959E8E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1" creationId="{7B889A2E-2B97-5A44-AE35-AEC6619F2CD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2" creationId="{489D07ED-5871-484E-8E46-7001FC9BCC28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3" creationId="{28640510-9B15-444C-BA72-E584D72068C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4" creationId="{EACAD8BA-4D8E-E746-80FD-04A852D89B9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5" creationId="{9C1007CA-D144-1549-8C71-64F24B834AB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7" creationId="{DF0E8961-84A4-C749-AA4D-5C843DA4EBB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60" creationId="{975FDAD8-21A7-6A4D-A6AC-95588297866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63" creationId="{C9E2DFA8-404F-0141-B6D1-C69F3B58DCE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66" creationId="{5BACB924-5AC1-1849-92FE-D8CF5B33EB7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68" creationId="{129D3683-FFBE-DC4E-B34C-888F70A8B86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69" creationId="{BC80F819-71E5-5D49-A1AF-4791EDB494A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70" creationId="{5FA102A2-EE1A-4445-AE2E-85B6EC857B6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71" creationId="{58F48FF1-F0B7-3445-AA1E-1DFF682E1250}"/>
          </ac:spMkLst>
        </pc:spChg>
        <pc:grpChg chg="mod">
          <ac:chgData name="Mariam Daniela Tristancho Pineda (PTA SAS)" userId="a45a17f7-7950-4cb5-bfab-f5c894f959a9" providerId="ADAL" clId="{7EBB4E1E-93A9-4035-834A-9A0B60182E9F}" dt="2020-10-13T22:08:34.818" v="3795" actId="207"/>
          <ac:grpSpMkLst>
            <pc:docMk/>
            <pc:sldMk cId="1320800415" sldId="2134804075"/>
            <ac:grpSpMk id="6" creationId="{A72F983A-409D-41E6-908B-3F12DE29852B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34.818" v="3795" actId="207"/>
          <ac:grpSpMkLst>
            <pc:docMk/>
            <pc:sldMk cId="1320800415" sldId="2134804075"/>
            <ac:grpSpMk id="39" creationId="{6FE9CD71-401C-4A51-8A1A-FCE65987984F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34.818" v="3795" actId="207"/>
          <ac:grpSpMkLst>
            <pc:docMk/>
            <pc:sldMk cId="1320800415" sldId="2134804075"/>
            <ac:grpSpMk id="42" creationId="{0843074A-8160-4458-9A7B-68E088F3A8B5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58.147" v="3812" actId="1035"/>
          <ac:grpSpMkLst>
            <pc:docMk/>
            <pc:sldMk cId="1320800415" sldId="2134804075"/>
            <ac:grpSpMk id="56" creationId="{9FB0B59F-E743-834D-8DF1-41717AD17EBC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58.147" v="3812" actId="1035"/>
          <ac:grpSpMkLst>
            <pc:docMk/>
            <pc:sldMk cId="1320800415" sldId="2134804075"/>
            <ac:grpSpMk id="59" creationId="{518DE169-869D-0A42-876B-E8F290D25524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58.147" v="3812" actId="1035"/>
          <ac:grpSpMkLst>
            <pc:docMk/>
            <pc:sldMk cId="1320800415" sldId="2134804075"/>
            <ac:grpSpMk id="62" creationId="{B95B5B7C-3907-DD4F-8263-EB49ECB0C8B3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58.147" v="3812" actId="1035"/>
          <ac:grpSpMkLst>
            <pc:docMk/>
            <pc:sldMk cId="1320800415" sldId="2134804075"/>
            <ac:grpSpMk id="65" creationId="{8A0C5DEE-3F7B-3041-9543-73B2450E74A5}"/>
          </ac:grpSpMkLst>
        </pc:grpChg>
        <pc:picChg chg="mod">
          <ac:chgData name="Mariam Daniela Tristancho Pineda (PTA SAS)" userId="a45a17f7-7950-4cb5-bfab-f5c894f959a9" providerId="ADAL" clId="{7EBB4E1E-93A9-4035-834A-9A0B60182E9F}" dt="2020-10-13T22:08:34.818" v="3795" actId="207"/>
          <ac:picMkLst>
            <pc:docMk/>
            <pc:sldMk cId="1320800415" sldId="2134804075"/>
            <ac:picMk id="2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58.147" v="3812" actId="1035"/>
          <ac:picMkLst>
            <pc:docMk/>
            <pc:sldMk cId="1320800415" sldId="2134804075"/>
            <ac:picMk id="58" creationId="{B7183846-7257-184D-A7C4-395AA49884E8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58.147" v="3812" actId="1035"/>
          <ac:picMkLst>
            <pc:docMk/>
            <pc:sldMk cId="1320800415" sldId="2134804075"/>
            <ac:picMk id="61" creationId="{1BBA2E49-1CD3-F843-85D4-33FE883E7ADC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58.147" v="3812" actId="1035"/>
          <ac:picMkLst>
            <pc:docMk/>
            <pc:sldMk cId="1320800415" sldId="2134804075"/>
            <ac:picMk id="64" creationId="{D44642B9-DDFA-AD44-8E9D-A74456007256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58.147" v="3812" actId="1035"/>
          <ac:picMkLst>
            <pc:docMk/>
            <pc:sldMk cId="1320800415" sldId="2134804075"/>
            <ac:picMk id="67" creationId="{4CD38717-5EC0-7E44-B9DB-2C48EE78E5E4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597079781" sldId="2134804076"/>
        </pc:sldMkLst>
      </pc:sldChg>
      <pc:sldChg chg="add">
        <pc:chgData name="Mariam Daniela Tristancho Pineda (PTA SAS)" userId="a45a17f7-7950-4cb5-bfab-f5c894f959a9" providerId="ADAL" clId="{7EBB4E1E-93A9-4035-834A-9A0B60182E9F}" dt="2020-10-13T23:32:25.113" v="3839"/>
        <pc:sldMkLst>
          <pc:docMk/>
          <pc:sldMk cId="1040105421" sldId="2134804100"/>
        </pc:sldMkLst>
      </pc:sldChg>
      <pc:sldChg chg="modSp add del mod">
        <pc:chgData name="Mariam Daniela Tristancho Pineda (PTA SAS)" userId="a45a17f7-7950-4cb5-bfab-f5c894f959a9" providerId="ADAL" clId="{7EBB4E1E-93A9-4035-834A-9A0B60182E9F}" dt="2020-10-14T13:10:17.754" v="3860" actId="1035"/>
        <pc:sldMkLst>
          <pc:docMk/>
          <pc:sldMk cId="1031404069" sldId="2134804123"/>
        </pc:sldMkLst>
        <pc:spChg chg="mod">
          <ac:chgData name="Mariam Daniela Tristancho Pineda (PTA SAS)" userId="a45a17f7-7950-4cb5-bfab-f5c894f959a9" providerId="ADAL" clId="{7EBB4E1E-93A9-4035-834A-9A0B60182E9F}" dt="2020-10-14T13:10:17.754" v="3860" actId="1035"/>
          <ac:spMkLst>
            <pc:docMk/>
            <pc:sldMk cId="1031404069" sldId="2134804123"/>
            <ac:spMk id="14" creationId="{F8D15426-29DE-4884-815F-5CC281E0DDFC}"/>
          </ac:spMkLst>
        </pc:spChg>
        <pc:spChg chg="mod">
          <ac:chgData name="Mariam Daniela Tristancho Pineda (PTA SAS)" userId="a45a17f7-7950-4cb5-bfab-f5c894f959a9" providerId="ADAL" clId="{7EBB4E1E-93A9-4035-834A-9A0B60182E9F}" dt="2020-10-14T13:10:17.754" v="3860" actId="1035"/>
          <ac:spMkLst>
            <pc:docMk/>
            <pc:sldMk cId="1031404069" sldId="2134804123"/>
            <ac:spMk id="35" creationId="{4BBC80FA-AE9B-4EFD-8C69-D0C87D5A24AA}"/>
          </ac:spMkLst>
        </pc:spChg>
        <pc:spChg chg="mod">
          <ac:chgData name="Mariam Daniela Tristancho Pineda (PTA SAS)" userId="a45a17f7-7950-4cb5-bfab-f5c894f959a9" providerId="ADAL" clId="{7EBB4E1E-93A9-4035-834A-9A0B60182E9F}" dt="2020-10-14T13:10:17.754" v="3860" actId="1035"/>
          <ac:spMkLst>
            <pc:docMk/>
            <pc:sldMk cId="1031404069" sldId="2134804123"/>
            <ac:spMk id="36" creationId="{A8CCD230-7513-45BF-A4D7-EEA0DEB4FEE7}"/>
          </ac:spMkLst>
        </pc:spChg>
        <pc:spChg chg="mod">
          <ac:chgData name="Mariam Daniela Tristancho Pineda (PTA SAS)" userId="a45a17f7-7950-4cb5-bfab-f5c894f959a9" providerId="ADAL" clId="{7EBB4E1E-93A9-4035-834A-9A0B60182E9F}" dt="2020-10-14T13:10:17.754" v="3860" actId="1035"/>
          <ac:spMkLst>
            <pc:docMk/>
            <pc:sldMk cId="1031404069" sldId="2134804123"/>
            <ac:spMk id="37" creationId="{C1129307-C441-4103-8F2C-64B0177282CE}"/>
          </ac:spMkLst>
        </pc:spChg>
        <pc:graphicFrameChg chg="mod">
          <ac:chgData name="Mariam Daniela Tristancho Pineda (PTA SAS)" userId="a45a17f7-7950-4cb5-bfab-f5c894f959a9" providerId="ADAL" clId="{7EBB4E1E-93A9-4035-834A-9A0B60182E9F}" dt="2020-10-14T13:10:17.754" v="3860" actId="1035"/>
          <ac:graphicFrameMkLst>
            <pc:docMk/>
            <pc:sldMk cId="1031404069" sldId="2134804123"/>
            <ac:graphicFrameMk id="7" creationId="{C6F21275-9EE6-4A4B-A157-C50FC5B75F82}"/>
          </ac:graphicFrameMkLst>
        </pc:graphicFrameChg>
        <pc:graphicFrameChg chg="mod">
          <ac:chgData name="Mariam Daniela Tristancho Pineda (PTA SAS)" userId="a45a17f7-7950-4cb5-bfab-f5c894f959a9" providerId="ADAL" clId="{7EBB4E1E-93A9-4035-834A-9A0B60182E9F}" dt="2020-10-14T13:10:17.754" v="3860" actId="1035"/>
          <ac:graphicFrameMkLst>
            <pc:docMk/>
            <pc:sldMk cId="1031404069" sldId="2134804123"/>
            <ac:graphicFrameMk id="16" creationId="{30D639FB-611B-4AED-98C5-92ABDDCBD586}"/>
          </ac:graphicFrameMkLst>
        </pc:graphicFrameChg>
        <pc:graphicFrameChg chg="mod">
          <ac:chgData name="Mariam Daniela Tristancho Pineda (PTA SAS)" userId="a45a17f7-7950-4cb5-bfab-f5c894f959a9" providerId="ADAL" clId="{7EBB4E1E-93A9-4035-834A-9A0B60182E9F}" dt="2020-10-14T13:10:17.754" v="3860" actId="1035"/>
          <ac:graphicFrameMkLst>
            <pc:docMk/>
            <pc:sldMk cId="1031404069" sldId="2134804123"/>
            <ac:graphicFrameMk id="19" creationId="{CEA21B80-4DCD-4314-8EF4-BD3D1CAFE2A2}"/>
          </ac:graphicFrameMkLst>
        </pc:graphicFrameChg>
        <pc:graphicFrameChg chg="mod">
          <ac:chgData name="Mariam Daniela Tristancho Pineda (PTA SAS)" userId="a45a17f7-7950-4cb5-bfab-f5c894f959a9" providerId="ADAL" clId="{7EBB4E1E-93A9-4035-834A-9A0B60182E9F}" dt="2020-10-14T13:10:17.754" v="3860" actId="1035"/>
          <ac:graphicFrameMkLst>
            <pc:docMk/>
            <pc:sldMk cId="1031404069" sldId="2134804123"/>
            <ac:graphicFrameMk id="32" creationId="{DCA44B8C-50B5-485F-809C-4361E59B3802}"/>
          </ac:graphicFrameMkLst>
        </pc:graphicFrameChg>
        <pc:graphicFrameChg chg="mod">
          <ac:chgData name="Mariam Daniela Tristancho Pineda (PTA SAS)" userId="a45a17f7-7950-4cb5-bfab-f5c894f959a9" providerId="ADAL" clId="{7EBB4E1E-93A9-4035-834A-9A0B60182E9F}" dt="2020-10-14T13:10:17.754" v="3860" actId="1035"/>
          <ac:graphicFrameMkLst>
            <pc:docMk/>
            <pc:sldMk cId="1031404069" sldId="2134804123"/>
            <ac:graphicFrameMk id="33" creationId="{9A365877-2D7F-454C-AB52-29BB309627C8}"/>
          </ac:graphicFrameMkLst>
        </pc:graphicFrameChg>
      </pc:sldChg>
      <pc:sldChg chg="add">
        <pc:chgData name="Mariam Daniela Tristancho Pineda (PTA SAS)" userId="a45a17f7-7950-4cb5-bfab-f5c894f959a9" providerId="ADAL" clId="{7EBB4E1E-93A9-4035-834A-9A0B60182E9F}" dt="2020-10-13T22:27:49.844" v="3825"/>
        <pc:sldMkLst>
          <pc:docMk/>
          <pc:sldMk cId="2538609344" sldId="2134804169"/>
        </pc:sldMkLst>
      </pc:sldChg>
      <pc:sldChg chg="add">
        <pc:chgData name="Mariam Daniela Tristancho Pineda (PTA SAS)" userId="a45a17f7-7950-4cb5-bfab-f5c894f959a9" providerId="ADAL" clId="{7EBB4E1E-93A9-4035-834A-9A0B60182E9F}" dt="2020-10-13T23:32:25.113" v="3839"/>
        <pc:sldMkLst>
          <pc:docMk/>
          <pc:sldMk cId="3258791362" sldId="2134804198"/>
        </pc:sldMkLst>
      </pc:sldChg>
      <pc:sldChg chg="modSp del mod">
        <pc:chgData name="Mariam Daniela Tristancho Pineda (PTA SAS)" userId="a45a17f7-7950-4cb5-bfab-f5c894f959a9" providerId="ADAL" clId="{7EBB4E1E-93A9-4035-834A-9A0B60182E9F}" dt="2020-10-06T13:38:13.802" v="361" actId="47"/>
        <pc:sldMkLst>
          <pc:docMk/>
          <pc:sldMk cId="1980531121" sldId="2134804273"/>
        </pc:sldMkLst>
        <pc:spChg chg="mod">
          <ac:chgData name="Mariam Daniela Tristancho Pineda (PTA SAS)" userId="a45a17f7-7950-4cb5-bfab-f5c894f959a9" providerId="ADAL" clId="{7EBB4E1E-93A9-4035-834A-9A0B60182E9F}" dt="2020-10-06T13:22:44.712" v="124" actId="403"/>
          <ac:spMkLst>
            <pc:docMk/>
            <pc:sldMk cId="1980531121" sldId="2134804273"/>
            <ac:spMk id="2" creationId="{6431BBCF-96E5-45A7-B7E5-D44090D06329}"/>
          </ac:spMkLst>
        </pc:spChg>
        <pc:spChg chg="mod">
          <ac:chgData name="Mariam Daniela Tristancho Pineda (PTA SAS)" userId="a45a17f7-7950-4cb5-bfab-f5c894f959a9" providerId="ADAL" clId="{7EBB4E1E-93A9-4035-834A-9A0B60182E9F}" dt="2020-10-06T13:22:48.555" v="125" actId="1076"/>
          <ac:spMkLst>
            <pc:docMk/>
            <pc:sldMk cId="1980531121" sldId="2134804273"/>
            <ac:spMk id="4" creationId="{E6E021D8-A542-413B-9FE4-DE0D70989372}"/>
          </ac:spMkLst>
        </pc:spChg>
      </pc:sldChg>
      <pc:sldChg chg="add ord">
        <pc:chgData name="Mariam Daniela Tristancho Pineda (PTA SAS)" userId="a45a17f7-7950-4cb5-bfab-f5c894f959a9" providerId="ADAL" clId="{7EBB4E1E-93A9-4035-834A-9A0B60182E9F}" dt="2020-10-13T22:11:23.028" v="3820"/>
        <pc:sldMkLst>
          <pc:docMk/>
          <pc:sldMk cId="2072566269" sldId="2134804278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172075570" sldId="2134804279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4121589136" sldId="2134804280"/>
        </pc:sldMkLst>
      </pc:sldChg>
      <pc:sldChg chg="modSp del mod">
        <pc:chgData name="Mariam Daniela Tristancho Pineda (PTA SAS)" userId="a45a17f7-7950-4cb5-bfab-f5c894f959a9" providerId="ADAL" clId="{7EBB4E1E-93A9-4035-834A-9A0B60182E9F}" dt="2020-10-06T13:43:35.032" v="485" actId="47"/>
        <pc:sldMkLst>
          <pc:docMk/>
          <pc:sldMk cId="383958496" sldId="2134804281"/>
        </pc:sldMkLst>
        <pc:spChg chg="mod">
          <ac:chgData name="Mariam Daniela Tristancho Pineda (PTA SAS)" userId="a45a17f7-7950-4cb5-bfab-f5c894f959a9" providerId="ADAL" clId="{7EBB4E1E-93A9-4035-834A-9A0B60182E9F}" dt="2020-10-06T13:36:47.325" v="359" actId="20577"/>
          <ac:spMkLst>
            <pc:docMk/>
            <pc:sldMk cId="383958496" sldId="2134804281"/>
            <ac:spMk id="20" creationId="{92C8D133-E6D8-4045-B204-E026C5621093}"/>
          </ac:spMkLst>
        </pc:sp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873099499" sldId="2134804281"/>
        </pc:sldMkLst>
      </pc:sldChg>
      <pc:sldChg chg="modSp add del mod">
        <pc:chgData name="Mariam Daniela Tristancho Pineda (PTA SAS)" userId="a45a17f7-7950-4cb5-bfab-f5c894f959a9" providerId="ADAL" clId="{7EBB4E1E-93A9-4035-834A-9A0B60182E9F}" dt="2020-10-06T13:56:14.455" v="553" actId="47"/>
        <pc:sldMkLst>
          <pc:docMk/>
          <pc:sldMk cId="1822149763" sldId="2134804293"/>
        </pc:sldMkLst>
        <pc:spChg chg="mod">
          <ac:chgData name="Mariam Daniela Tristancho Pineda (PTA SAS)" userId="a45a17f7-7950-4cb5-bfab-f5c894f959a9" providerId="ADAL" clId="{7EBB4E1E-93A9-4035-834A-9A0B60182E9F}" dt="2020-10-06T13:45:19.354" v="551" actId="20577"/>
          <ac:spMkLst>
            <pc:docMk/>
            <pc:sldMk cId="1822149763" sldId="2134804293"/>
            <ac:spMk id="4" creationId="{C47780CB-210E-480D-AF15-355BDC7F6E93}"/>
          </ac:spMkLst>
        </pc:spChg>
      </pc:sldChg>
      <pc:sldChg chg="addSp delSp modSp add del mod ord modShow">
        <pc:chgData name="Mariam Daniela Tristancho Pineda (PTA SAS)" userId="a45a17f7-7950-4cb5-bfab-f5c894f959a9" providerId="ADAL" clId="{7EBB4E1E-93A9-4035-834A-9A0B60182E9F}" dt="2020-10-06T19:48:58.146" v="2357" actId="1035"/>
        <pc:sldMkLst>
          <pc:docMk/>
          <pc:sldMk cId="2857089145" sldId="2134804311"/>
        </pc:sldMkLst>
        <pc:spChg chg="mod">
          <ac:chgData name="Mariam Daniela Tristancho Pineda (PTA SAS)" userId="a45a17f7-7950-4cb5-bfab-f5c894f959a9" providerId="ADAL" clId="{7EBB4E1E-93A9-4035-834A-9A0B60182E9F}" dt="2020-10-06T19:48:50.712" v="2352" actId="1037"/>
          <ac:spMkLst>
            <pc:docMk/>
            <pc:sldMk cId="2857089145" sldId="2134804311"/>
            <ac:spMk id="3" creationId="{068CD6F9-C4F6-487A-AD51-1719BB675678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7" creationId="{729CDB4D-12FF-47BB-A02C-F9F9D7D26D99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9" creationId="{6260AE1B-9CC2-4D73-9EFA-E10D76B20F0D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10" creationId="{E471DFFB-10DC-4003-9986-B10F0593516B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12" creationId="{A7DA2696-2798-43FD-9339-132E49A0D2FD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58.146" v="2357" actId="1035"/>
          <ac:spMkLst>
            <pc:docMk/>
            <pc:sldMk cId="2857089145" sldId="2134804311"/>
            <ac:spMk id="13" creationId="{57FF8689-C768-4B3D-84A7-9B3CA5FBDA66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27:38.069" v="255" actId="1076"/>
          <ac:spMkLst>
            <pc:docMk/>
            <pc:sldMk cId="2857089145" sldId="2134804311"/>
            <ac:spMk id="18" creationId="{E90FCBA6-21CD-4F25-BCD0-226ED2F9F639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7:06:34.582" v="1312" actId="1076"/>
          <ac:spMkLst>
            <pc:docMk/>
            <pc:sldMk cId="2857089145" sldId="2134804311"/>
            <ac:spMk id="19" creationId="{D17652CB-6B2D-4320-B022-645E8FAD6D00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52.333" v="211" actId="14100"/>
          <ac:spMkLst>
            <pc:docMk/>
            <pc:sldMk cId="2857089145" sldId="2134804311"/>
            <ac:spMk id="20" creationId="{76D830BA-6809-4B00-97EA-4BF2F62005C0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9:48:20.649" v="2346" actId="1036"/>
          <ac:spMkLst>
            <pc:docMk/>
            <pc:sldMk cId="2857089145" sldId="2134804311"/>
            <ac:spMk id="21" creationId="{C2E8075C-F8BB-4317-9B88-69D6FC099B4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54.308" v="212" actId="14100"/>
          <ac:spMkLst>
            <pc:docMk/>
            <pc:sldMk cId="2857089145" sldId="2134804311"/>
            <ac:spMk id="23" creationId="{1B7F3B79-9926-43AB-9BF5-0385EC9E64C6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56.229" v="213" actId="1076"/>
          <ac:spMkLst>
            <pc:docMk/>
            <pc:sldMk cId="2857089145" sldId="2134804311"/>
            <ac:spMk id="24" creationId="{DF671ED5-B712-42B2-865D-ADF852C70B18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21.634" v="221" actId="1076"/>
          <ac:spMkLst>
            <pc:docMk/>
            <pc:sldMk cId="2857089145" sldId="2134804311"/>
            <ac:spMk id="45" creationId="{FE8ED9F7-3608-4810-95FA-CCA357FF8DD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33.801" v="228" actId="20577"/>
          <ac:spMkLst>
            <pc:docMk/>
            <pc:sldMk cId="2857089145" sldId="2134804311"/>
            <ac:spMk id="50" creationId="{A6FD2FCA-22BD-4408-A162-974663FFA2A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51" creationId="{D395E86E-3965-40C4-A3DF-5364D60CE5F2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52" creationId="{5B06B1DA-3BD9-47D7-9B3D-C321E2E527E4}"/>
          </ac:spMkLst>
        </pc:spChg>
        <pc:spChg chg="del mod">
          <ac:chgData name="Mariam Daniela Tristancho Pineda (PTA SAS)" userId="a45a17f7-7950-4cb5-bfab-f5c894f959a9" providerId="ADAL" clId="{7EBB4E1E-93A9-4035-834A-9A0B60182E9F}" dt="2020-10-06T19:40:51.955" v="2236" actId="478"/>
          <ac:spMkLst>
            <pc:docMk/>
            <pc:sldMk cId="2857089145" sldId="2134804311"/>
            <ac:spMk id="53" creationId="{F9C857D3-C5F6-4D00-8D9C-646D1DA60918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48.404" v="210" actId="14100"/>
          <ac:spMkLst>
            <pc:docMk/>
            <pc:sldMk cId="2857089145" sldId="2134804311"/>
            <ac:spMk id="55" creationId="{29532448-A08B-43D8-A118-91936FED3C4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57" creationId="{899A4C5F-C341-448B-B15D-BB337D4E4176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58" creationId="{13971695-02CB-4075-AB5E-BDAB89C4EB52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59" creationId="{7127D3DE-EF0D-403A-A224-06CFC244F2F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60" creationId="{C756E770-FDC5-4AD2-8422-3E24C956681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48.748" v="231" actId="14100"/>
          <ac:spMkLst>
            <pc:docMk/>
            <pc:sldMk cId="2857089145" sldId="2134804311"/>
            <ac:spMk id="61" creationId="{34F7D164-E994-45AC-8F26-F92B7ACB058A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63" creationId="{C8570C6E-3F05-4155-850A-C74FBEC80B54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64" creationId="{646BACCF-FF90-4891-9AFB-F9D4221C88F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65" creationId="{1065D923-F137-4939-8930-2192BD04211D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66" creationId="{DC1BBBBA-158A-411A-BB38-9A477BEC2498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67" creationId="{C40762A9-67E9-4AAE-9CCD-76B6A006557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10.525" v="129" actId="14100"/>
          <ac:spMkLst>
            <pc:docMk/>
            <pc:sldMk cId="2857089145" sldId="2134804311"/>
            <ac:spMk id="71" creationId="{999B1B90-D742-4D29-B51B-141387E09C9F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48.543" v="290" actId="20577"/>
          <ac:spMkLst>
            <pc:docMk/>
            <pc:sldMk cId="2857089145" sldId="2134804311"/>
            <ac:spMk id="72" creationId="{2FBB49E6-161E-494F-B0AF-91D6129F8F3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8:02.552" v="264" actId="20577"/>
          <ac:spMkLst>
            <pc:docMk/>
            <pc:sldMk cId="2857089145" sldId="2134804311"/>
            <ac:spMk id="73" creationId="{7882AF9C-51C3-42A3-B5BB-994F0A38CDAC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33.444" v="282" actId="20577"/>
          <ac:spMkLst>
            <pc:docMk/>
            <pc:sldMk cId="2857089145" sldId="2134804311"/>
            <ac:spMk id="74" creationId="{9580D3C9-E22F-46DD-870C-E0072C65AB7F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35.252" v="284" actId="20577"/>
          <ac:spMkLst>
            <pc:docMk/>
            <pc:sldMk cId="2857089145" sldId="2134804311"/>
            <ac:spMk id="75" creationId="{038013D2-E475-419B-A6D0-BE4D39D57D1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46.115" v="288" actId="20577"/>
          <ac:spMkLst>
            <pc:docMk/>
            <pc:sldMk cId="2857089145" sldId="2134804311"/>
            <ac:spMk id="76" creationId="{0F21D6C4-EC29-43B6-B8E7-338DB7DD7C1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50.607" v="292" actId="20577"/>
          <ac:spMkLst>
            <pc:docMk/>
            <pc:sldMk cId="2857089145" sldId="2134804311"/>
            <ac:spMk id="77" creationId="{95FD1090-EE89-438B-9895-DC57C1D16AA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78" creationId="{1775A41A-7B98-4609-BF00-BC54D6AACB9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79" creationId="{4CB33A5F-A766-46AC-A7C7-BF7EAD99C46C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0" creationId="{4CCC5681-CD2B-48BE-AC2F-73599B52580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1" creationId="{634E8F6A-D227-42AA-8F9A-1A7BE729C4A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2" creationId="{CC6FC411-21E3-4918-B850-9261277B558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3" creationId="{83FFFF75-698F-4830-A17F-3A75C875E441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4" creationId="{E8FAC1FE-10FB-45A2-ADB6-53328F0B0D2D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5" creationId="{2E45A84E-D7BC-4D0A-86B6-E69D7A67D6F1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86" creationId="{AD34F7C6-56B7-4336-8931-38C3EA3A472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42.525" v="209" actId="1037"/>
          <ac:spMkLst>
            <pc:docMk/>
            <pc:sldMk cId="2857089145" sldId="2134804311"/>
            <ac:spMk id="87" creationId="{A58BF597-C51C-4E2C-9BD2-59F949AC6F7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42.525" v="209" actId="1037"/>
          <ac:spMkLst>
            <pc:docMk/>
            <pc:sldMk cId="2857089145" sldId="2134804311"/>
            <ac:spMk id="88" creationId="{F61EEF2A-B598-4665-AE21-A8A3931488AC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89" creationId="{973F83E5-B4A3-40C6-8A01-259D39F0C4EF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90" creationId="{744DB82B-E482-4033-8CAD-6B29F669CFF4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91" creationId="{D66505A6-8BAE-42E1-964E-6D28D62D280F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92" creationId="{3EA3CEBF-AE3A-4473-8734-7C7235782152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25.010" v="133" actId="1035"/>
          <ac:spMkLst>
            <pc:docMk/>
            <pc:sldMk cId="2857089145" sldId="2134804311"/>
            <ac:spMk id="93" creationId="{5275F773-D793-4CF4-99F5-C30720C81666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37.124" v="229" actId="1076"/>
          <ac:spMkLst>
            <pc:docMk/>
            <pc:sldMk cId="2857089145" sldId="2134804311"/>
            <ac:spMk id="94" creationId="{75F6475F-AD44-4C16-BAE2-A31BB96FC41E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50.712" v="2352" actId="1037"/>
          <ac:spMkLst>
            <pc:docMk/>
            <pc:sldMk cId="2857089145" sldId="2134804311"/>
            <ac:spMk id="95" creationId="{CA5D357F-D3D8-465C-83A3-2F2B72B2CFA4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96" creationId="{2F854CD9-D212-4B31-8682-2DA5928CD160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97" creationId="{99300021-C267-43BD-A0F5-B3ECE622345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98" creationId="{1B36C647-4A59-44AE-8DCC-30702D96622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99" creationId="{90CC82AC-D82E-4F89-AC67-093894759099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100" creationId="{1835F856-5B59-4AFF-86DE-2F0968B76CF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101" creationId="{44FF1F0B-7DB4-4DE9-84A8-F7DD4E54D710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42.525" v="209" actId="1037"/>
          <ac:spMkLst>
            <pc:docMk/>
            <pc:sldMk cId="2857089145" sldId="2134804311"/>
            <ac:spMk id="102" creationId="{101F3273-AA10-47F1-9872-07AD50130DF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103" creationId="{BDBCDC72-F935-45A4-AE31-C045019965AF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104" creationId="{0326A105-08B6-409E-9596-07BD7645DEA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105" creationId="{DC633C75-4D21-4E37-ABEB-B69D06C0A224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106" creationId="{8BF155F6-9EE4-4410-BB22-DEE4B18E9FEF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107" creationId="{4802A65C-C4BA-49C6-A107-DC404BE5C336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108" creationId="{E7417F2C-4445-4433-AA31-1B1D9A1C89B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31.988" v="280" actId="20577"/>
          <ac:spMkLst>
            <pc:docMk/>
            <pc:sldMk cId="2857089145" sldId="2134804311"/>
            <ac:spMk id="109" creationId="{08385488-E147-46D8-B063-DA33E0733CB0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110" creationId="{1B70395F-81C2-4B2E-ACAD-1A28A2D30AE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111" creationId="{E2D710C4-D10D-431C-8002-D7A8CD9F9791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0.724" v="232" actId="1076"/>
          <ac:spMkLst>
            <pc:docMk/>
            <pc:sldMk cId="2857089145" sldId="2134804311"/>
            <ac:spMk id="112" creationId="{B4C1BF04-1012-45AC-9EB0-AC2838F8453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113" creationId="{D5B58FCE-2D1A-4950-97BC-0B5CDA0B7BD1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114" creationId="{C750392A-C581-4AE8-9E2B-5AF290039A2A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50.712" v="2352" actId="1037"/>
          <ac:spMkLst>
            <pc:docMk/>
            <pc:sldMk cId="2857089145" sldId="2134804311"/>
            <ac:spMk id="115" creationId="{CC79D5D5-997B-4DF3-BD6B-3DDBE2D2F733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38.082" v="2348" actId="14100"/>
          <ac:spMkLst>
            <pc:docMk/>
            <pc:sldMk cId="2857089145" sldId="2134804311"/>
            <ac:spMk id="116" creationId="{5341AE8D-B47D-48FF-A691-EC1C633FE103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53.195" v="2354" actId="1037"/>
          <ac:spMkLst>
            <pc:docMk/>
            <pc:sldMk cId="2857089145" sldId="2134804311"/>
            <ac:spMk id="117" creationId="{46DD0295-1126-4B1C-9336-43E96FDBD16A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58.146" v="2357" actId="1035"/>
          <ac:spMkLst>
            <pc:docMk/>
            <pc:sldMk cId="2857089145" sldId="2134804311"/>
            <ac:spMk id="118" creationId="{38E691F8-3087-4A9E-8D13-4A26B8017BCC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27:24.163" v="250" actId="14100"/>
          <ac:spMkLst>
            <pc:docMk/>
            <pc:sldMk cId="2857089145" sldId="2134804311"/>
            <ac:spMk id="119" creationId="{02180032-97BC-43A8-A7CB-A15D89764F81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27:32.541" v="253" actId="478"/>
          <ac:spMkLst>
            <pc:docMk/>
            <pc:sldMk cId="2857089145" sldId="2134804311"/>
            <ac:spMk id="120" creationId="{4A70E067-09C0-422F-BC16-7518248D26E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7:00.447" v="234"/>
          <ac:spMkLst>
            <pc:docMk/>
            <pc:sldMk cId="2857089145" sldId="2134804311"/>
            <ac:spMk id="122" creationId="{8408C77C-6F46-44F0-B178-66098F48024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7:05.872" v="237" actId="20577"/>
          <ac:spMkLst>
            <pc:docMk/>
            <pc:sldMk cId="2857089145" sldId="2134804311"/>
            <ac:spMk id="123" creationId="{A25AE849-C2A9-4E41-A615-98537AC737F2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42.525" v="209" actId="1037"/>
          <ac:spMkLst>
            <pc:docMk/>
            <pc:sldMk cId="2857089145" sldId="2134804311"/>
            <ac:spMk id="146" creationId="{D86974CC-32BF-439F-A6E2-D1E82520294D}"/>
          </ac:spMkLst>
        </pc:spChg>
        <pc:grpChg chg="mod">
          <ac:chgData name="Mariam Daniela Tristancho Pineda (PTA SAS)" userId="a45a17f7-7950-4cb5-bfab-f5c894f959a9" providerId="ADAL" clId="{7EBB4E1E-93A9-4035-834A-9A0B60182E9F}" dt="2020-10-06T13:26:56.652" v="233" actId="1076"/>
          <ac:grpSpMkLst>
            <pc:docMk/>
            <pc:sldMk cId="2857089145" sldId="2134804311"/>
            <ac:grpSpMk id="6" creationId="{CC434849-3074-4611-B817-AC1F162296B9}"/>
          </ac:grpSpMkLst>
        </pc:grpChg>
        <pc:grpChg chg="add mod">
          <ac:chgData name="Mariam Daniela Tristancho Pineda (PTA SAS)" userId="a45a17f7-7950-4cb5-bfab-f5c894f959a9" providerId="ADAL" clId="{7EBB4E1E-93A9-4035-834A-9A0B60182E9F}" dt="2020-10-06T13:27:03.789" v="235" actId="1076"/>
          <ac:grpSpMkLst>
            <pc:docMk/>
            <pc:sldMk cId="2857089145" sldId="2134804311"/>
            <ac:grpSpMk id="121" creationId="{3EAAF245-D19A-450A-A46B-A2B780EFD861}"/>
          </ac:grpSpMkLst>
        </pc:grpChg>
      </pc:sldChg>
      <pc:sldChg chg="new del">
        <pc:chgData name="Mariam Daniela Tristancho Pineda (PTA SAS)" userId="a45a17f7-7950-4cb5-bfab-f5c894f959a9" providerId="ADAL" clId="{7EBB4E1E-93A9-4035-834A-9A0B60182E9F}" dt="2020-10-06T13:35:54.349" v="342" actId="47"/>
        <pc:sldMkLst>
          <pc:docMk/>
          <pc:sldMk cId="40953114" sldId="2134804312"/>
        </pc:sldMkLst>
      </pc:sldChg>
      <pc:sldChg chg="addSp delSp modSp new mod ord">
        <pc:chgData name="Mariam Daniela Tristancho Pineda (PTA SAS)" userId="a45a17f7-7950-4cb5-bfab-f5c894f959a9" providerId="ADAL" clId="{7EBB4E1E-93A9-4035-834A-9A0B60182E9F}" dt="2020-10-06T16:42:39.357" v="1114" actId="113"/>
        <pc:sldMkLst>
          <pc:docMk/>
          <pc:sldMk cId="2155305328" sldId="2134804312"/>
        </pc:sldMkLst>
        <pc:spChg chg="del">
          <ac:chgData name="Mariam Daniela Tristancho Pineda (PTA SAS)" userId="a45a17f7-7950-4cb5-bfab-f5c894f959a9" providerId="ADAL" clId="{7EBB4E1E-93A9-4035-834A-9A0B60182E9F}" dt="2020-10-06T13:36:15.306" v="350" actId="478"/>
          <ac:spMkLst>
            <pc:docMk/>
            <pc:sldMk cId="2155305328" sldId="2134804312"/>
            <ac:spMk id="3" creationId="{FABD95B2-B4B3-45F0-B3B7-8AD48DB1E66E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36:13.997" v="349"/>
          <ac:spMkLst>
            <pc:docMk/>
            <pc:sldMk cId="2155305328" sldId="2134804312"/>
            <ac:spMk id="8" creationId="{7E667619-97EA-48A7-9738-EC8740EAF0EC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36:13.997" v="349"/>
          <ac:spMkLst>
            <pc:docMk/>
            <pc:sldMk cId="2155305328" sldId="2134804312"/>
            <ac:spMk id="9" creationId="{BE25D214-4966-448E-9441-A66564F0B6A6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36:13.997" v="349"/>
          <ac:spMkLst>
            <pc:docMk/>
            <pc:sldMk cId="2155305328" sldId="2134804312"/>
            <ac:spMk id="10" creationId="{01449AEE-11DF-49E1-908C-068E1670C3F4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36:32.517" v="354" actId="478"/>
          <ac:spMkLst>
            <pc:docMk/>
            <pc:sldMk cId="2155305328" sldId="2134804312"/>
            <ac:spMk id="13" creationId="{3BA3A1EA-5D2F-4BF7-9930-3792ECAF2E31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6:42:28.871" v="1110" actId="20577"/>
          <ac:spMkLst>
            <pc:docMk/>
            <pc:sldMk cId="2155305328" sldId="2134804312"/>
            <ac:spMk id="17" creationId="{93C535B7-C9A2-4E17-A24E-412DBB5A3BFE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36:15.752" v="351"/>
          <ac:spMkLst>
            <pc:docMk/>
            <pc:sldMk cId="2155305328" sldId="2134804312"/>
            <ac:spMk id="18" creationId="{2B7C12C9-D304-40FC-8A34-6AE4B4CBCFE8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6:42:39.357" v="1114" actId="113"/>
          <ac:spMkLst>
            <pc:docMk/>
            <pc:sldMk cId="2155305328" sldId="2134804312"/>
            <ac:spMk id="19" creationId="{E8E47420-DDA6-4272-8155-1CCB73EC576B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6:16:50.735" v="781" actId="478"/>
          <ac:spMkLst>
            <pc:docMk/>
            <pc:sldMk cId="2155305328" sldId="2134804312"/>
            <ac:spMk id="21" creationId="{5B65C2A4-1343-40ED-9C00-63D324D044EF}"/>
          </ac:spMkLst>
        </pc:spChg>
        <pc:graphicFrameChg chg="add del mod">
          <ac:chgData name="Mariam Daniela Tristancho Pineda (PTA SAS)" userId="a45a17f7-7950-4cb5-bfab-f5c894f959a9" providerId="ADAL" clId="{7EBB4E1E-93A9-4035-834A-9A0B60182E9F}" dt="2020-10-06T13:36:13.997" v="349"/>
          <ac:graphicFrameMkLst>
            <pc:docMk/>
            <pc:sldMk cId="2155305328" sldId="2134804312"/>
            <ac:graphicFrameMk id="4" creationId="{23F04052-9BDD-44B8-8CBD-04A516637D9F}"/>
          </ac:graphicFrameMkLst>
        </pc:graphicFrameChg>
        <pc:graphicFrameChg chg="add del mod">
          <ac:chgData name="Mariam Daniela Tristancho Pineda (PTA SAS)" userId="a45a17f7-7950-4cb5-bfab-f5c894f959a9" providerId="ADAL" clId="{7EBB4E1E-93A9-4035-834A-9A0B60182E9F}" dt="2020-10-06T13:36:13.997" v="349"/>
          <ac:graphicFrameMkLst>
            <pc:docMk/>
            <pc:sldMk cId="2155305328" sldId="2134804312"/>
            <ac:graphicFrameMk id="5" creationId="{8D6EEB2E-D420-4AD3-AFEF-9C5B23F2391F}"/>
          </ac:graphicFrameMkLst>
        </pc:graphicFrameChg>
        <pc:graphicFrameChg chg="add del mod">
          <ac:chgData name="Mariam Daniela Tristancho Pineda (PTA SAS)" userId="a45a17f7-7950-4cb5-bfab-f5c894f959a9" providerId="ADAL" clId="{7EBB4E1E-93A9-4035-834A-9A0B60182E9F}" dt="2020-10-06T13:36:13.997" v="349"/>
          <ac:graphicFrameMkLst>
            <pc:docMk/>
            <pc:sldMk cId="2155305328" sldId="2134804312"/>
            <ac:graphicFrameMk id="6" creationId="{440A3027-EB22-4441-B023-4FA38F68568C}"/>
          </ac:graphicFrameMkLst>
        </pc:graphicFrameChg>
        <pc:graphicFrameChg chg="add del mod">
          <ac:chgData name="Mariam Daniela Tristancho Pineda (PTA SAS)" userId="a45a17f7-7950-4cb5-bfab-f5c894f959a9" providerId="ADAL" clId="{7EBB4E1E-93A9-4035-834A-9A0B60182E9F}" dt="2020-10-06T13:36:13.997" v="349"/>
          <ac:graphicFrameMkLst>
            <pc:docMk/>
            <pc:sldMk cId="2155305328" sldId="2134804312"/>
            <ac:graphicFrameMk id="7" creationId="{BE028096-5DEE-4B00-8C81-454DD7B93D96}"/>
          </ac:graphicFrameMkLst>
        </pc:graphicFrameChg>
        <pc:graphicFrameChg chg="add del mod">
          <ac:chgData name="Mariam Daniela Tristancho Pineda (PTA SAS)" userId="a45a17f7-7950-4cb5-bfab-f5c894f959a9" providerId="ADAL" clId="{7EBB4E1E-93A9-4035-834A-9A0B60182E9F}" dt="2020-10-06T13:36:13.997" v="349"/>
          <ac:graphicFrameMkLst>
            <pc:docMk/>
            <pc:sldMk cId="2155305328" sldId="2134804312"/>
            <ac:graphicFrameMk id="11" creationId="{45EC9E54-CEB2-4F7B-8293-0202EF9C9B15}"/>
          </ac:graphicFrameMkLst>
        </pc:graphicFrameChg>
        <pc:graphicFrameChg chg="add mod">
          <ac:chgData name="Mariam Daniela Tristancho Pineda (PTA SAS)" userId="a45a17f7-7950-4cb5-bfab-f5c894f959a9" providerId="ADAL" clId="{7EBB4E1E-93A9-4035-834A-9A0B60182E9F}" dt="2020-10-06T13:36:15.752" v="351"/>
          <ac:graphicFrameMkLst>
            <pc:docMk/>
            <pc:sldMk cId="2155305328" sldId="2134804312"/>
            <ac:graphicFrameMk id="12" creationId="{9439FC51-FAA5-4F33-9DCD-B57BD3BB8202}"/>
          </ac:graphicFrameMkLst>
        </pc:graphicFrameChg>
        <pc:graphicFrameChg chg="add mod">
          <ac:chgData name="Mariam Daniela Tristancho Pineda (PTA SAS)" userId="a45a17f7-7950-4cb5-bfab-f5c894f959a9" providerId="ADAL" clId="{7EBB4E1E-93A9-4035-834A-9A0B60182E9F}" dt="2020-10-06T13:36:15.752" v="351"/>
          <ac:graphicFrameMkLst>
            <pc:docMk/>
            <pc:sldMk cId="2155305328" sldId="2134804312"/>
            <ac:graphicFrameMk id="14" creationId="{F4A826D5-8374-42B6-A7F4-92AB3863D1DC}"/>
          </ac:graphicFrameMkLst>
        </pc:graphicFrameChg>
        <pc:graphicFrameChg chg="add mod">
          <ac:chgData name="Mariam Daniela Tristancho Pineda (PTA SAS)" userId="a45a17f7-7950-4cb5-bfab-f5c894f959a9" providerId="ADAL" clId="{7EBB4E1E-93A9-4035-834A-9A0B60182E9F}" dt="2020-10-06T13:36:29.835" v="353" actId="1076"/>
          <ac:graphicFrameMkLst>
            <pc:docMk/>
            <pc:sldMk cId="2155305328" sldId="2134804312"/>
            <ac:graphicFrameMk id="15" creationId="{F0FCCEF7-BDB0-4FE6-A297-B6EBA9095F7B}"/>
          </ac:graphicFrameMkLst>
        </pc:graphicFrameChg>
        <pc:graphicFrameChg chg="add mod">
          <ac:chgData name="Mariam Daniela Tristancho Pineda (PTA SAS)" userId="a45a17f7-7950-4cb5-bfab-f5c894f959a9" providerId="ADAL" clId="{7EBB4E1E-93A9-4035-834A-9A0B60182E9F}" dt="2020-10-06T13:36:15.752" v="351"/>
          <ac:graphicFrameMkLst>
            <pc:docMk/>
            <pc:sldMk cId="2155305328" sldId="2134804312"/>
            <ac:graphicFrameMk id="16" creationId="{4B3EDF18-E96B-49C8-8701-0D322C71A303}"/>
          </ac:graphicFrameMkLst>
        </pc:graphicFrameChg>
        <pc:graphicFrameChg chg="add mod">
          <ac:chgData name="Mariam Daniela Tristancho Pineda (PTA SAS)" userId="a45a17f7-7950-4cb5-bfab-f5c894f959a9" providerId="ADAL" clId="{7EBB4E1E-93A9-4035-834A-9A0B60182E9F}" dt="2020-10-06T13:36:15.752" v="351"/>
          <ac:graphicFrameMkLst>
            <pc:docMk/>
            <pc:sldMk cId="2155305328" sldId="2134804312"/>
            <ac:graphicFrameMk id="20" creationId="{4B220045-A4C1-4D51-A3D0-20FAFD7EDE85}"/>
          </ac:graphicFrameMkLst>
        </pc:graphicFrameChg>
      </pc:sldChg>
      <pc:sldChg chg="modSp add mod">
        <pc:chgData name="Mariam Daniela Tristancho Pineda (PTA SAS)" userId="a45a17f7-7950-4cb5-bfab-f5c894f959a9" providerId="ADAL" clId="{7EBB4E1E-93A9-4035-834A-9A0B60182E9F}" dt="2020-10-06T20:03:22.346" v="2517" actId="1037"/>
        <pc:sldMkLst>
          <pc:docMk/>
          <pc:sldMk cId="4121415553" sldId="2134804414"/>
        </pc:sldMkLst>
        <pc:spChg chg="mod">
          <ac:chgData name="Mariam Daniela Tristancho Pineda (PTA SAS)" userId="a45a17f7-7950-4cb5-bfab-f5c894f959a9" providerId="ADAL" clId="{7EBB4E1E-93A9-4035-834A-9A0B60182E9F}" dt="2020-10-06T20:03:22.346" v="2517" actId="1037"/>
          <ac:spMkLst>
            <pc:docMk/>
            <pc:sldMk cId="4121415553" sldId="2134804414"/>
            <ac:spMk id="12" creationId="{DA3E0F87-051D-4FAB-97B2-AA77D5BD2AB7}"/>
          </ac:spMkLst>
        </pc:spChg>
        <pc:spChg chg="mod">
          <ac:chgData name="Mariam Daniela Tristancho Pineda (PTA SAS)" userId="a45a17f7-7950-4cb5-bfab-f5c894f959a9" providerId="ADAL" clId="{7EBB4E1E-93A9-4035-834A-9A0B60182E9F}" dt="2020-10-06T14:00:43.041" v="737" actId="1076"/>
          <ac:spMkLst>
            <pc:docMk/>
            <pc:sldMk cId="4121415553" sldId="2134804414"/>
            <ac:spMk id="18" creationId="{83B7C534-529F-4519-88B8-45BE1CCCDBE0}"/>
          </ac:spMkLst>
        </pc:spChg>
        <pc:spChg chg="mod">
          <ac:chgData name="Mariam Daniela Tristancho Pineda (PTA SAS)" userId="a45a17f7-7950-4cb5-bfab-f5c894f959a9" providerId="ADAL" clId="{7EBB4E1E-93A9-4035-834A-9A0B60182E9F}" dt="2020-10-06T14:00:43.041" v="737" actId="1076"/>
          <ac:spMkLst>
            <pc:docMk/>
            <pc:sldMk cId="4121415553" sldId="2134804414"/>
            <ac:spMk id="20" creationId="{403480A8-492D-4F93-8D46-94905F0CDFD8}"/>
          </ac:spMkLst>
        </pc:spChg>
        <pc:spChg chg="mod">
          <ac:chgData name="Mariam Daniela Tristancho Pineda (PTA SAS)" userId="a45a17f7-7950-4cb5-bfab-f5c894f959a9" providerId="ADAL" clId="{7EBB4E1E-93A9-4035-834A-9A0B60182E9F}" dt="2020-10-06T14:00:43.041" v="737" actId="1076"/>
          <ac:spMkLst>
            <pc:docMk/>
            <pc:sldMk cId="4121415553" sldId="2134804414"/>
            <ac:spMk id="22" creationId="{4D19C3B8-1FE2-4573-8FCE-E505886A5191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14.672" v="2509" actId="1036"/>
          <ac:spMkLst>
            <pc:docMk/>
            <pc:sldMk cId="4121415553" sldId="2134804414"/>
            <ac:spMk id="26" creationId="{6C197A61-16CE-45A1-A4EC-A2D9EBC522A6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14.672" v="2509" actId="1036"/>
          <ac:spMkLst>
            <pc:docMk/>
            <pc:sldMk cId="4121415553" sldId="2134804414"/>
            <ac:spMk id="28" creationId="{F6A39EDD-4AB2-4CDE-9781-439D59B8706D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14.672" v="2509" actId="1036"/>
          <ac:spMkLst>
            <pc:docMk/>
            <pc:sldMk cId="4121415553" sldId="2134804414"/>
            <ac:spMk id="30" creationId="{1B95667F-06E7-4C43-95A7-8F31DCEDA1B7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14.672" v="2509" actId="1036"/>
          <ac:spMkLst>
            <pc:docMk/>
            <pc:sldMk cId="4121415553" sldId="2134804414"/>
            <ac:spMk id="32" creationId="{73499DFB-4B17-4744-B739-07C38AA846BF}"/>
          </ac:spMkLst>
        </pc:spChg>
        <pc:graphicFrameChg chg="mod">
          <ac:chgData name="Mariam Daniela Tristancho Pineda (PTA SAS)" userId="a45a17f7-7950-4cb5-bfab-f5c894f959a9" providerId="ADAL" clId="{7EBB4E1E-93A9-4035-834A-9A0B60182E9F}" dt="2020-10-06T20:03:14.672" v="2509" actId="1036"/>
          <ac:graphicFrameMkLst>
            <pc:docMk/>
            <pc:sldMk cId="4121415553" sldId="2134804414"/>
            <ac:graphicFrameMk id="14" creationId="{FC912B18-D631-4203-8148-C29D5E8932C4}"/>
          </ac:graphicFrameMkLst>
        </pc:graphicFrameChg>
        <pc:graphicFrameChg chg="mod">
          <ac:chgData name="Mariam Daniela Tristancho Pineda (PTA SAS)" userId="a45a17f7-7950-4cb5-bfab-f5c894f959a9" providerId="ADAL" clId="{7EBB4E1E-93A9-4035-834A-9A0B60182E9F}" dt="2020-10-06T14:00:43.041" v="737" actId="1076"/>
          <ac:graphicFrameMkLst>
            <pc:docMk/>
            <pc:sldMk cId="4121415553" sldId="2134804414"/>
            <ac:graphicFrameMk id="16" creationId="{5D4BBD0F-5069-4E96-9460-B89DFC747D71}"/>
          </ac:graphicFrameMkLst>
        </pc:graphicFrameChg>
      </pc:sldChg>
      <pc:sldChg chg="modSp add mod">
        <pc:chgData name="Mariam Daniela Tristancho Pineda (PTA SAS)" userId="a45a17f7-7950-4cb5-bfab-f5c894f959a9" providerId="ADAL" clId="{7EBB4E1E-93A9-4035-834A-9A0B60182E9F}" dt="2020-10-06T20:02:56.595" v="2488" actId="1036"/>
        <pc:sldMkLst>
          <pc:docMk/>
          <pc:sldMk cId="4264100340" sldId="2134804415"/>
        </pc:sldMkLst>
        <pc:spChg chg="mod">
          <ac:chgData name="Mariam Daniela Tristancho Pineda (PTA SAS)" userId="a45a17f7-7950-4cb5-bfab-f5c894f959a9" providerId="ADAL" clId="{7EBB4E1E-93A9-4035-834A-9A0B60182E9F}" dt="2020-10-06T20:02:49.981" v="2482" actId="1036"/>
          <ac:spMkLst>
            <pc:docMk/>
            <pc:sldMk cId="4264100340" sldId="2134804415"/>
            <ac:spMk id="2" creationId="{B949D370-FD96-4073-8FBF-7D2C6B5429E3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46.412" v="2463" actId="1036"/>
          <ac:spMkLst>
            <pc:docMk/>
            <pc:sldMk cId="4264100340" sldId="2134804415"/>
            <ac:spMk id="3" creationId="{A224A260-4D01-431A-9C97-58F4C63B844C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43.629" v="2450" actId="1036"/>
          <ac:spMkLst>
            <pc:docMk/>
            <pc:sldMk cId="4264100340" sldId="2134804415"/>
            <ac:spMk id="4" creationId="{C1BC9276-84D1-4D8C-A08E-3C1950622352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40.738" v="2437" actId="1035"/>
          <ac:spMkLst>
            <pc:docMk/>
            <pc:sldMk cId="4264100340" sldId="2134804415"/>
            <ac:spMk id="5" creationId="{75B80B9B-A974-49C9-BD64-C7E5DC3FA411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34.284" v="2410" actId="1036"/>
          <ac:spMkLst>
            <pc:docMk/>
            <pc:sldMk cId="4264100340" sldId="2134804415"/>
            <ac:spMk id="6" creationId="{6484815E-883F-4F26-9F38-1E1545D135B1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32.234" v="2401" actId="1036"/>
          <ac:spMkLst>
            <pc:docMk/>
            <pc:sldMk cId="4264100340" sldId="2134804415"/>
            <ac:spMk id="7" creationId="{F7860A4C-21A2-48E0-B165-4649723658F8}"/>
          </ac:spMkLst>
        </pc:spChg>
        <pc:spChg chg="mod">
          <ac:chgData name="Mariam Daniela Tristancho Pineda (PTA SAS)" userId="a45a17f7-7950-4cb5-bfab-f5c894f959a9" providerId="ADAL" clId="{7EBB4E1E-93A9-4035-834A-9A0B60182E9F}" dt="2020-10-06T14:02:52.445" v="760" actId="1036"/>
          <ac:spMkLst>
            <pc:docMk/>
            <pc:sldMk cId="4264100340" sldId="2134804415"/>
            <ac:spMk id="8" creationId="{11525450-D68D-447A-A865-2352CB094B9D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37.380" v="2425" actId="1036"/>
          <ac:spMkLst>
            <pc:docMk/>
            <pc:sldMk cId="4264100340" sldId="2134804415"/>
            <ac:spMk id="10" creationId="{89C4FE79-F166-433C-924B-FADC5DB0B0DF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56.595" v="2488" actId="1036"/>
          <ac:spMkLst>
            <pc:docMk/>
            <pc:sldMk cId="4264100340" sldId="2134804415"/>
            <ac:spMk id="13" creationId="{3A02962D-5907-45C1-8961-A2C27E9820A2}"/>
          </ac:spMkLst>
        </pc:spChg>
        <pc:graphicFrameChg chg="mod modGraphic">
          <ac:chgData name="Mariam Daniela Tristancho Pineda (PTA SAS)" userId="a45a17f7-7950-4cb5-bfab-f5c894f959a9" providerId="ADAL" clId="{7EBB4E1E-93A9-4035-834A-9A0B60182E9F}" dt="2020-10-06T20:02:23.381" v="2397" actId="14100"/>
          <ac:graphicFrameMkLst>
            <pc:docMk/>
            <pc:sldMk cId="4264100340" sldId="2134804415"/>
            <ac:graphicFrameMk id="9" creationId="{2D37FFEA-FB45-443E-A71F-D88EA491681F}"/>
          </ac:graphicFrameMkLst>
        </pc:graphicFrameChg>
      </pc:sldChg>
      <pc:sldChg chg="modSp add mod ord">
        <pc:chgData name="Mariam Daniela Tristancho Pineda (PTA SAS)" userId="a45a17f7-7950-4cb5-bfab-f5c894f959a9" providerId="ADAL" clId="{7EBB4E1E-93A9-4035-834A-9A0B60182E9F}" dt="2020-10-14T13:12:24.413" v="3861"/>
        <pc:sldMkLst>
          <pc:docMk/>
          <pc:sldMk cId="808228179" sldId="2134804416"/>
        </pc:sldMkLst>
        <pc:spChg chg="mod">
          <ac:chgData name="Mariam Daniela Tristancho Pineda (PTA SAS)" userId="a45a17f7-7950-4cb5-bfab-f5c894f959a9" providerId="ADAL" clId="{7EBB4E1E-93A9-4035-834A-9A0B60182E9F}" dt="2020-10-06T20:03:06.942" v="2502" actId="1036"/>
          <ac:spMkLst>
            <pc:docMk/>
            <pc:sldMk cId="808228179" sldId="2134804416"/>
            <ac:spMk id="12" creationId="{416BA93B-5220-4DF4-B1AE-25C2B9AF5010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17" creationId="{89D6B7EB-F12A-423E-AB8A-8BA9E3386B25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19" creationId="{CA8612C3-18F8-43E4-A7EB-A3F175606542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21" creationId="{4085785B-5E65-44C0-9185-52975CCC88CC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23" creationId="{B2ADA33F-8974-4F1B-977A-E7B0056A5635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25" creationId="{0D7AAB2D-1B32-4AA6-9D1F-094345CFBCA6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27" creationId="{5B6EBF9B-A167-436E-A0E4-351E8ADFD0C7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29" creationId="{508BBA46-6B52-4007-93AE-9FB70CB09202}"/>
          </ac:spMkLst>
        </pc:spChg>
        <pc:graphicFrameChg chg="mod">
          <ac:chgData name="Mariam Daniela Tristancho Pineda (PTA SAS)" userId="a45a17f7-7950-4cb5-bfab-f5c894f959a9" providerId="ADAL" clId="{7EBB4E1E-93A9-4035-834A-9A0B60182E9F}" dt="2020-10-06T20:03:05.326" v="2499" actId="1036"/>
          <ac:graphicFrameMkLst>
            <pc:docMk/>
            <pc:sldMk cId="808228179" sldId="2134804416"/>
            <ac:graphicFrameMk id="15" creationId="{0DE618DD-F247-46AF-8DFA-20E3E3699393}"/>
          </ac:graphicFrameMkLst>
        </pc:graphicFrameChg>
      </pc:sldChg>
      <pc:sldChg chg="addSp modSp add mod ord">
        <pc:chgData name="Mariam Daniela Tristancho Pineda (PTA SAS)" userId="a45a17f7-7950-4cb5-bfab-f5c894f959a9" providerId="ADAL" clId="{7EBB4E1E-93A9-4035-834A-9A0B60182E9F}" dt="2020-10-08T15:30:35.413" v="3630"/>
        <pc:sldMkLst>
          <pc:docMk/>
          <pc:sldMk cId="3371544068" sldId="2134804419"/>
        </pc:sldMkLst>
        <pc:spChg chg="mod">
          <ac:chgData name="Mariam Daniela Tristancho Pineda (PTA SAS)" userId="a45a17f7-7950-4cb5-bfab-f5c894f959a9" providerId="ADAL" clId="{7EBB4E1E-93A9-4035-834A-9A0B60182E9F}" dt="2020-10-06T13:43:26.849" v="483" actId="1076"/>
          <ac:spMkLst>
            <pc:docMk/>
            <pc:sldMk cId="3371544068" sldId="2134804419"/>
            <ac:spMk id="3" creationId="{F68A17DE-3ACC-4C72-8ED3-CE0F518FDBA1}"/>
          </ac:spMkLst>
        </pc:spChg>
        <pc:grpChg chg="add mod">
          <ac:chgData name="Mariam Daniela Tristancho Pineda (PTA SAS)" userId="a45a17f7-7950-4cb5-bfab-f5c894f959a9" providerId="ADAL" clId="{7EBB4E1E-93A9-4035-834A-9A0B60182E9F}" dt="2020-10-06T16:25:09.498" v="925" actId="1076"/>
          <ac:grpSpMkLst>
            <pc:docMk/>
            <pc:sldMk cId="3371544068" sldId="2134804419"/>
            <ac:grpSpMk id="5" creationId="{FBA90C9C-3FAC-4A5B-AC56-9A7D5883C5D2}"/>
          </ac:grpSpMkLst>
        </pc:grpChg>
        <pc:picChg chg="add mod modCrop">
          <ac:chgData name="Mariam Daniela Tristancho Pineda (PTA SAS)" userId="a45a17f7-7950-4cb5-bfab-f5c894f959a9" providerId="ADAL" clId="{7EBB4E1E-93A9-4035-834A-9A0B60182E9F}" dt="2020-10-06T13:42:52.910" v="460" actId="164"/>
          <ac:picMkLst>
            <pc:docMk/>
            <pc:sldMk cId="3371544068" sldId="2134804419"/>
            <ac:picMk id="2" creationId="{927373F5-E52D-4BED-980C-BE41574CA2A9}"/>
          </ac:picMkLst>
        </pc:picChg>
        <pc:picChg chg="mod modCrop">
          <ac:chgData name="Mariam Daniela Tristancho Pineda (PTA SAS)" userId="a45a17f7-7950-4cb5-bfab-f5c894f959a9" providerId="ADAL" clId="{7EBB4E1E-93A9-4035-834A-9A0B60182E9F}" dt="2020-10-06T13:42:52.910" v="460" actId="164"/>
          <ac:picMkLst>
            <pc:docMk/>
            <pc:sldMk cId="3371544068" sldId="2134804419"/>
            <ac:picMk id="6" creationId="{05734922-739A-4487-BAEC-818B336FAED2}"/>
          </ac:picMkLst>
        </pc:picChg>
        <pc:picChg chg="mod ord">
          <ac:chgData name="Mariam Daniela Tristancho Pineda (PTA SAS)" userId="a45a17f7-7950-4cb5-bfab-f5c894f959a9" providerId="ADAL" clId="{7EBB4E1E-93A9-4035-834A-9A0B60182E9F}" dt="2020-10-06T13:43:24.396" v="482" actId="167"/>
          <ac:picMkLst>
            <pc:docMk/>
            <pc:sldMk cId="3371544068" sldId="2134804419"/>
            <ac:picMk id="21" creationId="{926A4ABC-B403-41BD-B93A-8D5B4A44D5E9}"/>
          </ac:picMkLst>
        </pc:picChg>
        <pc:cxnChg chg="mod">
          <ac:chgData name="Mariam Daniela Tristancho Pineda (PTA SAS)" userId="a45a17f7-7950-4cb5-bfab-f5c894f959a9" providerId="ADAL" clId="{7EBB4E1E-93A9-4035-834A-9A0B60182E9F}" dt="2020-10-06T13:43:04.001" v="467" actId="1036"/>
          <ac:cxnSpMkLst>
            <pc:docMk/>
            <pc:sldMk cId="3371544068" sldId="2134804419"/>
            <ac:cxnSpMk id="9" creationId="{96370D2B-2C99-47FB-977A-1BACABA0448E}"/>
          </ac:cxnSpMkLst>
        </pc:cxnChg>
        <pc:cxnChg chg="mod">
          <ac:chgData name="Mariam Daniela Tristancho Pineda (PTA SAS)" userId="a45a17f7-7950-4cb5-bfab-f5c894f959a9" providerId="ADAL" clId="{7EBB4E1E-93A9-4035-834A-9A0B60182E9F}" dt="2020-10-06T13:43:04.001" v="467" actId="1036"/>
          <ac:cxnSpMkLst>
            <pc:docMk/>
            <pc:sldMk cId="3371544068" sldId="2134804419"/>
            <ac:cxnSpMk id="17" creationId="{A57EE03D-AD0E-42FF-8004-ACF44D511717}"/>
          </ac:cxnSpMkLst>
        </pc:cxnChg>
      </pc:sldChg>
      <pc:sldChg chg="delSp add mod">
        <pc:chgData name="Mariam Daniela Tristancho Pineda (PTA SAS)" userId="a45a17f7-7950-4cb5-bfab-f5c894f959a9" providerId="ADAL" clId="{7EBB4E1E-93A9-4035-834A-9A0B60182E9F}" dt="2020-10-06T13:38:42.822" v="427" actId="478"/>
        <pc:sldMkLst>
          <pc:docMk/>
          <pc:sldMk cId="1620305538" sldId="2134804428"/>
        </pc:sldMkLst>
        <pc:spChg chg="del">
          <ac:chgData name="Mariam Daniela Tristancho Pineda (PTA SAS)" userId="a45a17f7-7950-4cb5-bfab-f5c894f959a9" providerId="ADAL" clId="{7EBB4E1E-93A9-4035-834A-9A0B60182E9F}" dt="2020-10-06T13:38:42.822" v="427" actId="478"/>
          <ac:spMkLst>
            <pc:docMk/>
            <pc:sldMk cId="1620305538" sldId="2134804428"/>
            <ac:spMk id="3" creationId="{8EC80E4D-E850-4DC7-AD65-E3143D79EA50}"/>
          </ac:spMkLst>
        </pc:spChg>
      </pc:sldChg>
      <pc:sldChg chg="addSp delSp modSp add mod modAnim">
        <pc:chgData name="Mariam Daniela Tristancho Pineda (PTA SAS)" userId="a45a17f7-7950-4cb5-bfab-f5c894f959a9" providerId="ADAL" clId="{7EBB4E1E-93A9-4035-834A-9A0B60182E9F}" dt="2020-10-14T01:06:28.622" v="3843"/>
        <pc:sldMkLst>
          <pc:docMk/>
          <pc:sldMk cId="161251094" sldId="2134804429"/>
        </pc:sldMkLst>
        <pc:spChg chg="del">
          <ac:chgData name="Mariam Daniela Tristancho Pineda (PTA SAS)" userId="a45a17f7-7950-4cb5-bfab-f5c894f959a9" providerId="ADAL" clId="{7EBB4E1E-93A9-4035-834A-9A0B60182E9F}" dt="2020-10-06T13:38:59.601" v="429" actId="478"/>
          <ac:spMkLst>
            <pc:docMk/>
            <pc:sldMk cId="161251094" sldId="2134804429"/>
            <ac:spMk id="2" creationId="{FAE263E7-113A-4866-A48B-2203DEF64BD8}"/>
          </ac:spMkLst>
        </pc:spChg>
        <pc:spChg chg="del">
          <ac:chgData name="Mariam Daniela Tristancho Pineda (PTA SAS)" userId="a45a17f7-7950-4cb5-bfab-f5c894f959a9" providerId="ADAL" clId="{7EBB4E1E-93A9-4035-834A-9A0B60182E9F}" dt="2020-10-06T13:38:45.588" v="428" actId="478"/>
          <ac:spMkLst>
            <pc:docMk/>
            <pc:sldMk cId="161251094" sldId="2134804429"/>
            <ac:spMk id="3" creationId="{D45697AB-D646-4CB4-8AB3-314E480C498A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39:01.471" v="430" actId="478"/>
          <ac:spMkLst>
            <pc:docMk/>
            <pc:sldMk cId="161251094" sldId="2134804429"/>
            <ac:spMk id="6" creationId="{C725CA4A-5729-4B6D-BCB5-7192AA7613D4}"/>
          </ac:spMkLst>
        </pc:spChg>
        <pc:picChg chg="add mod">
          <ac:chgData name="Mariam Daniela Tristancho Pineda (PTA SAS)" userId="a45a17f7-7950-4cb5-bfab-f5c894f959a9" providerId="ADAL" clId="{7EBB4E1E-93A9-4035-834A-9A0B60182E9F}" dt="2020-10-14T00:51:56.296" v="3842"/>
          <ac:picMkLst>
            <pc:docMk/>
            <pc:sldMk cId="161251094" sldId="2134804429"/>
            <ac:picMk id="2" creationId="{35ECAD37-C523-42F2-9C4F-6759370D2F2B}"/>
          </ac:picMkLst>
        </pc:picChg>
        <pc:picChg chg="add mod">
          <ac:chgData name="Mariam Daniela Tristancho Pineda (PTA SAS)" userId="a45a17f7-7950-4cb5-bfab-f5c894f959a9" providerId="ADAL" clId="{7EBB4E1E-93A9-4035-834A-9A0B60182E9F}" dt="2020-10-14T01:06:28.622" v="3843"/>
          <ac:picMkLst>
            <pc:docMk/>
            <pc:sldMk cId="161251094" sldId="2134804429"/>
            <ac:picMk id="3" creationId="{C4A8EB8B-7E0F-4094-9A33-123F6F27F699}"/>
          </ac:picMkLst>
        </pc:picChg>
        <pc:picChg chg="add mod">
          <ac:chgData name="Mariam Daniela Tristancho Pineda (PTA SAS)" userId="a45a17f7-7950-4cb5-bfab-f5c894f959a9" providerId="ADAL" clId="{7EBB4E1E-93A9-4035-834A-9A0B60182E9F}" dt="2020-10-06T13:39:56.250" v="433" actId="14100"/>
          <ac:picMkLst>
            <pc:docMk/>
            <pc:sldMk cId="161251094" sldId="2134804429"/>
            <ac:picMk id="7" creationId="{7CB0AB39-5FB0-44B7-9E72-AD35003D41B4}"/>
          </ac:picMkLst>
        </pc:picChg>
      </pc:sldChg>
      <pc:sldChg chg="addSp delSp modSp add mod">
        <pc:chgData name="Mariam Daniela Tristancho Pineda (PTA SAS)" userId="a45a17f7-7950-4cb5-bfab-f5c894f959a9" providerId="ADAL" clId="{7EBB4E1E-93A9-4035-834A-9A0B60182E9F}" dt="2020-10-13T23:32:24.011" v="3838"/>
        <pc:sldMkLst>
          <pc:docMk/>
          <pc:sldMk cId="1824368250" sldId="2134804430"/>
        </pc:sldMkLst>
        <pc:spChg chg="del">
          <ac:chgData name="Mariam Daniela Tristancho Pineda (PTA SAS)" userId="a45a17f7-7950-4cb5-bfab-f5c894f959a9" providerId="ADAL" clId="{7EBB4E1E-93A9-4035-834A-9A0B60182E9F}" dt="2020-10-06T13:40:56.887" v="434" actId="478"/>
          <ac:spMkLst>
            <pc:docMk/>
            <pc:sldMk cId="1824368250" sldId="2134804430"/>
            <ac:spMk id="3" creationId="{CEDCB411-9265-46CA-9ECA-632588775FC2}"/>
          </ac:spMkLst>
        </pc:spChg>
        <pc:spChg chg="mod">
          <ac:chgData name="Mariam Daniela Tristancho Pineda (PTA SAS)" userId="a45a17f7-7950-4cb5-bfab-f5c894f959a9" providerId="ADAL" clId="{7EBB4E1E-93A9-4035-834A-9A0B60182E9F}" dt="2020-10-06T13:41:20.739" v="447" actId="13926"/>
          <ac:spMkLst>
            <pc:docMk/>
            <pc:sldMk cId="1824368250" sldId="2134804430"/>
            <ac:spMk id="5" creationId="{51A82B88-BD7B-415F-B307-FEF91692A7F7}"/>
          </ac:spMkLst>
        </pc:spChg>
        <pc:picChg chg="add del">
          <ac:chgData name="Mariam Daniela Tristancho Pineda (PTA SAS)" userId="a45a17f7-7950-4cb5-bfab-f5c894f959a9" providerId="ADAL" clId="{7EBB4E1E-93A9-4035-834A-9A0B60182E9F}" dt="2020-10-13T23:32:24.011" v="3838"/>
          <ac:picMkLst>
            <pc:docMk/>
            <pc:sldMk cId="1824368250" sldId="2134804430"/>
            <ac:picMk id="2" creationId="{4B706A69-1468-4D0E-9A40-403E2ABD2B6D}"/>
          </ac:picMkLst>
        </pc:picChg>
      </pc:sldChg>
      <pc:sldChg chg="addSp modSp new del mod">
        <pc:chgData name="Mariam Daniela Tristancho Pineda (PTA SAS)" userId="a45a17f7-7950-4cb5-bfab-f5c894f959a9" providerId="ADAL" clId="{7EBB4E1E-93A9-4035-834A-9A0B60182E9F}" dt="2020-10-06T16:46:38.579" v="1115" actId="47"/>
        <pc:sldMkLst>
          <pc:docMk/>
          <pc:sldMk cId="1104434092" sldId="2134804431"/>
        </pc:sldMkLst>
        <pc:spChg chg="add mod">
          <ac:chgData name="Mariam Daniela Tristancho Pineda (PTA SAS)" userId="a45a17f7-7950-4cb5-bfab-f5c894f959a9" providerId="ADAL" clId="{7EBB4E1E-93A9-4035-834A-9A0B60182E9F}" dt="2020-10-06T13:43:56.955" v="521" actId="13926"/>
          <ac:spMkLst>
            <pc:docMk/>
            <pc:sldMk cId="1104434092" sldId="2134804431"/>
            <ac:spMk id="2" creationId="{957EAA4A-611C-4244-89F5-F39EF823DE08}"/>
          </ac:spMkLst>
        </pc:spChg>
      </pc:sldChg>
      <pc:sldChg chg="addSp delSp modSp add mod">
        <pc:chgData name="Mariam Daniela Tristancho Pineda (PTA SAS)" userId="a45a17f7-7950-4cb5-bfab-f5c894f959a9" providerId="ADAL" clId="{7EBB4E1E-93A9-4035-834A-9A0B60182E9F}" dt="2020-10-13T21:57:04.864" v="3771" actId="767"/>
        <pc:sldMkLst>
          <pc:docMk/>
          <pc:sldMk cId="3277803813" sldId="2134804432"/>
        </pc:sldMkLst>
        <pc:spChg chg="add 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3" creationId="{C323CD2A-C7CE-48B5-9038-35540F0B8B16}"/>
          </ac:spMkLst>
        </pc:spChg>
        <pc:spChg chg="add mod">
          <ac:chgData name="Mariam Daniela Tristancho Pineda (PTA SAS)" userId="a45a17f7-7950-4cb5-bfab-f5c894f959a9" providerId="ADAL" clId="{7EBB4E1E-93A9-4035-834A-9A0B60182E9F}" dt="2020-10-13T21:56:02.717" v="3770" actId="767"/>
          <ac:spMkLst>
            <pc:docMk/>
            <pc:sldMk cId="3277803813" sldId="2134804432"/>
            <ac:spMk id="4" creationId="{58CF03C5-FDB0-42EF-BD07-9F54059302D6}"/>
          </ac:spMkLst>
        </pc:spChg>
        <pc:spChg chg="del mod">
          <ac:chgData name="Mariam Daniela Tristancho Pineda (PTA SAS)" userId="a45a17f7-7950-4cb5-bfab-f5c894f959a9" providerId="ADAL" clId="{7EBB4E1E-93A9-4035-834A-9A0B60182E9F}" dt="2020-10-06T19:41:16.251" v="2255" actId="478"/>
          <ac:spMkLst>
            <pc:docMk/>
            <pc:sldMk cId="3277803813" sldId="2134804432"/>
            <ac:spMk id="4" creationId="{C47780CB-210E-480D-AF15-355BDC7F6E93}"/>
          </ac:spMkLst>
        </pc:spChg>
        <pc:spChg chg="del">
          <ac:chgData name="Mariam Daniela Tristancho Pineda (PTA SAS)" userId="a45a17f7-7950-4cb5-bfab-f5c894f959a9" providerId="ADAL" clId="{7EBB4E1E-93A9-4035-834A-9A0B60182E9F}" dt="2020-10-06T13:59:00.619" v="641" actId="478"/>
          <ac:spMkLst>
            <pc:docMk/>
            <pc:sldMk cId="3277803813" sldId="2134804432"/>
            <ac:spMk id="5" creationId="{60144380-CBE4-4263-86E5-F4A7E5CEC0BB}"/>
          </ac:spMkLst>
        </pc:spChg>
        <pc:spChg chg="mod">
          <ac:chgData name="Mariam Daniela Tristancho Pineda (PTA SAS)" userId="a45a17f7-7950-4cb5-bfab-f5c894f959a9" providerId="ADAL" clId="{7EBB4E1E-93A9-4035-834A-9A0B60182E9F}" dt="2020-10-06T13:59:05.649" v="642" actId="20577"/>
          <ac:spMkLst>
            <pc:docMk/>
            <pc:sldMk cId="3277803813" sldId="2134804432"/>
            <ac:spMk id="6" creationId="{935E60B3-FFBE-4EF9-967C-09104A4E6C2E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9" creationId="{F855105E-2EA7-4BD1-84BB-57C947558BF0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31.286" v="639" actId="20577"/>
          <ac:spMkLst>
            <pc:docMk/>
            <pc:sldMk cId="3277803813" sldId="2134804432"/>
            <ac:spMk id="14" creationId="{0572F48F-01C6-4118-B2F6-94C3B890E625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15" creationId="{014142AC-2908-4954-A6DA-9352A6184407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17" creationId="{BE9E913E-CEFB-487F-900F-53524CA30F4C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20" creationId="{69A357A1-A0B3-4721-9B22-54BA1BA9699C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22" creationId="{FDEC4BBC-00BA-4365-BA0B-D6194626272C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9:41:28.808" v="2287" actId="1036"/>
          <ac:spMkLst>
            <pc:docMk/>
            <pc:sldMk cId="3277803813" sldId="2134804432"/>
            <ac:spMk id="23" creationId="{572E8F32-09B5-4BDC-BD13-0C6674C402CF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24" creationId="{F9E0BFC6-987C-4213-B33E-89FCFF3232B1}"/>
          </ac:spMkLst>
        </pc:spChg>
        <pc:spChg chg="add mod">
          <ac:chgData name="Mariam Daniela Tristancho Pineda (PTA SAS)" userId="a45a17f7-7950-4cb5-bfab-f5c894f959a9" providerId="ADAL" clId="{7EBB4E1E-93A9-4035-834A-9A0B60182E9F}" dt="2020-10-13T21:57:04.864" v="3771" actId="767"/>
          <ac:spMkLst>
            <pc:docMk/>
            <pc:sldMk cId="3277803813" sldId="2134804432"/>
            <ac:spMk id="25" creationId="{0A8C7C06-9E0D-4347-8A0E-E5724F2DBA43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26" creationId="{BA888F7A-22EA-4948-B764-AEADC8AA1065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27" creationId="{B31E688C-D405-4E80-B66A-6AFA9B948394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29" creationId="{CD41D6C0-AB04-4207-8F4B-1EAAF2134987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31" creationId="{A6059FAA-59E2-4370-8D9F-502EDF98EB54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33" creationId="{9D3E83CA-C0E4-465D-BC70-1B6E88C46DBD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35" creationId="{CA448AA3-F23B-4FA4-AD73-8665CCB673F0}"/>
          </ac:spMkLst>
        </pc:spChg>
        <pc:grpChg chg="mod">
          <ac:chgData name="Mariam Daniela Tristancho Pineda (PTA SAS)" userId="a45a17f7-7950-4cb5-bfab-f5c894f959a9" providerId="ADAL" clId="{7EBB4E1E-93A9-4035-834A-9A0B60182E9F}" dt="2020-10-06T16:54:50.024" v="1137" actId="1076"/>
          <ac:grpSpMkLst>
            <pc:docMk/>
            <pc:sldMk cId="3277803813" sldId="2134804432"/>
            <ac:grpSpMk id="12" creationId="{97A64B71-2068-4384-8243-F4ED1BE3BD64}"/>
          </ac:grpSpMkLst>
        </pc:grpChg>
        <pc:grpChg chg="mod">
          <ac:chgData name="Mariam Daniela Tristancho Pineda (PTA SAS)" userId="a45a17f7-7950-4cb5-bfab-f5c894f959a9" providerId="ADAL" clId="{7EBB4E1E-93A9-4035-834A-9A0B60182E9F}" dt="2020-10-06T16:54:50.024" v="1137" actId="1076"/>
          <ac:grpSpMkLst>
            <pc:docMk/>
            <pc:sldMk cId="3277803813" sldId="2134804432"/>
            <ac:grpSpMk id="13" creationId="{A8D5E88D-0623-41AE-9881-9D4BA0197AEA}"/>
          </ac:grpSpMkLst>
        </pc:grpChg>
        <pc:grpChg chg="mod">
          <ac:chgData name="Mariam Daniela Tristancho Pineda (PTA SAS)" userId="a45a17f7-7950-4cb5-bfab-f5c894f959a9" providerId="ADAL" clId="{7EBB4E1E-93A9-4035-834A-9A0B60182E9F}" dt="2020-10-06T16:54:50.024" v="1137" actId="1076"/>
          <ac:grpSpMkLst>
            <pc:docMk/>
            <pc:sldMk cId="3277803813" sldId="2134804432"/>
            <ac:grpSpMk id="16" creationId="{0B2E59AD-3929-43C2-8F9D-A17671E2843E}"/>
          </ac:grpSpMkLst>
        </pc:grpChg>
      </pc:sldChg>
      <pc:sldChg chg="new del">
        <pc:chgData name="Mariam Daniela Tristancho Pineda (PTA SAS)" userId="a45a17f7-7950-4cb5-bfab-f5c894f959a9" providerId="ADAL" clId="{7EBB4E1E-93A9-4035-834A-9A0B60182E9F}" dt="2020-10-06T13:45:13.211" v="526" actId="47"/>
        <pc:sldMkLst>
          <pc:docMk/>
          <pc:sldMk cId="3474773225" sldId="2134804432"/>
        </pc:sldMkLst>
      </pc:sldChg>
      <pc:sldChg chg="modSp add del mod ord">
        <pc:chgData name="Mariam Daniela Tristancho Pineda (PTA SAS)" userId="a45a17f7-7950-4cb5-bfab-f5c894f959a9" providerId="ADAL" clId="{7EBB4E1E-93A9-4035-834A-9A0B60182E9F}" dt="2020-10-06T19:32:25.965" v="1593"/>
        <pc:sldMkLst>
          <pc:docMk/>
          <pc:sldMk cId="1658945044" sldId="2134804433"/>
        </pc:sldMkLst>
        <pc:spChg chg="mod">
          <ac:chgData name="Mariam Daniela Tristancho Pineda (PTA SAS)" userId="a45a17f7-7950-4cb5-bfab-f5c894f959a9" providerId="ADAL" clId="{7EBB4E1E-93A9-4035-834A-9A0B60182E9F}" dt="2020-10-06T13:59:37.961" v="670" actId="20577"/>
          <ac:spMkLst>
            <pc:docMk/>
            <pc:sldMk cId="1658945044" sldId="2134804433"/>
            <ac:spMk id="2" creationId="{957EAA4A-611C-4244-89F5-F39EF823DE08}"/>
          </ac:spMkLst>
        </pc:spChg>
      </pc:sldChg>
      <pc:sldChg chg="modSp add mod ord">
        <pc:chgData name="Mariam Daniela Tristancho Pineda (PTA SAS)" userId="a45a17f7-7950-4cb5-bfab-f5c894f959a9" providerId="ADAL" clId="{7EBB4E1E-93A9-4035-834A-9A0B60182E9F}" dt="2020-10-06T17:13:00.727" v="1574" actId="20577"/>
        <pc:sldMkLst>
          <pc:docMk/>
          <pc:sldMk cId="3766831251" sldId="2134804434"/>
        </pc:sldMkLst>
        <pc:spChg chg="mod">
          <ac:chgData name="Mariam Daniela Tristancho Pineda (PTA SAS)" userId="a45a17f7-7950-4cb5-bfab-f5c894f959a9" providerId="ADAL" clId="{7EBB4E1E-93A9-4035-834A-9A0B60182E9F}" dt="2020-10-06T17:13:00.727" v="1574" actId="20577"/>
          <ac:spMkLst>
            <pc:docMk/>
            <pc:sldMk cId="3766831251" sldId="2134804434"/>
            <ac:spMk id="2" creationId="{957EAA4A-611C-4244-89F5-F39EF823DE08}"/>
          </ac:spMkLst>
        </pc:spChg>
      </pc:sldChg>
      <pc:sldChg chg="addSp delSp modSp add mod">
        <pc:chgData name="Mariam Daniela Tristancho Pineda (PTA SAS)" userId="a45a17f7-7950-4cb5-bfab-f5c894f959a9" providerId="ADAL" clId="{7EBB4E1E-93A9-4035-834A-9A0B60182E9F}" dt="2020-10-07T23:29:07.350" v="3576" actId="20577"/>
        <pc:sldMkLst>
          <pc:docMk/>
          <pc:sldMk cId="3956612652" sldId="2134804435"/>
        </pc:sldMkLst>
        <pc:spChg chg="del">
          <ac:chgData name="Mariam Daniela Tristancho Pineda (PTA SAS)" userId="a45a17f7-7950-4cb5-bfab-f5c894f959a9" providerId="ADAL" clId="{7EBB4E1E-93A9-4035-834A-9A0B60182E9F}" dt="2020-10-07T22:51:41.131" v="2530" actId="478"/>
          <ac:spMkLst>
            <pc:docMk/>
            <pc:sldMk cId="3956612652" sldId="2134804435"/>
            <ac:spMk id="2" creationId="{957EAA4A-611C-4244-89F5-F39EF823DE08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2:55:12.999" v="2709" actId="478"/>
          <ac:spMkLst>
            <pc:docMk/>
            <pc:sldMk cId="3956612652" sldId="2134804435"/>
            <ac:spMk id="3" creationId="{533A0FBE-8285-4276-BCC9-437DD7D9F7D0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1:33.447" v="3293" actId="207"/>
          <ac:spMkLst>
            <pc:docMk/>
            <pc:sldMk cId="3956612652" sldId="2134804435"/>
            <ac:spMk id="4" creationId="{68041FCA-D056-443E-AFB1-6878132F3E5F}"/>
          </ac:spMkLst>
        </pc:spChg>
        <pc:spChg chg="add mod ord">
          <ac:chgData name="Mariam Daniela Tristancho Pineda (PTA SAS)" userId="a45a17f7-7950-4cb5-bfab-f5c894f959a9" providerId="ADAL" clId="{7EBB4E1E-93A9-4035-834A-9A0B60182E9F}" dt="2020-10-07T23:21:29.904" v="3292" actId="207"/>
          <ac:spMkLst>
            <pc:docMk/>
            <pc:sldMk cId="3956612652" sldId="2134804435"/>
            <ac:spMk id="5" creationId="{F5700C51-F66A-449D-BCA0-B494FA67DF03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1:59.088" v="3299" actId="478"/>
          <ac:spMkLst>
            <pc:docMk/>
            <pc:sldMk cId="3956612652" sldId="2134804435"/>
            <ac:spMk id="7" creationId="{F3938F8C-4DDE-48BF-9386-8ED0D0CD22D8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1:58.006" v="3298" actId="478"/>
          <ac:spMkLst>
            <pc:docMk/>
            <pc:sldMk cId="3956612652" sldId="2134804435"/>
            <ac:spMk id="9" creationId="{4C947B61-3DE7-4A74-AD05-2162533E5F96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2:00.245" v="3301" actId="478"/>
          <ac:spMkLst>
            <pc:docMk/>
            <pc:sldMk cId="3956612652" sldId="2134804435"/>
            <ac:spMk id="11" creationId="{739A4DE6-60D5-421F-AAB7-F275F694CB3B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2:02.816" v="3302" actId="478"/>
          <ac:spMkLst>
            <pc:docMk/>
            <pc:sldMk cId="3956612652" sldId="2134804435"/>
            <ac:spMk id="13" creationId="{5C7D914C-F193-4991-AA74-B51A44066F90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19:02.004" v="3259" actId="1076"/>
          <ac:spMkLst>
            <pc:docMk/>
            <pc:sldMk cId="3956612652" sldId="2134804435"/>
            <ac:spMk id="14" creationId="{77C3B44D-CCD9-4C34-A6C9-08FB7C10E08A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19:55.832" v="3282" actId="313"/>
          <ac:spMkLst>
            <pc:docMk/>
            <pc:sldMk cId="3956612652" sldId="2134804435"/>
            <ac:spMk id="15" creationId="{AE5BBE52-90F9-41C6-8AAA-C990BB6E5D59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1:47.388" v="3294" actId="1076"/>
          <ac:spMkLst>
            <pc:docMk/>
            <pc:sldMk cId="3956612652" sldId="2134804435"/>
            <ac:spMk id="17" creationId="{460B3078-8B96-4723-A94E-AF0DEDF6104B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1:49.292" v="3295" actId="1076"/>
          <ac:spMkLst>
            <pc:docMk/>
            <pc:sldMk cId="3956612652" sldId="2134804435"/>
            <ac:spMk id="19" creationId="{50494279-62DB-4797-8A09-AAECFB1D7A11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0:24.555" v="3287" actId="408"/>
          <ac:spMkLst>
            <pc:docMk/>
            <pc:sldMk cId="3956612652" sldId="2134804435"/>
            <ac:spMk id="21" creationId="{4909E1B8-3B50-4AEE-B6FD-970EC2C3FA78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0:24.555" v="3287" actId="408"/>
          <ac:spMkLst>
            <pc:docMk/>
            <pc:sldMk cId="3956612652" sldId="2134804435"/>
            <ac:spMk id="23" creationId="{99EBD500-3DAE-4966-82E2-1A7046E22981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1:51.716" v="3296" actId="1076"/>
          <ac:spMkLst>
            <pc:docMk/>
            <pc:sldMk cId="3956612652" sldId="2134804435"/>
            <ac:spMk id="25" creationId="{EEBF55FB-5D62-4BE9-9514-82016B4ADD76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0:24.555" v="3287" actId="408"/>
          <ac:spMkLst>
            <pc:docMk/>
            <pc:sldMk cId="3956612652" sldId="2134804435"/>
            <ac:spMk id="27" creationId="{58059B60-3380-482E-92E9-4DC79C8641DC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1:54.141" v="3297" actId="1076"/>
          <ac:spMkLst>
            <pc:docMk/>
            <pc:sldMk cId="3956612652" sldId="2134804435"/>
            <ac:spMk id="29" creationId="{BEF628AD-0942-4C01-BC26-D586C9D91257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0:20.019" v="3286" actId="1076"/>
          <ac:spMkLst>
            <pc:docMk/>
            <pc:sldMk cId="3956612652" sldId="2134804435"/>
            <ac:spMk id="31" creationId="{140A407D-9E14-4183-9A28-56D03D38D4E6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7:40.836" v="3523" actId="478"/>
          <ac:spMkLst>
            <pc:docMk/>
            <pc:sldMk cId="3956612652" sldId="2134804435"/>
            <ac:spMk id="32" creationId="{CD12B71F-1DA3-4B04-8B74-A1A1DF91F4C3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34" creationId="{47DA60D5-3D84-4BAB-BD68-44FC3285BEAF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35" creationId="{2C17A24B-BD11-49EB-9224-F4FA8B4A712A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36" creationId="{E9F7A411-F89A-40AF-B882-D161C24B0F16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9:07.350" v="3576" actId="20577"/>
          <ac:spMkLst>
            <pc:docMk/>
            <pc:sldMk cId="3956612652" sldId="2134804435"/>
            <ac:spMk id="37" creationId="{A9E643A9-33C0-4C11-B57E-9BDCB4A74251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38" creationId="{708D3005-5E4B-42D6-B21C-45BA99039DF1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39" creationId="{D762C4B6-91A8-41DD-8C6F-395C608E790A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40" creationId="{A83032BF-3B85-4CFA-A16B-3DB3F0475B69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41" creationId="{4A342096-8E02-4924-BFF0-0D3F1169CD03}"/>
          </ac:spMkLst>
        </pc:spChg>
        <pc:spChg chg="mod">
          <ac:chgData name="Mariam Daniela Tristancho Pineda (PTA SAS)" userId="a45a17f7-7950-4cb5-bfab-f5c894f959a9" providerId="ADAL" clId="{7EBB4E1E-93A9-4035-834A-9A0B60182E9F}" dt="2020-10-07T23:25:26.361" v="3371" actId="20577"/>
          <ac:spMkLst>
            <pc:docMk/>
            <pc:sldMk cId="3956612652" sldId="2134804435"/>
            <ac:spMk id="44" creationId="{31B0BFE2-421C-46B3-83A7-AD5B8A72F6A9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43.780" v="3564" actId="313"/>
          <ac:spMkLst>
            <pc:docMk/>
            <pc:sldMk cId="3956612652" sldId="2134804435"/>
            <ac:spMk id="45" creationId="{683E2618-7B62-4887-92D0-DE6E9D28CE26}"/>
          </ac:spMkLst>
        </pc:spChg>
        <pc:spChg chg="mod">
          <ac:chgData name="Mariam Daniela Tristancho Pineda (PTA SAS)" userId="a45a17f7-7950-4cb5-bfab-f5c894f959a9" providerId="ADAL" clId="{7EBB4E1E-93A9-4035-834A-9A0B60182E9F}" dt="2020-10-07T23:27:03.148" v="3471" actId="1076"/>
          <ac:spMkLst>
            <pc:docMk/>
            <pc:sldMk cId="3956612652" sldId="2134804435"/>
            <ac:spMk id="46" creationId="{8C23E0A2-037D-4634-BC72-4BEA56E15133}"/>
          </ac:spMkLst>
        </pc:spChg>
        <pc:spChg chg="mod">
          <ac:chgData name="Mariam Daniela Tristancho Pineda (PTA SAS)" userId="a45a17f7-7950-4cb5-bfab-f5c894f959a9" providerId="ADAL" clId="{7EBB4E1E-93A9-4035-834A-9A0B60182E9F}" dt="2020-10-07T23:27:37.772" v="3522" actId="1076"/>
          <ac:spMkLst>
            <pc:docMk/>
            <pc:sldMk cId="3956612652" sldId="2134804435"/>
            <ac:spMk id="47" creationId="{6538A16C-BDC4-434F-9828-22749E2E25AE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5:31.556" v="3372" actId="478"/>
          <ac:spMkLst>
            <pc:docMk/>
            <pc:sldMk cId="3956612652" sldId="2134804435"/>
            <ac:spMk id="48" creationId="{BB03525E-0F76-4C76-A8DE-0DB43D0E091F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5:37.674" v="3374" actId="478"/>
          <ac:spMkLst>
            <pc:docMk/>
            <pc:sldMk cId="3956612652" sldId="2134804435"/>
            <ac:spMk id="49" creationId="{054B86D6-7C3A-4E9D-9024-A3DEBE75A5E7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7:04.869" v="3472" actId="478"/>
          <ac:spMkLst>
            <pc:docMk/>
            <pc:sldMk cId="3956612652" sldId="2134804435"/>
            <ac:spMk id="50" creationId="{888CE834-F22B-4DB4-B55F-D1B64746D5D1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03.608" v="3308" actId="478"/>
          <ac:spMkLst>
            <pc:docMk/>
            <pc:sldMk cId="3956612652" sldId="2134804435"/>
            <ac:spMk id="51" creationId="{DC157ABC-17F8-4297-AEDF-047D994ABC76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05.776" v="3310" actId="478"/>
          <ac:spMkLst>
            <pc:docMk/>
            <pc:sldMk cId="3956612652" sldId="2134804435"/>
            <ac:spMk id="52" creationId="{4D9BB7FE-4AFD-4D6B-995B-6E33E3DD5ADB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11.648" v="3311" actId="478"/>
          <ac:spMkLst>
            <pc:docMk/>
            <pc:sldMk cId="3956612652" sldId="2134804435"/>
            <ac:spMk id="53" creationId="{CD8A13B4-8A10-4781-801A-8A68BDA43580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11.648" v="3311" actId="478"/>
          <ac:spMkLst>
            <pc:docMk/>
            <pc:sldMk cId="3956612652" sldId="2134804435"/>
            <ac:spMk id="54" creationId="{D21EFE93-6C5F-4E7F-AE99-D19D0033BF2B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02.622" v="3307" actId="478"/>
          <ac:spMkLst>
            <pc:docMk/>
            <pc:sldMk cId="3956612652" sldId="2134804435"/>
            <ac:spMk id="55" creationId="{300252C7-CEED-4ABE-A132-BE18172791F1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04.957" v="3309" actId="478"/>
          <ac:spMkLst>
            <pc:docMk/>
            <pc:sldMk cId="3956612652" sldId="2134804435"/>
            <ac:spMk id="56" creationId="{9F73F02E-00CE-4AB6-B3D1-EF41C67303F7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11.648" v="3311" actId="478"/>
          <ac:spMkLst>
            <pc:docMk/>
            <pc:sldMk cId="3956612652" sldId="2134804435"/>
            <ac:spMk id="57" creationId="{36FCE74A-DBB5-4D4D-9280-ABEEBA952776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11.648" v="3311" actId="478"/>
          <ac:spMkLst>
            <pc:docMk/>
            <pc:sldMk cId="3956612652" sldId="2134804435"/>
            <ac:spMk id="58" creationId="{4CB46433-8761-400B-96FE-7BF17D2B6EA1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59" creationId="{B0240DC6-2737-4621-B3DB-4C10415C85EA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0" creationId="{1E98B0D9-7004-46B9-8451-8C057B00D302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1" creationId="{63E1E77E-E823-4B95-A066-445C36FFA4AC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2" creationId="{1AB96CFD-4E64-4D75-86F3-E119B0426024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3" creationId="{76A818F1-1E2F-4E3E-8E30-5D9FD45711F3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4" creationId="{56BEB846-3F93-46A4-A1B2-9E80AD2A8550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5" creationId="{10D32905-0921-4A12-ABDB-0CC6F77DA964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6" creationId="{2C3E7187-2A73-459C-B24B-D6535BAA435A}"/>
          </ac:spMkLst>
        </pc:spChg>
        <pc:spChg chg="mod">
          <ac:chgData name="Mariam Daniela Tristancho Pineda (PTA SAS)" userId="a45a17f7-7950-4cb5-bfab-f5c894f959a9" providerId="ADAL" clId="{7EBB4E1E-93A9-4035-834A-9A0B60182E9F}" dt="2020-10-07T23:25:21.917" v="3369" actId="14100"/>
          <ac:spMkLst>
            <pc:docMk/>
            <pc:sldMk cId="3956612652" sldId="2134804435"/>
            <ac:spMk id="67" creationId="{93E44472-F58E-45E5-AFC8-82472B7B096C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8" creationId="{F0D2DA07-073A-4D40-AF3A-2851D484762B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9" creationId="{B121D910-1345-43EA-B78E-95DC149D8530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70" creationId="{3561C933-9F14-4F0B-9166-8C0A7DCB1967}"/>
          </ac:spMkLst>
        </pc:spChg>
        <pc:grpChg chg="add mod">
          <ac:chgData name="Mariam Daniela Tristancho Pineda (PTA SAS)" userId="a45a17f7-7950-4cb5-bfab-f5c894f959a9" providerId="ADAL" clId="{7EBB4E1E-93A9-4035-834A-9A0B60182E9F}" dt="2020-10-07T23:28:34.628" v="3563" actId="1076"/>
          <ac:grpSpMkLst>
            <pc:docMk/>
            <pc:sldMk cId="3956612652" sldId="2134804435"/>
            <ac:grpSpMk id="33" creationId="{7070BB4B-4B91-4480-825D-68EB4275DC67}"/>
          </ac:grpSpMkLst>
        </pc:grpChg>
        <pc:grpChg chg="add mod">
          <ac:chgData name="Mariam Daniela Tristancho Pineda (PTA SAS)" userId="a45a17f7-7950-4cb5-bfab-f5c894f959a9" providerId="ADAL" clId="{7EBB4E1E-93A9-4035-834A-9A0B60182E9F}" dt="2020-10-07T23:27:47.764" v="3524" actId="1076"/>
          <ac:grpSpMkLst>
            <pc:docMk/>
            <pc:sldMk cId="3956612652" sldId="2134804435"/>
            <ac:grpSpMk id="42" creationId="{8E981FAA-77CE-4F2A-A5DC-5CDE95F3D2CC}"/>
          </ac:grpSpMkLst>
        </pc:grpChg>
        <pc:grpChg chg="mod">
          <ac:chgData name="Mariam Daniela Tristancho Pineda (PTA SAS)" userId="a45a17f7-7950-4cb5-bfab-f5c894f959a9" providerId="ADAL" clId="{7EBB4E1E-93A9-4035-834A-9A0B60182E9F}" dt="2020-10-07T23:23:58.373" v="3306" actId="14100"/>
          <ac:grpSpMkLst>
            <pc:docMk/>
            <pc:sldMk cId="3956612652" sldId="2134804435"/>
            <ac:grpSpMk id="43" creationId="{D2691887-98CE-4727-B080-28C283C42CDC}"/>
          </ac:grpSpMkLst>
        </pc:grpChg>
      </pc:sldChg>
      <pc:sldChg chg="addSp modSp add del">
        <pc:chgData name="Mariam Daniela Tristancho Pineda (PTA SAS)" userId="a45a17f7-7950-4cb5-bfab-f5c894f959a9" providerId="ADAL" clId="{7EBB4E1E-93A9-4035-834A-9A0B60182E9F}" dt="2020-10-14T13:45:15.613" v="3904"/>
        <pc:sldMkLst>
          <pc:docMk/>
          <pc:sldMk cId="2104857576" sldId="2134804436"/>
        </pc:sldMkLst>
        <pc:picChg chg="add mod">
          <ac:chgData name="Mariam Daniela Tristancho Pineda (PTA SAS)" userId="a45a17f7-7950-4cb5-bfab-f5c894f959a9" providerId="ADAL" clId="{7EBB4E1E-93A9-4035-834A-9A0B60182E9F}" dt="2020-10-14T13:45:15.613" v="3904"/>
          <ac:picMkLst>
            <pc:docMk/>
            <pc:sldMk cId="2104857576" sldId="2134804436"/>
            <ac:picMk id="5" creationId="{933561B2-ABFE-48FC-8FCA-595FA8EBDF99}"/>
          </ac:picMkLst>
        </pc:picChg>
      </pc:sldChg>
      <pc:sldChg chg="modSp add del mod ord">
        <pc:chgData name="Mariam Daniela Tristancho Pineda (PTA SAS)" userId="a45a17f7-7950-4cb5-bfab-f5c894f959a9" providerId="ADAL" clId="{7EBB4E1E-93A9-4035-834A-9A0B60182E9F}" dt="2020-10-06T19:31:11.432" v="1581" actId="47"/>
        <pc:sldMkLst>
          <pc:docMk/>
          <pc:sldMk cId="2977307937" sldId="2134804436"/>
        </pc:sldMkLst>
        <pc:spChg chg="mod">
          <ac:chgData name="Mariam Daniela Tristancho Pineda (PTA SAS)" userId="a45a17f7-7950-4cb5-bfab-f5c894f959a9" providerId="ADAL" clId="{7EBB4E1E-93A9-4035-834A-9A0B60182E9F}" dt="2020-10-06T16:47:14.655" v="1122" actId="1076"/>
          <ac:spMkLst>
            <pc:docMk/>
            <pc:sldMk cId="2977307937" sldId="2134804436"/>
            <ac:spMk id="2" creationId="{957EAA4A-611C-4244-89F5-F39EF823DE08}"/>
          </ac:spMkLst>
        </pc:spChg>
      </pc:sldChg>
      <pc:sldChg chg="modSp new del mod">
        <pc:chgData name="Mariam Daniela Tristancho Pineda (PTA SAS)" userId="a45a17f7-7950-4cb5-bfab-f5c894f959a9" providerId="ADAL" clId="{7EBB4E1E-93A9-4035-834A-9A0B60182E9F}" dt="2020-10-06T19:35:05.815" v="1648" actId="47"/>
        <pc:sldMkLst>
          <pc:docMk/>
          <pc:sldMk cId="2527604684" sldId="2134804437"/>
        </pc:sldMkLst>
        <pc:spChg chg="mod">
          <ac:chgData name="Mariam Daniela Tristancho Pineda (PTA SAS)" userId="a45a17f7-7950-4cb5-bfab-f5c894f959a9" providerId="ADAL" clId="{7EBB4E1E-93A9-4035-834A-9A0B60182E9F}" dt="2020-10-06T17:08:32.494" v="1532" actId="14100"/>
          <ac:spMkLst>
            <pc:docMk/>
            <pc:sldMk cId="2527604684" sldId="2134804437"/>
            <ac:spMk id="2" creationId="{8B25782C-FE64-424B-A564-D4A8ADCE0568}"/>
          </ac:spMkLst>
        </pc:spChg>
      </pc:sldChg>
      <pc:sldChg chg="addSp modSp add mod modAnim">
        <pc:chgData name="Mariam Daniela Tristancho Pineda (PTA SAS)" userId="a45a17f7-7950-4cb5-bfab-f5c894f959a9" providerId="ADAL" clId="{7EBB4E1E-93A9-4035-834A-9A0B60182E9F}" dt="2020-10-13T19:33:25.815" v="3695"/>
        <pc:sldMkLst>
          <pc:docMk/>
          <pc:sldMk cId="459037398" sldId="2134804438"/>
        </pc:sldMkLst>
        <pc:spChg chg="mod">
          <ac:chgData name="Mariam Daniela Tristancho Pineda (PTA SAS)" userId="a45a17f7-7950-4cb5-bfab-f5c894f959a9" providerId="ADAL" clId="{7EBB4E1E-93A9-4035-834A-9A0B60182E9F}" dt="2020-10-06T17:10:28.294" v="1560" actId="1076"/>
          <ac:spMkLst>
            <pc:docMk/>
            <pc:sldMk cId="459037398" sldId="2134804438"/>
            <ac:spMk id="2" creationId="{957EAA4A-611C-4244-89F5-F39EF823DE08}"/>
          </ac:spMkLst>
        </pc:spChg>
        <pc:picChg chg="add mod">
          <ac:chgData name="Mariam Daniela Tristancho Pineda (PTA SAS)" userId="a45a17f7-7950-4cb5-bfab-f5c894f959a9" providerId="ADAL" clId="{7EBB4E1E-93A9-4035-834A-9A0B60182E9F}" dt="2020-10-13T19:33:25.815" v="3695"/>
          <ac:picMkLst>
            <pc:docMk/>
            <pc:sldMk cId="459037398" sldId="2134804438"/>
            <ac:picMk id="3" creationId="{DB083840-BD0B-4E5D-B9C8-3535B3AAB685}"/>
          </ac:picMkLst>
        </pc:picChg>
      </pc:sldChg>
      <pc:sldChg chg="new del">
        <pc:chgData name="Mariam Daniela Tristancho Pineda (PTA SAS)" userId="a45a17f7-7950-4cb5-bfab-f5c894f959a9" providerId="ADAL" clId="{7EBB4E1E-93A9-4035-834A-9A0B60182E9F}" dt="2020-10-06T19:29:27.558" v="1576" actId="47"/>
        <pc:sldMkLst>
          <pc:docMk/>
          <pc:sldMk cId="1475340378" sldId="2134804439"/>
        </pc:sldMkLst>
      </pc:sldChg>
      <pc:sldChg chg="addSp delSp modSp new mod ord">
        <pc:chgData name="Mariam Daniela Tristancho Pineda (PTA SAS)" userId="a45a17f7-7950-4cb5-bfab-f5c894f959a9" providerId="ADAL" clId="{7EBB4E1E-93A9-4035-834A-9A0B60182E9F}" dt="2020-10-06T19:47:32.463" v="2343" actId="1038"/>
        <pc:sldMkLst>
          <pc:docMk/>
          <pc:sldMk cId="3539712875" sldId="2134804439"/>
        </pc:sldMkLst>
        <pc:spChg chg="add mod">
          <ac:chgData name="Mariam Daniela Tristancho Pineda (PTA SAS)" userId="a45a17f7-7950-4cb5-bfab-f5c894f959a9" providerId="ADAL" clId="{7EBB4E1E-93A9-4035-834A-9A0B60182E9F}" dt="2020-10-06T19:40:15.601" v="2235" actId="1076"/>
          <ac:spMkLst>
            <pc:docMk/>
            <pc:sldMk cId="3539712875" sldId="2134804439"/>
            <ac:spMk id="4" creationId="{CAAFEDC1-4B58-4913-A2A5-D711039A33B5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9:37:17.133" v="2086" actId="478"/>
          <ac:spMkLst>
            <pc:docMk/>
            <pc:sldMk cId="3539712875" sldId="2134804439"/>
            <ac:spMk id="5" creationId="{64BEA858-75F7-41E3-9A39-7BF2F8C221DD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9:47:27.854" v="2334" actId="1037"/>
          <ac:spMkLst>
            <pc:docMk/>
            <pc:sldMk cId="3539712875" sldId="2134804439"/>
            <ac:spMk id="6" creationId="{58799CC0-6873-4D0B-983C-048852038A37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9:47:27.854" v="2334" actId="1037"/>
          <ac:spMkLst>
            <pc:docMk/>
            <pc:sldMk cId="3539712875" sldId="2134804439"/>
            <ac:spMk id="8" creationId="{6265FC2E-2616-458D-8F45-C7281CBBB60B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9:47:27.854" v="2334" actId="1037"/>
          <ac:spMkLst>
            <pc:docMk/>
            <pc:sldMk cId="3539712875" sldId="2134804439"/>
            <ac:spMk id="10" creationId="{9E8D26C4-10B6-4A63-81EA-2EC8E1697D7A}"/>
          </ac:spMkLst>
        </pc:spChg>
        <pc:picChg chg="add mod">
          <ac:chgData name="Mariam Daniela Tristancho Pineda (PTA SAS)" userId="a45a17f7-7950-4cb5-bfab-f5c894f959a9" providerId="ADAL" clId="{7EBB4E1E-93A9-4035-834A-9A0B60182E9F}" dt="2020-10-06T19:47:32.463" v="2343" actId="1038"/>
          <ac:picMkLst>
            <pc:docMk/>
            <pc:sldMk cId="3539712875" sldId="2134804439"/>
            <ac:picMk id="12" creationId="{CF63326B-3540-4D2D-BAC8-E76D4EDF8B62}"/>
          </ac:picMkLst>
        </pc:picChg>
        <pc:picChg chg="add mod">
          <ac:chgData name="Mariam Daniela Tristancho Pineda (PTA SAS)" userId="a45a17f7-7950-4cb5-bfab-f5c894f959a9" providerId="ADAL" clId="{7EBB4E1E-93A9-4035-834A-9A0B60182E9F}" dt="2020-10-06T19:47:32.463" v="2343" actId="1038"/>
          <ac:picMkLst>
            <pc:docMk/>
            <pc:sldMk cId="3539712875" sldId="2134804439"/>
            <ac:picMk id="14" creationId="{4B2B16C1-B03A-447A-B036-46010E4CBFC2}"/>
          </ac:picMkLst>
        </pc:picChg>
        <pc:picChg chg="add mod">
          <ac:chgData name="Mariam Daniela Tristancho Pineda (PTA SAS)" userId="a45a17f7-7950-4cb5-bfab-f5c894f959a9" providerId="ADAL" clId="{7EBB4E1E-93A9-4035-834A-9A0B60182E9F}" dt="2020-10-06T19:47:32.463" v="2343" actId="1038"/>
          <ac:picMkLst>
            <pc:docMk/>
            <pc:sldMk cId="3539712875" sldId="2134804439"/>
            <ac:picMk id="16" creationId="{5A9EC01C-8F83-427F-91E3-7B8D3399493E}"/>
          </ac:picMkLst>
        </pc:picChg>
      </pc:sldChg>
      <pc:sldChg chg="add del setBg">
        <pc:chgData name="Mariam Daniela Tristancho Pineda (PTA SAS)" userId="a45a17f7-7950-4cb5-bfab-f5c894f959a9" providerId="ADAL" clId="{7EBB4E1E-93A9-4035-834A-9A0B60182E9F}" dt="2020-10-08T15:26:14.434" v="3579" actId="47"/>
        <pc:sldMkLst>
          <pc:docMk/>
          <pc:sldMk cId="2389243278" sldId="2134804440"/>
        </pc:sldMkLst>
      </pc:sldChg>
      <pc:sldChg chg="add">
        <pc:chgData name="Mariam Daniela Tristancho Pineda (PTA SAS)" userId="a45a17f7-7950-4cb5-bfab-f5c894f959a9" providerId="ADAL" clId="{7EBB4E1E-93A9-4035-834A-9A0B60182E9F}" dt="2020-10-13T21:39:46.904" v="3697"/>
        <pc:sldMkLst>
          <pc:docMk/>
          <pc:sldMk cId="1999149945" sldId="2134804441"/>
        </pc:sldMkLst>
      </pc:sldChg>
      <pc:sldChg chg="addSp modSp add">
        <pc:chgData name="Mariam Daniela Tristancho Pineda (PTA SAS)" userId="a45a17f7-7950-4cb5-bfab-f5c894f959a9" providerId="ADAL" clId="{7EBB4E1E-93A9-4035-834A-9A0B60182E9F}" dt="2020-10-13T21:50:11.220" v="3737" actId="767"/>
        <pc:sldMkLst>
          <pc:docMk/>
          <pc:sldMk cId="2555619992" sldId="2134804442"/>
        </pc:sldMkLst>
        <pc:spChg chg="add mod">
          <ac:chgData name="Mariam Daniela Tristancho Pineda (PTA SAS)" userId="a45a17f7-7950-4cb5-bfab-f5c894f959a9" providerId="ADAL" clId="{7EBB4E1E-93A9-4035-834A-9A0B60182E9F}" dt="2020-10-13T21:50:11.220" v="3737" actId="767"/>
          <ac:spMkLst>
            <pc:docMk/>
            <pc:sldMk cId="2555619992" sldId="2134804442"/>
            <ac:spMk id="2" creationId="{4F9D5C0E-30CE-4DF6-B995-5DD06F35DA3A}"/>
          </ac:spMkLst>
        </pc:spChg>
      </pc:sldChg>
      <pc:sldChg chg="addSp modSp">
        <pc:chgData name="Mariam Daniela Tristancho Pineda (PTA SAS)" userId="a45a17f7-7950-4cb5-bfab-f5c894f959a9" providerId="ADAL" clId="{7EBB4E1E-93A9-4035-834A-9A0B60182E9F}" dt="2020-10-13T21:47:22.976" v="3736" actId="767"/>
        <pc:sldMkLst>
          <pc:docMk/>
          <pc:sldMk cId="1812532839" sldId="2134804443"/>
        </pc:sldMkLst>
        <pc:spChg chg="add mod">
          <ac:chgData name="Mariam Daniela Tristancho Pineda (PTA SAS)" userId="a45a17f7-7950-4cb5-bfab-f5c894f959a9" providerId="ADAL" clId="{7EBB4E1E-93A9-4035-834A-9A0B60182E9F}" dt="2020-10-13T21:45:37.893" v="3735" actId="767"/>
          <ac:spMkLst>
            <pc:docMk/>
            <pc:sldMk cId="1812532839" sldId="2134804443"/>
            <ac:spMk id="2" creationId="{180D508D-FB9B-40C9-B5EE-E4994A6E477C}"/>
          </ac:spMkLst>
        </pc:spChg>
        <pc:spChg chg="add mod">
          <ac:chgData name="Mariam Daniela Tristancho Pineda (PTA SAS)" userId="a45a17f7-7950-4cb5-bfab-f5c894f959a9" providerId="ADAL" clId="{7EBB4E1E-93A9-4035-834A-9A0B60182E9F}" dt="2020-10-13T21:47:22.976" v="3736" actId="767"/>
          <ac:spMkLst>
            <pc:docMk/>
            <pc:sldMk cId="1812532839" sldId="2134804443"/>
            <ac:spMk id="13" creationId="{B75A84F1-E644-4A70-8E59-FD5D117EBF63}"/>
          </ac:spMkLst>
        </pc:spChg>
      </pc:sldChg>
      <pc:sldChg chg="delSp modSp add">
        <pc:chgData name="Mariam Daniela Tristancho Pineda (PTA SAS)" userId="a45a17f7-7950-4cb5-bfab-f5c894f959a9" providerId="ADAL" clId="{7EBB4E1E-93A9-4035-834A-9A0B60182E9F}" dt="2020-10-13T22:03:32.994" v="3785" actId="478"/>
        <pc:sldMkLst>
          <pc:docMk/>
          <pc:sldMk cId="3167452426" sldId="2134804444"/>
        </pc:sldMkLst>
        <pc:spChg chg="mod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2" creationId="{7D76A58A-375F-4061-9D4C-651C14864658}"/>
          </ac:spMkLst>
        </pc:spChg>
        <pc:spChg chg="del">
          <ac:chgData name="Mariam Daniela Tristancho Pineda (PTA SAS)" userId="a45a17f7-7950-4cb5-bfab-f5c894f959a9" providerId="ADAL" clId="{7EBB4E1E-93A9-4035-834A-9A0B60182E9F}" dt="2020-10-13T22:01:53.565" v="3773" actId="478"/>
          <ac:spMkLst>
            <pc:docMk/>
            <pc:sldMk cId="3167452426" sldId="2134804444"/>
            <ac:spMk id="76" creationId="{EEF9D3BD-0FCD-4E3B-A30D-451C7AAF663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77" creationId="{44DAAF07-704B-4AD2-9029-4FE6270429E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80" creationId="{E4642C6D-F1C3-451F-AEC6-3440A3FD291D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108" creationId="{0DFAE232-C03A-4447-AF4F-2FEEE826CF8A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02.118" v="3776" actId="165"/>
          <ac:spMkLst>
            <pc:docMk/>
            <pc:sldMk cId="3167452426" sldId="2134804444"/>
            <ac:spMk id="111" creationId="{238FD54F-35A5-4122-9015-D197608097DD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02.118" v="3776" actId="165"/>
          <ac:spMkLst>
            <pc:docMk/>
            <pc:sldMk cId="3167452426" sldId="2134804444"/>
            <ac:spMk id="112" creationId="{0DC8B8DA-3D9B-4936-81F1-CE85FFE781C2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115" creationId="{DB35C4D3-61DC-4194-A530-0CD186587533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144" creationId="{9A40AC9D-F2DE-429E-B1E7-87793BEF9411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1:59.976" v="3775" actId="165"/>
          <ac:spMkLst>
            <pc:docMk/>
            <pc:sldMk cId="3167452426" sldId="2134804444"/>
            <ac:spMk id="145" creationId="{CFD7A2B8-7760-4F47-9755-80C90649B2FD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1:59.976" v="3775" actId="165"/>
          <ac:spMkLst>
            <pc:docMk/>
            <pc:sldMk cId="3167452426" sldId="2134804444"/>
            <ac:spMk id="146" creationId="{288966CF-A2CB-4920-8B6E-870D67CE8DB4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147" creationId="{7B9ED864-7CF7-4FC1-AAEB-6C50E8128BD6}"/>
          </ac:spMkLst>
        </pc:spChg>
        <pc:grpChg chg="del">
          <ac:chgData name="Mariam Daniela Tristancho Pineda (PTA SAS)" userId="a45a17f7-7950-4cb5-bfab-f5c894f959a9" providerId="ADAL" clId="{7EBB4E1E-93A9-4035-834A-9A0B60182E9F}" dt="2020-10-13T22:02:02.118" v="3776" actId="165"/>
          <ac:grpSpMkLst>
            <pc:docMk/>
            <pc:sldMk cId="3167452426" sldId="2134804444"/>
            <ac:grpSpMk id="87" creationId="{2048A83A-AA05-4B15-BF12-590132B0B976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3.565" v="3773" actId="478"/>
          <ac:grpSpMkLst>
            <pc:docMk/>
            <pc:sldMk cId="3167452426" sldId="2134804444"/>
            <ac:grpSpMk id="117" creationId="{6B2613F8-F744-454D-91E2-AEE6A9F29C43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3.565" v="3773" actId="478"/>
          <ac:grpSpMkLst>
            <pc:docMk/>
            <pc:sldMk cId="3167452426" sldId="2134804444"/>
            <ac:grpSpMk id="127" creationId="{60702B56-DECD-447B-A9E3-E75220CE6451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3.565" v="3773" actId="478"/>
          <ac:grpSpMkLst>
            <pc:docMk/>
            <pc:sldMk cId="3167452426" sldId="2134804444"/>
            <ac:grpSpMk id="133" creationId="{230FEFAE-02E8-496A-B8AD-506B3F9F1126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9.976" v="3775" actId="165"/>
          <ac:grpSpMkLst>
            <pc:docMk/>
            <pc:sldMk cId="3167452426" sldId="2134804444"/>
            <ac:grpSpMk id="143" creationId="{C2B0831D-672E-4270-8739-782D42787680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5.584" v="3774" actId="478"/>
          <ac:grpSpMkLst>
            <pc:docMk/>
            <pc:sldMk cId="3167452426" sldId="2134804444"/>
            <ac:grpSpMk id="153" creationId="{C74AA7BD-0482-4430-AE80-88955BE81BD6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3.565" v="3773" actId="478"/>
          <ac:grpSpMkLst>
            <pc:docMk/>
            <pc:sldMk cId="3167452426" sldId="2134804444"/>
            <ac:grpSpMk id="163" creationId="{4C04BC2E-3186-4C80-B37F-E5B305AAC1ED}"/>
          </ac:grpSpMkLst>
        </pc:grpChg>
        <pc:picChg chg="del mod topLvl">
          <ac:chgData name="Mariam Daniela Tristancho Pineda (PTA SAS)" userId="a45a17f7-7950-4cb5-bfab-f5c894f959a9" providerId="ADAL" clId="{7EBB4E1E-93A9-4035-834A-9A0B60182E9F}" dt="2020-10-13T22:03:32.994" v="3785" actId="478"/>
          <ac:picMkLst>
            <pc:docMk/>
            <pc:sldMk cId="3167452426" sldId="2134804444"/>
            <ac:picMk id="116" creationId="{5BC46F26-8961-4F34-9760-89437609076D}"/>
          </ac:picMkLst>
        </pc:picChg>
        <pc:picChg chg="del mod topLvl">
          <ac:chgData name="Mariam Daniela Tristancho Pineda (PTA SAS)" userId="a45a17f7-7950-4cb5-bfab-f5c894f959a9" providerId="ADAL" clId="{7EBB4E1E-93A9-4035-834A-9A0B60182E9F}" dt="2020-10-13T22:03:32.420" v="3784" actId="478"/>
          <ac:picMkLst>
            <pc:docMk/>
            <pc:sldMk cId="3167452426" sldId="2134804444"/>
            <ac:picMk id="148" creationId="{4B1C7764-E939-4F67-A9D8-34E249741996}"/>
          </ac:picMkLst>
        </pc:picChg>
        <pc:cxnChg chg="mod topLvl">
          <ac:chgData name="Mariam Daniela Tristancho Pineda (PTA SAS)" userId="a45a17f7-7950-4cb5-bfab-f5c894f959a9" providerId="ADAL" clId="{7EBB4E1E-93A9-4035-834A-9A0B60182E9F}" dt="2020-10-13T22:02:40.306" v="3783" actId="1076"/>
          <ac:cxnSpMkLst>
            <pc:docMk/>
            <pc:sldMk cId="3167452426" sldId="2134804444"/>
            <ac:cxnSpMk id="109" creationId="{7434769E-8F5B-4CDA-AFEA-2FA908180F28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2:02.118" v="3776" actId="165"/>
          <ac:cxnSpMkLst>
            <pc:docMk/>
            <pc:sldMk cId="3167452426" sldId="2134804444"/>
            <ac:cxnSpMk id="110" creationId="{C0926ED7-6C71-4132-9062-E0B720E03046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2:40.306" v="3783" actId="1076"/>
          <ac:cxnSpMkLst>
            <pc:docMk/>
            <pc:sldMk cId="3167452426" sldId="2134804444"/>
            <ac:cxnSpMk id="113" creationId="{59088CD4-BBE7-483B-9FF9-1D62F9236779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2:02.118" v="3776" actId="165"/>
          <ac:cxnSpMkLst>
            <pc:docMk/>
            <pc:sldMk cId="3167452426" sldId="2134804444"/>
            <ac:cxnSpMk id="114" creationId="{945F525E-96D6-4C2C-A528-6A902709A377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2:40.306" v="3783" actId="1076"/>
          <ac:cxnSpMkLst>
            <pc:docMk/>
            <pc:sldMk cId="3167452426" sldId="2134804444"/>
            <ac:cxnSpMk id="149" creationId="{3DD257FE-0DBC-4BDE-8E41-F0693773C024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1:59.976" v="3775" actId="165"/>
          <ac:cxnSpMkLst>
            <pc:docMk/>
            <pc:sldMk cId="3167452426" sldId="2134804444"/>
            <ac:cxnSpMk id="150" creationId="{6A192D05-FA68-4C91-B411-42299285EFCC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1:59.976" v="3775" actId="165"/>
          <ac:cxnSpMkLst>
            <pc:docMk/>
            <pc:sldMk cId="3167452426" sldId="2134804444"/>
            <ac:cxnSpMk id="151" creationId="{70130B1F-D0F6-464E-B312-55BB85042484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2:40.306" v="3783" actId="1076"/>
          <ac:cxnSpMkLst>
            <pc:docMk/>
            <pc:sldMk cId="3167452426" sldId="2134804444"/>
            <ac:cxnSpMk id="152" creationId="{C3DB8877-7BF3-4FAC-A3D2-5BA95D944800}"/>
          </ac:cxnSpMkLst>
        </pc:cxnChg>
      </pc:sldChg>
      <pc:sldChg chg="add">
        <pc:chgData name="Mariam Daniela Tristancho Pineda (PTA SAS)" userId="a45a17f7-7950-4cb5-bfab-f5c894f959a9" providerId="ADAL" clId="{7EBB4E1E-93A9-4035-834A-9A0B60182E9F}" dt="2020-10-13T22:05:35.757" v="3787"/>
        <pc:sldMkLst>
          <pc:docMk/>
          <pc:sldMk cId="183190707" sldId="2134804445"/>
        </pc:sldMkLst>
      </pc:sldChg>
      <pc:sldChg chg="add">
        <pc:chgData name="Mariam Daniela Tristancho Pineda (PTA SAS)" userId="a45a17f7-7950-4cb5-bfab-f5c894f959a9" providerId="ADAL" clId="{7EBB4E1E-93A9-4035-834A-9A0B60182E9F}" dt="2020-10-13T22:05:46.644" v="3788"/>
        <pc:sldMkLst>
          <pc:docMk/>
          <pc:sldMk cId="1942209629" sldId="2134804446"/>
        </pc:sldMkLst>
      </pc:sldChg>
      <pc:sldChg chg="add">
        <pc:chgData name="Mariam Daniela Tristancho Pineda (PTA SAS)" userId="a45a17f7-7950-4cb5-bfab-f5c894f959a9" providerId="ADAL" clId="{7EBB4E1E-93A9-4035-834A-9A0B60182E9F}" dt="2020-10-13T22:06:00.677" v="3789"/>
        <pc:sldMkLst>
          <pc:docMk/>
          <pc:sldMk cId="2029542479" sldId="2134804447"/>
        </pc:sldMkLst>
      </pc:sldChg>
      <pc:sldChg chg="add">
        <pc:chgData name="Mariam Daniela Tristancho Pineda (PTA SAS)" userId="a45a17f7-7950-4cb5-bfab-f5c894f959a9" providerId="ADAL" clId="{7EBB4E1E-93A9-4035-834A-9A0B60182E9F}" dt="2020-10-13T22:06:20.082" v="3790"/>
        <pc:sldMkLst>
          <pc:docMk/>
          <pc:sldMk cId="2741889524" sldId="2134804448"/>
        </pc:sldMkLst>
      </pc:sldChg>
      <pc:sldChg chg="add">
        <pc:chgData name="Mariam Daniela Tristancho Pineda (PTA SAS)" userId="a45a17f7-7950-4cb5-bfab-f5c894f959a9" providerId="ADAL" clId="{7EBB4E1E-93A9-4035-834A-9A0B60182E9F}" dt="2020-10-13T22:06:25.363" v="3791"/>
        <pc:sldMkLst>
          <pc:docMk/>
          <pc:sldMk cId="2831142137" sldId="2134804449"/>
        </pc:sldMkLst>
      </pc:sldChg>
      <pc:sldChg chg="add ord">
        <pc:chgData name="Mariam Daniela Tristancho Pineda (PTA SAS)" userId="a45a17f7-7950-4cb5-bfab-f5c894f959a9" providerId="ADAL" clId="{7EBB4E1E-93A9-4035-834A-9A0B60182E9F}" dt="2020-10-13T22:11:23.028" v="3820"/>
        <pc:sldMkLst>
          <pc:docMk/>
          <pc:sldMk cId="772567127" sldId="2134804450"/>
        </pc:sldMkLst>
      </pc:sldChg>
      <pc:sldChg chg="add">
        <pc:chgData name="Mariam Daniela Tristancho Pineda (PTA SAS)" userId="a45a17f7-7950-4cb5-bfab-f5c894f959a9" providerId="ADAL" clId="{7EBB4E1E-93A9-4035-834A-9A0B60182E9F}" dt="2020-10-13T22:11:38.736" v="3821"/>
        <pc:sldMkLst>
          <pc:docMk/>
          <pc:sldMk cId="3055864131" sldId="2134804451"/>
        </pc:sldMkLst>
      </pc:sldChg>
      <pc:sldChg chg="add">
        <pc:chgData name="Mariam Daniela Tristancho Pineda (PTA SAS)" userId="a45a17f7-7950-4cb5-bfab-f5c894f959a9" providerId="ADAL" clId="{7EBB4E1E-93A9-4035-834A-9A0B60182E9F}" dt="2020-10-13T22:11:48.508" v="3822"/>
        <pc:sldMkLst>
          <pc:docMk/>
          <pc:sldMk cId="1113101480" sldId="2134804452"/>
        </pc:sldMkLst>
      </pc:sldChg>
      <pc:sldChg chg="add">
        <pc:chgData name="Mariam Daniela Tristancho Pineda (PTA SAS)" userId="a45a17f7-7950-4cb5-bfab-f5c894f959a9" providerId="ADAL" clId="{7EBB4E1E-93A9-4035-834A-9A0B60182E9F}" dt="2020-10-13T22:13:15.545" v="3823"/>
        <pc:sldMkLst>
          <pc:docMk/>
          <pc:sldMk cId="97179531" sldId="2134804453"/>
        </pc:sldMkLst>
      </pc:sldChg>
      <pc:sldChg chg="add">
        <pc:chgData name="Mariam Daniela Tristancho Pineda (PTA SAS)" userId="a45a17f7-7950-4cb5-bfab-f5c894f959a9" providerId="ADAL" clId="{7EBB4E1E-93A9-4035-834A-9A0B60182E9F}" dt="2020-10-13T22:14:56.390" v="3824"/>
        <pc:sldMkLst>
          <pc:docMk/>
          <pc:sldMk cId="3817545952" sldId="2134804454"/>
        </pc:sldMkLst>
      </pc:sldChg>
      <pc:sldChg chg="addSp modSp add">
        <pc:chgData name="Mariam Daniela Tristancho Pineda (PTA SAS)" userId="a45a17f7-7950-4cb5-bfab-f5c894f959a9" providerId="ADAL" clId="{7EBB4E1E-93A9-4035-834A-9A0B60182E9F}" dt="2020-10-13T22:28:34.987" v="3827" actId="767"/>
        <pc:sldMkLst>
          <pc:docMk/>
          <pc:sldMk cId="1361857845" sldId="2134804455"/>
        </pc:sldMkLst>
        <pc:spChg chg="add mod">
          <ac:chgData name="Mariam Daniela Tristancho Pineda (PTA SAS)" userId="a45a17f7-7950-4cb5-bfab-f5c894f959a9" providerId="ADAL" clId="{7EBB4E1E-93A9-4035-834A-9A0B60182E9F}" dt="2020-10-13T22:28:34.987" v="3827" actId="767"/>
          <ac:spMkLst>
            <pc:docMk/>
            <pc:sldMk cId="1361857845" sldId="2134804455"/>
            <ac:spMk id="7" creationId="{89760CA3-2E42-4071-BC86-49680B258EFE}"/>
          </ac:spMkLst>
        </pc:spChg>
      </pc:sldChg>
      <pc:sldChg chg="addSp modSp add">
        <pc:chgData name="Mariam Daniela Tristancho Pineda (PTA SAS)" userId="a45a17f7-7950-4cb5-bfab-f5c894f959a9" providerId="ADAL" clId="{7EBB4E1E-93A9-4035-834A-9A0B60182E9F}" dt="2020-10-13T22:47:23.509" v="3835" actId="1076"/>
        <pc:sldMkLst>
          <pc:docMk/>
          <pc:sldMk cId="2714661680" sldId="2134804456"/>
        </pc:sldMkLst>
        <pc:spChg chg="add mod">
          <ac:chgData name="Mariam Daniela Tristancho Pineda (PTA SAS)" userId="a45a17f7-7950-4cb5-bfab-f5c894f959a9" providerId="ADAL" clId="{7EBB4E1E-93A9-4035-834A-9A0B60182E9F}" dt="2020-10-13T22:46:36.989" v="3834" actId="767"/>
          <ac:spMkLst>
            <pc:docMk/>
            <pc:sldMk cId="2714661680" sldId="2134804456"/>
            <ac:spMk id="2" creationId="{9D92175A-4036-47F0-A5FB-370657556A5D}"/>
          </ac:spMkLst>
        </pc:spChg>
        <pc:picChg chg="add mod">
          <ac:chgData name="Mariam Daniela Tristancho Pineda (PTA SAS)" userId="a45a17f7-7950-4cb5-bfab-f5c894f959a9" providerId="ADAL" clId="{7EBB4E1E-93A9-4035-834A-9A0B60182E9F}" dt="2020-10-13T22:47:23.509" v="3835" actId="1076"/>
          <ac:picMkLst>
            <pc:docMk/>
            <pc:sldMk cId="2714661680" sldId="2134804456"/>
            <ac:picMk id="5122" creationId="{70BC13DE-3B5A-45D5-BFB1-E94C1FED41D2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3T22:32:49.799" v="3829"/>
        <pc:sldMkLst>
          <pc:docMk/>
          <pc:sldMk cId="745438417" sldId="2134804458"/>
        </pc:sldMkLst>
      </pc:sldChg>
      <pc:sldChg chg="addSp modSp modAnim">
        <pc:chgData name="Mariam Daniela Tristancho Pineda (PTA SAS)" userId="a45a17f7-7950-4cb5-bfab-f5c894f959a9" providerId="ADAL" clId="{7EBB4E1E-93A9-4035-834A-9A0B60182E9F}" dt="2020-10-13T23:29:58.749" v="3836"/>
        <pc:sldMkLst>
          <pc:docMk/>
          <pc:sldMk cId="1778061897" sldId="2134804459"/>
        </pc:sldMkLst>
        <pc:picChg chg="add mod">
          <ac:chgData name="Mariam Daniela Tristancho Pineda (PTA SAS)" userId="a45a17f7-7950-4cb5-bfab-f5c894f959a9" providerId="ADAL" clId="{7EBB4E1E-93A9-4035-834A-9A0B60182E9F}" dt="2020-10-13T23:29:58.749" v="3836"/>
          <ac:picMkLst>
            <pc:docMk/>
            <pc:sldMk cId="1778061897" sldId="2134804459"/>
            <ac:picMk id="3" creationId="{CAB75D41-218D-4CDE-AAB8-0016BABBCAC4}"/>
          </ac:picMkLst>
        </pc:picChg>
      </pc:sldChg>
      <pc:sldChg chg="add ord">
        <pc:chgData name="Mariam Daniela Tristancho Pineda (PTA SAS)" userId="a45a17f7-7950-4cb5-bfab-f5c894f959a9" providerId="ADAL" clId="{7EBB4E1E-93A9-4035-834A-9A0B60182E9F}" dt="2020-10-14T13:28:27.050" v="3900"/>
        <pc:sldMkLst>
          <pc:docMk/>
          <pc:sldMk cId="4094647489" sldId="2134804460"/>
        </pc:sldMkLst>
      </pc:sldChg>
      <pc:sldChg chg="add del">
        <pc:chgData name="Mariam Daniela Tristancho Pineda (PTA SAS)" userId="a45a17f7-7950-4cb5-bfab-f5c894f959a9" providerId="ADAL" clId="{7EBB4E1E-93A9-4035-834A-9A0B60182E9F}" dt="2020-10-14T13:41:14.270" v="3902"/>
        <pc:sldMkLst>
          <pc:docMk/>
          <pc:sldMk cId="2749859457" sldId="2134804461"/>
        </pc:sldMkLst>
      </pc:sldChg>
      <pc:sldChg chg="add">
        <pc:chgData name="Mariam Daniela Tristancho Pineda (PTA SAS)" userId="a45a17f7-7950-4cb5-bfab-f5c894f959a9" providerId="ADAL" clId="{7EBB4E1E-93A9-4035-834A-9A0B60182E9F}" dt="2020-10-14T13:41:16.970" v="3903"/>
        <pc:sldMkLst>
          <pc:docMk/>
          <pc:sldMk cId="2771806295" sldId="2134804461"/>
        </pc:sldMkLst>
      </pc:sldChg>
      <pc:sldMasterChg chg="delSldLayout">
        <pc:chgData name="Mariam Daniela Tristancho Pineda (PTA SAS)" userId="a45a17f7-7950-4cb5-bfab-f5c894f959a9" providerId="ADAL" clId="{7EBB4E1E-93A9-4035-834A-9A0B60182E9F}" dt="2020-10-08T15:27:35.064" v="3582" actId="47"/>
        <pc:sldMasterMkLst>
          <pc:docMk/>
          <pc:sldMasterMk cId="2612954595" sldId="2147483660"/>
        </pc:sldMasterMkLst>
        <pc:sldLayoutChg chg="del">
          <pc:chgData name="Mariam Daniela Tristancho Pineda (PTA SAS)" userId="a45a17f7-7950-4cb5-bfab-f5c894f959a9" providerId="ADAL" clId="{7EBB4E1E-93A9-4035-834A-9A0B60182E9F}" dt="2020-10-06T13:36:37.778" v="355" actId="47"/>
          <pc:sldLayoutMkLst>
            <pc:docMk/>
            <pc:sldMasterMk cId="2612954595" sldId="2147483660"/>
            <pc:sldLayoutMk cId="1405623744" sldId="2147483667"/>
          </pc:sldLayoutMkLst>
        </pc:sldLayoutChg>
        <pc:sldLayoutChg chg="del">
          <pc:chgData name="Mariam Daniela Tristancho Pineda (PTA SAS)" userId="a45a17f7-7950-4cb5-bfab-f5c894f959a9" providerId="ADAL" clId="{7EBB4E1E-93A9-4035-834A-9A0B60182E9F}" dt="2020-10-08T15:27:35.064" v="3582" actId="47"/>
          <pc:sldLayoutMkLst>
            <pc:docMk/>
            <pc:sldMasterMk cId="2612954595" sldId="2147483660"/>
            <pc:sldLayoutMk cId="365575619" sldId="2147483670"/>
          </pc:sldLayoutMkLst>
        </pc:sldLayoutChg>
      </pc:sldMasterChg>
    </pc:docChg>
  </pc:docChgLst>
  <pc:docChgLst>
    <pc:chgData name="Andrea" userId="f6a3e592-cc27-4858-b185-ff86be206069" providerId="ADAL" clId="{3C8E150F-F68C-4D5E-9C1A-E8DFC63A437B}"/>
    <pc:docChg chg="custSel modSld">
      <pc:chgData name="Andrea" userId="f6a3e592-cc27-4858-b185-ff86be206069" providerId="ADAL" clId="{3C8E150F-F68C-4D5E-9C1A-E8DFC63A437B}" dt="2020-07-31T21:04:38.159" v="188" actId="20577"/>
      <pc:docMkLst>
        <pc:docMk/>
      </pc:docMkLst>
      <pc:sldChg chg="addSp delSp modSp mod">
        <pc:chgData name="Andrea" userId="f6a3e592-cc27-4858-b185-ff86be206069" providerId="ADAL" clId="{3C8E150F-F68C-4D5E-9C1A-E8DFC63A437B}" dt="2020-07-31T16:47:18.496" v="77" actId="1076"/>
        <pc:sldMkLst>
          <pc:docMk/>
          <pc:sldMk cId="1202002608" sldId="2134804331"/>
        </pc:sldMkLst>
        <pc:spChg chg="mod">
          <ac:chgData name="Andrea" userId="f6a3e592-cc27-4858-b185-ff86be206069" providerId="ADAL" clId="{3C8E150F-F68C-4D5E-9C1A-E8DFC63A437B}" dt="2020-07-31T16:40:53.276" v="11" actId="14100"/>
          <ac:spMkLst>
            <pc:docMk/>
            <pc:sldMk cId="1202002608" sldId="2134804331"/>
            <ac:spMk id="11" creationId="{184C2B9E-D3B9-49BD-8620-C63A684282DB}"/>
          </ac:spMkLst>
        </pc:spChg>
        <pc:spChg chg="mod ord">
          <ac:chgData name="Andrea" userId="f6a3e592-cc27-4858-b185-ff86be206069" providerId="ADAL" clId="{3C8E150F-F68C-4D5E-9C1A-E8DFC63A437B}" dt="2020-07-31T16:41:29.762" v="23" actId="166"/>
          <ac:spMkLst>
            <pc:docMk/>
            <pc:sldMk cId="1202002608" sldId="2134804331"/>
            <ac:spMk id="12" creationId="{F086245E-F097-433F-A318-EB11B03FA403}"/>
          </ac:spMkLst>
        </pc:spChg>
        <pc:spChg chg="mod">
          <ac:chgData name="Andrea" userId="f6a3e592-cc27-4858-b185-ff86be206069" providerId="ADAL" clId="{3C8E150F-F68C-4D5E-9C1A-E8DFC63A437B}" dt="2020-07-31T16:47:18.496" v="77" actId="1076"/>
          <ac:spMkLst>
            <pc:docMk/>
            <pc:sldMk cId="1202002608" sldId="2134804331"/>
            <ac:spMk id="13" creationId="{E8B1E094-076B-4000-891E-A113B6CF33CD}"/>
          </ac:spMkLst>
        </pc:spChg>
        <pc:spChg chg="mod">
          <ac:chgData name="Andrea" userId="f6a3e592-cc27-4858-b185-ff86be206069" providerId="ADAL" clId="{3C8E150F-F68C-4D5E-9C1A-E8DFC63A437B}" dt="2020-07-31T16:39:56.004" v="1" actId="14100"/>
          <ac:spMkLst>
            <pc:docMk/>
            <pc:sldMk cId="1202002608" sldId="2134804331"/>
            <ac:spMk id="36" creationId="{7BF75727-F2D8-4B3A-8084-69B15B6BF24E}"/>
          </ac:spMkLst>
        </pc:spChg>
        <pc:spChg chg="mod">
          <ac:chgData name="Andrea" userId="f6a3e592-cc27-4858-b185-ff86be206069" providerId="ADAL" clId="{3C8E150F-F68C-4D5E-9C1A-E8DFC63A437B}" dt="2020-07-31T16:47:18.496" v="77" actId="1076"/>
          <ac:spMkLst>
            <pc:docMk/>
            <pc:sldMk cId="1202002608" sldId="2134804331"/>
            <ac:spMk id="38" creationId="{13852665-B2E4-439B-9954-9CB9C58718D8}"/>
          </ac:spMkLst>
        </pc:spChg>
        <pc:spChg chg="add del mod">
          <ac:chgData name="Andrea" userId="f6a3e592-cc27-4858-b185-ff86be206069" providerId="ADAL" clId="{3C8E150F-F68C-4D5E-9C1A-E8DFC63A437B}" dt="2020-07-31T16:41:19.445" v="21"/>
          <ac:spMkLst>
            <pc:docMk/>
            <pc:sldMk cId="1202002608" sldId="2134804331"/>
            <ac:spMk id="60" creationId="{D7B16AB1-CE8C-4C49-871A-3E21BD65309D}"/>
          </ac:spMkLst>
        </pc:spChg>
        <pc:spChg chg="add mod">
          <ac:chgData name="Andrea" userId="f6a3e592-cc27-4858-b185-ff86be206069" providerId="ADAL" clId="{3C8E150F-F68C-4D5E-9C1A-E8DFC63A437B}" dt="2020-07-31T16:41:22.507" v="22" actId="122"/>
          <ac:spMkLst>
            <pc:docMk/>
            <pc:sldMk cId="1202002608" sldId="2134804331"/>
            <ac:spMk id="61" creationId="{DFB05C47-7807-4E7F-BBA2-FF6B4DE8E9F7}"/>
          </ac:spMkLst>
        </pc:spChg>
        <pc:spChg chg="add mod">
          <ac:chgData name="Andrea" userId="f6a3e592-cc27-4858-b185-ff86be206069" providerId="ADAL" clId="{3C8E150F-F68C-4D5E-9C1A-E8DFC63A437B}" dt="2020-07-31T16:41:36.011" v="25" actId="1076"/>
          <ac:spMkLst>
            <pc:docMk/>
            <pc:sldMk cId="1202002608" sldId="2134804331"/>
            <ac:spMk id="64" creationId="{2184AF9E-CE99-4046-9C2A-D7E748E9BE11}"/>
          </ac:spMkLst>
        </pc:spChg>
      </pc:sldChg>
      <pc:sldChg chg="modSp mod">
        <pc:chgData name="Andrea" userId="f6a3e592-cc27-4858-b185-ff86be206069" providerId="ADAL" clId="{3C8E150F-F68C-4D5E-9C1A-E8DFC63A437B}" dt="2020-07-31T21:04:38.159" v="188" actId="20577"/>
        <pc:sldMkLst>
          <pc:docMk/>
          <pc:sldMk cId="1108072925" sldId="2134804343"/>
        </pc:sldMkLst>
        <pc:spChg chg="mod">
          <ac:chgData name="Andrea" userId="f6a3e592-cc27-4858-b185-ff86be206069" providerId="ADAL" clId="{3C8E150F-F68C-4D5E-9C1A-E8DFC63A437B}" dt="2020-07-31T21:04:38.159" v="188" actId="20577"/>
          <ac:spMkLst>
            <pc:docMk/>
            <pc:sldMk cId="1108072925" sldId="2134804343"/>
            <ac:spMk id="69" creationId="{88B127F6-0C7D-4DA3-92C5-BCE40D1560F3}"/>
          </ac:spMkLst>
        </pc:spChg>
        <pc:spChg chg="mod">
          <ac:chgData name="Andrea" userId="f6a3e592-cc27-4858-b185-ff86be206069" providerId="ADAL" clId="{3C8E150F-F68C-4D5E-9C1A-E8DFC63A437B}" dt="2020-07-31T21:04:05.444" v="172" actId="20577"/>
          <ac:spMkLst>
            <pc:docMk/>
            <pc:sldMk cId="1108072925" sldId="2134804343"/>
            <ac:spMk id="114" creationId="{34834366-0759-4E89-9A3A-288B6DA6C8C5}"/>
          </ac:spMkLst>
        </pc:spChg>
        <pc:spChg chg="mod">
          <ac:chgData name="Andrea" userId="f6a3e592-cc27-4858-b185-ff86be206069" providerId="ADAL" clId="{3C8E150F-F68C-4D5E-9C1A-E8DFC63A437B}" dt="2020-07-31T21:04:07.684" v="174" actId="20577"/>
          <ac:spMkLst>
            <pc:docMk/>
            <pc:sldMk cId="1108072925" sldId="2134804343"/>
            <ac:spMk id="117" creationId="{7F6BC1DB-4E40-4A47-850A-79B462E1AE26}"/>
          </ac:spMkLst>
        </pc:spChg>
        <pc:spChg chg="mod">
          <ac:chgData name="Andrea" userId="f6a3e592-cc27-4858-b185-ff86be206069" providerId="ADAL" clId="{3C8E150F-F68C-4D5E-9C1A-E8DFC63A437B}" dt="2020-07-31T21:04:10.365" v="176" actId="20577"/>
          <ac:spMkLst>
            <pc:docMk/>
            <pc:sldMk cId="1108072925" sldId="2134804343"/>
            <ac:spMk id="120" creationId="{E73BF53D-5C4E-4100-BC6B-1DFC8B8FC737}"/>
          </ac:spMkLst>
        </pc:spChg>
        <pc:spChg chg="mod">
          <ac:chgData name="Andrea" userId="f6a3e592-cc27-4858-b185-ff86be206069" providerId="ADAL" clId="{3C8E150F-F68C-4D5E-9C1A-E8DFC63A437B}" dt="2020-07-31T21:04:12.522" v="178" actId="20577"/>
          <ac:spMkLst>
            <pc:docMk/>
            <pc:sldMk cId="1108072925" sldId="2134804343"/>
            <ac:spMk id="123" creationId="{AF32E794-4F50-4939-826B-17544165148C}"/>
          </ac:spMkLst>
        </pc:spChg>
        <pc:spChg chg="mod">
          <ac:chgData name="Andrea" userId="f6a3e592-cc27-4858-b185-ff86be206069" providerId="ADAL" clId="{3C8E150F-F68C-4D5E-9C1A-E8DFC63A437B}" dt="2020-07-31T21:04:14.630" v="180" actId="20577"/>
          <ac:spMkLst>
            <pc:docMk/>
            <pc:sldMk cId="1108072925" sldId="2134804343"/>
            <ac:spMk id="126" creationId="{8F1ADAC7-4725-4A8E-8E01-07F422E0CE8D}"/>
          </ac:spMkLst>
        </pc:spChg>
        <pc:spChg chg="mod">
          <ac:chgData name="Andrea" userId="f6a3e592-cc27-4858-b185-ff86be206069" providerId="ADAL" clId="{3C8E150F-F68C-4D5E-9C1A-E8DFC63A437B}" dt="2020-07-31T21:04:17.436" v="182" actId="20577"/>
          <ac:spMkLst>
            <pc:docMk/>
            <pc:sldMk cId="1108072925" sldId="2134804343"/>
            <ac:spMk id="129" creationId="{547FDFA9-DFAE-49C9-8DB6-12CF8AF865B2}"/>
          </ac:spMkLst>
        </pc:spChg>
        <pc:spChg chg="mod">
          <ac:chgData name="Andrea" userId="f6a3e592-cc27-4858-b185-ff86be206069" providerId="ADAL" clId="{3C8E150F-F68C-4D5E-9C1A-E8DFC63A437B}" dt="2020-07-31T21:04:03.446" v="170" actId="20577"/>
          <ac:spMkLst>
            <pc:docMk/>
            <pc:sldMk cId="1108072925" sldId="2134804343"/>
            <ac:spMk id="134" creationId="{9DA84409-E78D-4C09-BD7D-3213865A7325}"/>
          </ac:spMkLst>
        </pc:spChg>
      </pc:sldChg>
      <pc:sldChg chg="addSp delSp modSp mod">
        <pc:chgData name="Andrea" userId="f6a3e592-cc27-4858-b185-ff86be206069" providerId="ADAL" clId="{3C8E150F-F68C-4D5E-9C1A-E8DFC63A437B}" dt="2020-07-31T21:03:59.062" v="168" actId="1076"/>
        <pc:sldMkLst>
          <pc:docMk/>
          <pc:sldMk cId="1734415321" sldId="2134804344"/>
        </pc:sldMkLst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11" creationId="{772CA61D-742C-45F0-BAFA-0F3B90176E98}"/>
          </ac:spMkLst>
        </pc:spChg>
        <pc:spChg chg="mod">
          <ac:chgData name="Andrea" userId="f6a3e592-cc27-4858-b185-ff86be206069" providerId="ADAL" clId="{3C8E150F-F68C-4D5E-9C1A-E8DFC63A437B}" dt="2020-07-31T20:53:26.779" v="81" actId="1076"/>
          <ac:spMkLst>
            <pc:docMk/>
            <pc:sldMk cId="1734415321" sldId="2134804344"/>
            <ac:spMk id="29" creationId="{46F67329-EAA2-4B09-AD5B-91FE70391A81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30" creationId="{5BF08848-45AE-451C-A99D-7322CF796742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36" creationId="{80930BAD-CC8E-47DD-9473-5B8864A2680A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41" creationId="{A6323A01-8860-4B1B-BDAF-6B75ABC06BEC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42" creationId="{4101169F-B3FD-425D-90F0-D9CCBE1BF3D2}"/>
          </ac:spMkLst>
        </pc:spChg>
        <pc:spChg chg="mod">
          <ac:chgData name="Andrea" userId="f6a3e592-cc27-4858-b185-ff86be206069" providerId="ADAL" clId="{3C8E150F-F68C-4D5E-9C1A-E8DFC63A437B}" dt="2020-07-31T20:54:38.836" v="89" actId="20577"/>
          <ac:spMkLst>
            <pc:docMk/>
            <pc:sldMk cId="1734415321" sldId="2134804344"/>
            <ac:spMk id="43" creationId="{34452114-CA9E-44D1-9755-DF275F1BF2A9}"/>
          </ac:spMkLst>
        </pc:spChg>
        <pc:spChg chg="mod">
          <ac:chgData name="Andrea" userId="f6a3e592-cc27-4858-b185-ff86be206069" providerId="ADAL" clId="{3C8E150F-F68C-4D5E-9C1A-E8DFC63A437B}" dt="2020-07-31T21:00:31.064" v="139" actId="1076"/>
          <ac:spMkLst>
            <pc:docMk/>
            <pc:sldMk cId="1734415321" sldId="2134804344"/>
            <ac:spMk id="45" creationId="{476FBBD3-1877-4B8E-A2BA-965C36FBD73D}"/>
          </ac:spMkLst>
        </pc:spChg>
        <pc:spChg chg="mod">
          <ac:chgData name="Andrea" userId="f6a3e592-cc27-4858-b185-ff86be206069" providerId="ADAL" clId="{3C8E150F-F68C-4D5E-9C1A-E8DFC63A437B}" dt="2020-07-31T20:56:43.873" v="111" actId="1076"/>
          <ac:spMkLst>
            <pc:docMk/>
            <pc:sldMk cId="1734415321" sldId="2134804344"/>
            <ac:spMk id="48" creationId="{F926AC88-2103-4B74-A485-8F98AF37FABE}"/>
          </ac:spMkLst>
        </pc:spChg>
        <pc:spChg chg="mod">
          <ac:chgData name="Andrea" userId="f6a3e592-cc27-4858-b185-ff86be206069" providerId="ADAL" clId="{3C8E150F-F68C-4D5E-9C1A-E8DFC63A437B}" dt="2020-07-31T20:53:48.127" v="87" actId="1076"/>
          <ac:spMkLst>
            <pc:docMk/>
            <pc:sldMk cId="1734415321" sldId="2134804344"/>
            <ac:spMk id="53" creationId="{436F7F2A-D56C-4686-B82F-7A2F944056CC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55" creationId="{1546B975-3205-4120-A98D-4F899F2673F9}"/>
          </ac:spMkLst>
        </pc:spChg>
        <pc:spChg chg="mod">
          <ac:chgData name="Andrea" userId="f6a3e592-cc27-4858-b185-ff86be206069" providerId="ADAL" clId="{3C8E150F-F68C-4D5E-9C1A-E8DFC63A437B}" dt="2020-07-31T20:56:30.462" v="105" actId="1076"/>
          <ac:spMkLst>
            <pc:docMk/>
            <pc:sldMk cId="1734415321" sldId="2134804344"/>
            <ac:spMk id="56" creationId="{82D32ECE-5CE8-4D30-8F1A-35940B0E5DDC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57" creationId="{CFA918CB-0C7A-44FC-87D2-055F0DB1CDD9}"/>
          </ac:spMkLst>
        </pc:spChg>
        <pc:spChg chg="mod">
          <ac:chgData name="Andrea" userId="f6a3e592-cc27-4858-b185-ff86be206069" providerId="ADAL" clId="{3C8E150F-F68C-4D5E-9C1A-E8DFC63A437B}" dt="2020-07-31T21:01:19.940" v="149" actId="14100"/>
          <ac:spMkLst>
            <pc:docMk/>
            <pc:sldMk cId="1734415321" sldId="2134804344"/>
            <ac:spMk id="59" creationId="{B329FB9A-BB66-4CA1-9AB8-4B6B45E56072}"/>
          </ac:spMkLst>
        </pc:spChg>
        <pc:spChg chg="mod">
          <ac:chgData name="Andrea" userId="f6a3e592-cc27-4858-b185-ff86be206069" providerId="ADAL" clId="{3C8E150F-F68C-4D5E-9C1A-E8DFC63A437B}" dt="2020-07-31T21:01:30.900" v="151" actId="1076"/>
          <ac:spMkLst>
            <pc:docMk/>
            <pc:sldMk cId="1734415321" sldId="2134804344"/>
            <ac:spMk id="60" creationId="{FC98CCA7-DE6B-4116-84B8-A8982F08BE33}"/>
          </ac:spMkLst>
        </pc:spChg>
        <pc:spChg chg="mod">
          <ac:chgData name="Andrea" userId="f6a3e592-cc27-4858-b185-ff86be206069" providerId="ADAL" clId="{3C8E150F-F68C-4D5E-9C1A-E8DFC63A437B}" dt="2020-07-31T21:01:41.657" v="154" actId="1076"/>
          <ac:spMkLst>
            <pc:docMk/>
            <pc:sldMk cId="1734415321" sldId="2134804344"/>
            <ac:spMk id="65" creationId="{E9C72F17-5D8F-41F6-8661-3E5DE2A9E040}"/>
          </ac:spMkLst>
        </pc:spChg>
        <pc:spChg chg="mod">
          <ac:chgData name="Andrea" userId="f6a3e592-cc27-4858-b185-ff86be206069" providerId="ADAL" clId="{3C8E150F-F68C-4D5E-9C1A-E8DFC63A437B}" dt="2020-07-31T21:02:09.959" v="158" actId="1076"/>
          <ac:spMkLst>
            <pc:docMk/>
            <pc:sldMk cId="1734415321" sldId="2134804344"/>
            <ac:spMk id="66" creationId="{DB75697E-BD6D-4004-8F4B-2171046FC128}"/>
          </ac:spMkLst>
        </pc:spChg>
        <pc:spChg chg="mod">
          <ac:chgData name="Andrea" userId="f6a3e592-cc27-4858-b185-ff86be206069" providerId="ADAL" clId="{3C8E150F-F68C-4D5E-9C1A-E8DFC63A437B}" dt="2020-07-31T21:02:07.943" v="157" actId="1076"/>
          <ac:spMkLst>
            <pc:docMk/>
            <pc:sldMk cId="1734415321" sldId="2134804344"/>
            <ac:spMk id="69" creationId="{42876D3F-F05B-4B3C-9DCB-629A3FE41134}"/>
          </ac:spMkLst>
        </pc:spChg>
        <pc:spChg chg="mod">
          <ac:chgData name="Andrea" userId="f6a3e592-cc27-4858-b185-ff86be206069" providerId="ADAL" clId="{3C8E150F-F68C-4D5E-9C1A-E8DFC63A437B}" dt="2020-07-31T21:02:06.288" v="156" actId="1076"/>
          <ac:spMkLst>
            <pc:docMk/>
            <pc:sldMk cId="1734415321" sldId="2134804344"/>
            <ac:spMk id="70" creationId="{F9D75CA7-6C16-4058-92CF-BCCF9664CBC8}"/>
          </ac:spMkLst>
        </pc:spChg>
        <pc:spChg chg="mod">
          <ac:chgData name="Andrea" userId="f6a3e592-cc27-4858-b185-ff86be206069" providerId="ADAL" clId="{3C8E150F-F68C-4D5E-9C1A-E8DFC63A437B}" dt="2020-07-31T21:02:04.648" v="155" actId="1076"/>
          <ac:spMkLst>
            <pc:docMk/>
            <pc:sldMk cId="1734415321" sldId="2134804344"/>
            <ac:spMk id="71" creationId="{63CA118B-4517-4A8E-85F9-65AF0995F5E4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72" creationId="{F0A9C2F1-1FA1-4C6D-980F-C42B048458E9}"/>
          </ac:spMkLst>
        </pc:spChg>
        <pc:spChg chg="mod">
          <ac:chgData name="Andrea" userId="f6a3e592-cc27-4858-b185-ff86be206069" providerId="ADAL" clId="{3C8E150F-F68C-4D5E-9C1A-E8DFC63A437B}" dt="2020-07-31T20:59:29.505" v="124" actId="1076"/>
          <ac:spMkLst>
            <pc:docMk/>
            <pc:sldMk cId="1734415321" sldId="2134804344"/>
            <ac:spMk id="73" creationId="{504B0AB9-46DB-479D-A0DE-430E1C84357C}"/>
          </ac:spMkLst>
        </pc:spChg>
        <pc:spChg chg="del">
          <ac:chgData name="Andrea" userId="f6a3e592-cc27-4858-b185-ff86be206069" providerId="ADAL" clId="{3C8E150F-F68C-4D5E-9C1A-E8DFC63A437B}" dt="2020-07-31T20:52:57.270" v="78" actId="478"/>
          <ac:spMkLst>
            <pc:docMk/>
            <pc:sldMk cId="1734415321" sldId="2134804344"/>
            <ac:spMk id="75" creationId="{4C690042-2141-41E0-801C-740270A72EAA}"/>
          </ac:spMkLst>
        </pc:spChg>
        <pc:spChg chg="del">
          <ac:chgData name="Andrea" userId="f6a3e592-cc27-4858-b185-ff86be206069" providerId="ADAL" clId="{3C8E150F-F68C-4D5E-9C1A-E8DFC63A437B}" dt="2020-07-31T20:52:57.270" v="78" actId="478"/>
          <ac:spMkLst>
            <pc:docMk/>
            <pc:sldMk cId="1734415321" sldId="2134804344"/>
            <ac:spMk id="76" creationId="{0E53751B-1475-4A4B-BBEC-13FCD3CB2F50}"/>
          </ac:spMkLst>
        </pc:spChg>
        <pc:spChg chg="del">
          <ac:chgData name="Andrea" userId="f6a3e592-cc27-4858-b185-ff86be206069" providerId="ADAL" clId="{3C8E150F-F68C-4D5E-9C1A-E8DFC63A437B}" dt="2020-07-31T20:52:57.270" v="78" actId="478"/>
          <ac:spMkLst>
            <pc:docMk/>
            <pc:sldMk cId="1734415321" sldId="2134804344"/>
            <ac:spMk id="77" creationId="{75EB08EE-75FC-41CF-8DE8-8BEA1325A366}"/>
          </ac:spMkLst>
        </pc:spChg>
        <pc:spChg chg="mod">
          <ac:chgData name="Andrea" userId="f6a3e592-cc27-4858-b185-ff86be206069" providerId="ADAL" clId="{3C8E150F-F68C-4D5E-9C1A-E8DFC63A437B}" dt="2020-07-31T20:59:48.395" v="133" actId="1076"/>
          <ac:spMkLst>
            <pc:docMk/>
            <pc:sldMk cId="1734415321" sldId="2134804344"/>
            <ac:spMk id="80" creationId="{E193066D-B18A-4EF1-AF0B-EF5BC81EBB54}"/>
          </ac:spMkLst>
        </pc:spChg>
        <pc:spChg chg="mod">
          <ac:chgData name="Andrea" userId="f6a3e592-cc27-4858-b185-ff86be206069" providerId="ADAL" clId="{3C8E150F-F68C-4D5E-9C1A-E8DFC63A437B}" dt="2020-07-31T20:54:40.996" v="91" actId="6549"/>
          <ac:spMkLst>
            <pc:docMk/>
            <pc:sldMk cId="1734415321" sldId="2134804344"/>
            <ac:spMk id="81" creationId="{9EAEECC0-C607-4346-A4F1-115AAD4C7633}"/>
          </ac:spMkLst>
        </pc:spChg>
        <pc:spChg chg="mod">
          <ac:chgData name="Andrea" userId="f6a3e592-cc27-4858-b185-ff86be206069" providerId="ADAL" clId="{3C8E150F-F68C-4D5E-9C1A-E8DFC63A437B}" dt="2020-07-31T20:56:35.758" v="107" actId="20577"/>
          <ac:spMkLst>
            <pc:docMk/>
            <pc:sldMk cId="1734415321" sldId="2134804344"/>
            <ac:spMk id="82" creationId="{AE9FA5CC-5AF8-4A39-808A-A55759A10785}"/>
          </ac:spMkLst>
        </pc:spChg>
        <pc:spChg chg="mod">
          <ac:chgData name="Andrea" userId="f6a3e592-cc27-4858-b185-ff86be206069" providerId="ADAL" clId="{3C8E150F-F68C-4D5E-9C1A-E8DFC63A437B}" dt="2020-07-31T20:56:37.660" v="109" actId="20577"/>
          <ac:spMkLst>
            <pc:docMk/>
            <pc:sldMk cId="1734415321" sldId="2134804344"/>
            <ac:spMk id="83" creationId="{697AE0C9-8E3D-47A0-B88B-51F62D5E5F80}"/>
          </ac:spMkLst>
        </pc:spChg>
        <pc:spChg chg="add mod">
          <ac:chgData name="Andrea" userId="f6a3e592-cc27-4858-b185-ff86be206069" providerId="ADAL" clId="{3C8E150F-F68C-4D5E-9C1A-E8DFC63A437B}" dt="2020-07-31T21:03:59.062" v="168" actId="1076"/>
          <ac:spMkLst>
            <pc:docMk/>
            <pc:sldMk cId="1734415321" sldId="2134804344"/>
            <ac:spMk id="84" creationId="{5D8DC9FC-C278-4D64-8755-3FB5BC7C5DA2}"/>
          </ac:spMkLst>
        </pc:spChg>
        <pc:spChg chg="mod">
          <ac:chgData name="Andrea" userId="f6a3e592-cc27-4858-b185-ff86be206069" providerId="ADAL" clId="{3C8E150F-F68C-4D5E-9C1A-E8DFC63A437B}" dt="2020-07-31T21:03:38.416" v="163" actId="20577"/>
          <ac:spMkLst>
            <pc:docMk/>
            <pc:sldMk cId="1734415321" sldId="2134804344"/>
            <ac:spMk id="85" creationId="{0AEECF97-B04A-4741-8EAF-E1C19707EC79}"/>
          </ac:spMkLst>
        </pc:spChg>
        <pc:spChg chg="mod">
          <ac:chgData name="Andrea" userId="f6a3e592-cc27-4858-b185-ff86be206069" providerId="ADAL" clId="{3C8E150F-F68C-4D5E-9C1A-E8DFC63A437B}" dt="2020-07-31T20:58:38.761" v="117" actId="20577"/>
          <ac:spMkLst>
            <pc:docMk/>
            <pc:sldMk cId="1734415321" sldId="2134804344"/>
            <ac:spMk id="94" creationId="{0010AD8B-A5B4-4F43-81B9-230ED3132988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97" creationId="{99300021-C267-43BD-A0F5-B3ECE622345E}"/>
          </ac:spMkLst>
        </pc:spChg>
        <pc:spChg chg="mod">
          <ac:chgData name="Andrea" userId="f6a3e592-cc27-4858-b185-ff86be206069" providerId="ADAL" clId="{3C8E150F-F68C-4D5E-9C1A-E8DFC63A437B}" dt="2020-07-31T20:59:11.919" v="121" actId="1076"/>
          <ac:spMkLst>
            <pc:docMk/>
            <pc:sldMk cId="1734415321" sldId="2134804344"/>
            <ac:spMk id="98" creationId="{11F602EB-6CFD-4843-A675-A9D9AB24E0FE}"/>
          </ac:spMkLst>
        </pc:spChg>
        <pc:spChg chg="mod ord">
          <ac:chgData name="Andrea" userId="f6a3e592-cc27-4858-b185-ff86be206069" providerId="ADAL" clId="{3C8E150F-F68C-4D5E-9C1A-E8DFC63A437B}" dt="2020-07-31T21:00:51.422" v="145" actId="1076"/>
          <ac:spMkLst>
            <pc:docMk/>
            <pc:sldMk cId="1734415321" sldId="2134804344"/>
            <ac:spMk id="99" creationId="{3F37526A-888E-4B3B-9EF1-1D4F51094B16}"/>
          </ac:spMkLst>
        </pc:spChg>
        <pc:spChg chg="mod">
          <ac:chgData name="Andrea" userId="f6a3e592-cc27-4858-b185-ff86be206069" providerId="ADAL" clId="{3C8E150F-F68C-4D5E-9C1A-E8DFC63A437B}" dt="2020-07-31T21:00:44.751" v="143" actId="1076"/>
          <ac:spMkLst>
            <pc:docMk/>
            <pc:sldMk cId="1734415321" sldId="2134804344"/>
            <ac:spMk id="108" creationId="{3D010BAD-F539-4116-8687-AD686D4C2E0F}"/>
          </ac:spMkLst>
        </pc:spChg>
        <pc:spChg chg="mod">
          <ac:chgData name="Andrea" userId="f6a3e592-cc27-4858-b185-ff86be206069" providerId="ADAL" clId="{3C8E150F-F68C-4D5E-9C1A-E8DFC63A437B}" dt="2020-07-31T21:00:07.017" v="136" actId="1076"/>
          <ac:spMkLst>
            <pc:docMk/>
            <pc:sldMk cId="1734415321" sldId="2134804344"/>
            <ac:spMk id="109" creationId="{BB252E27-19CB-42F0-A5CE-473B62340627}"/>
          </ac:spMkLst>
        </pc:spChg>
        <pc:grpChg chg="mod">
          <ac:chgData name="Andrea" userId="f6a3e592-cc27-4858-b185-ff86be206069" providerId="ADAL" clId="{3C8E150F-F68C-4D5E-9C1A-E8DFC63A437B}" dt="2020-07-31T20:59:43.740" v="129" actId="1076"/>
          <ac:grpSpMkLst>
            <pc:docMk/>
            <pc:sldMk cId="1734415321" sldId="2134804344"/>
            <ac:grpSpMk id="78" creationId="{12A3AACD-5508-4F4A-9036-A17C038CD4B5}"/>
          </ac:grpSpMkLst>
        </pc:grpChg>
        <pc:grpChg chg="mod">
          <ac:chgData name="Andrea" userId="f6a3e592-cc27-4858-b185-ff86be206069" providerId="ADAL" clId="{3C8E150F-F68C-4D5E-9C1A-E8DFC63A437B}" dt="2020-07-31T20:59:17.677" v="122" actId="1076"/>
          <ac:grpSpMkLst>
            <pc:docMk/>
            <pc:sldMk cId="1734415321" sldId="2134804344"/>
            <ac:grpSpMk id="88" creationId="{F7EF4CD1-C03D-4025-9F1B-068CA3577EE5}"/>
          </ac:grpSpMkLst>
        </pc:grpChg>
        <pc:grpChg chg="mod">
          <ac:chgData name="Andrea" userId="f6a3e592-cc27-4858-b185-ff86be206069" providerId="ADAL" clId="{3C8E150F-F68C-4D5E-9C1A-E8DFC63A437B}" dt="2020-07-31T21:00:47.318" v="144" actId="1076"/>
          <ac:grpSpMkLst>
            <pc:docMk/>
            <pc:sldMk cId="1734415321" sldId="2134804344"/>
            <ac:grpSpMk id="107" creationId="{E3576795-9E27-4D88-8404-00A3C7526AF7}"/>
          </ac:grpSpMkLst>
        </pc:grpChg>
      </pc:sldChg>
    </pc:docChg>
  </pc:docChgLst>
  <pc:docChgLst>
    <pc:chgData name="Mariam Daniela Tristancho Pineda (PTA SAS)" userId="a45a17f7-7950-4cb5-bfab-f5c894f959a9" providerId="ADAL" clId="{643645D5-A03F-43D9-8A33-817EA1ECC2BF}"/>
    <pc:docChg chg="undo custSel addSld delSld modSld delMainMaster">
      <pc:chgData name="Mariam Daniela Tristancho Pineda (PTA SAS)" userId="a45a17f7-7950-4cb5-bfab-f5c894f959a9" providerId="ADAL" clId="{643645D5-A03F-43D9-8A33-817EA1ECC2BF}" dt="2020-10-19T13:36:06.008" v="699" actId="14100"/>
      <pc:docMkLst>
        <pc:docMk/>
      </pc:docMkLst>
      <pc:sldChg chg="del">
        <pc:chgData name="Mariam Daniela Tristancho Pineda (PTA SAS)" userId="a45a17f7-7950-4cb5-bfab-f5c894f959a9" providerId="ADAL" clId="{643645D5-A03F-43D9-8A33-817EA1ECC2BF}" dt="2020-10-16T15:12:31.953" v="119" actId="47"/>
        <pc:sldMkLst>
          <pc:docMk/>
          <pc:sldMk cId="573704206" sldId="279"/>
        </pc:sldMkLst>
      </pc:sldChg>
      <pc:sldChg chg="del">
        <pc:chgData name="Mariam Daniela Tristancho Pineda (PTA SAS)" userId="a45a17f7-7950-4cb5-bfab-f5c894f959a9" providerId="ADAL" clId="{643645D5-A03F-43D9-8A33-817EA1ECC2BF}" dt="2020-10-16T15:07:55.076" v="74" actId="47"/>
        <pc:sldMkLst>
          <pc:docMk/>
          <pc:sldMk cId="1701384957" sldId="280"/>
        </pc:sldMkLst>
      </pc:sldChg>
      <pc:sldChg chg="del">
        <pc:chgData name="Mariam Daniela Tristancho Pineda (PTA SAS)" userId="a45a17f7-7950-4cb5-bfab-f5c894f959a9" providerId="ADAL" clId="{643645D5-A03F-43D9-8A33-817EA1ECC2BF}" dt="2020-10-16T15:12:33.276" v="120" actId="47"/>
        <pc:sldMkLst>
          <pc:docMk/>
          <pc:sldMk cId="2374507134" sldId="282"/>
        </pc:sldMkLst>
      </pc:sldChg>
      <pc:sldChg chg="del">
        <pc:chgData name="Mariam Daniela Tristancho Pineda (PTA SAS)" userId="a45a17f7-7950-4cb5-bfab-f5c894f959a9" providerId="ADAL" clId="{643645D5-A03F-43D9-8A33-817EA1ECC2BF}" dt="2020-10-16T15:12:33.505" v="121" actId="47"/>
        <pc:sldMkLst>
          <pc:docMk/>
          <pc:sldMk cId="1553431596" sldId="283"/>
        </pc:sldMkLst>
      </pc:sldChg>
      <pc:sldChg chg="del">
        <pc:chgData name="Mariam Daniela Tristancho Pineda (PTA SAS)" userId="a45a17f7-7950-4cb5-bfab-f5c894f959a9" providerId="ADAL" clId="{643645D5-A03F-43D9-8A33-817EA1ECC2BF}" dt="2020-10-16T15:12:33.679" v="122" actId="47"/>
        <pc:sldMkLst>
          <pc:docMk/>
          <pc:sldMk cId="1152085915" sldId="284"/>
        </pc:sldMkLst>
      </pc:sldChg>
      <pc:sldChg chg="del">
        <pc:chgData name="Mariam Daniela Tristancho Pineda (PTA SAS)" userId="a45a17f7-7950-4cb5-bfab-f5c894f959a9" providerId="ADAL" clId="{643645D5-A03F-43D9-8A33-817EA1ECC2BF}" dt="2020-10-16T15:12:35.071" v="124" actId="47"/>
        <pc:sldMkLst>
          <pc:docMk/>
          <pc:sldMk cId="3864960676" sldId="286"/>
        </pc:sldMkLst>
      </pc:sldChg>
      <pc:sldChg chg="modSp mod">
        <pc:chgData name="Mariam Daniela Tristancho Pineda (PTA SAS)" userId="a45a17f7-7950-4cb5-bfab-f5c894f959a9" providerId="ADAL" clId="{643645D5-A03F-43D9-8A33-817EA1ECC2BF}" dt="2020-10-16T15:09:12.151" v="85" actId="1076"/>
        <pc:sldMkLst>
          <pc:docMk/>
          <pc:sldMk cId="676461558" sldId="291"/>
        </pc:sldMkLst>
        <pc:spChg chg="mod">
          <ac:chgData name="Mariam Daniela Tristancho Pineda (PTA SAS)" userId="a45a17f7-7950-4cb5-bfab-f5c894f959a9" providerId="ADAL" clId="{643645D5-A03F-43D9-8A33-817EA1ECC2BF}" dt="2020-10-16T15:09:12.151" v="85" actId="1076"/>
          <ac:spMkLst>
            <pc:docMk/>
            <pc:sldMk cId="676461558" sldId="291"/>
            <ac:spMk id="2" creationId="{7D76A58A-375F-4061-9D4C-651C14864658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76" creationId="{EEF9D3BD-0FCD-4E3B-A30D-451C7AAF6633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77" creationId="{44DAAF07-704B-4AD2-9029-4FE6270429E3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80" creationId="{E4642C6D-F1C3-451F-AEC6-3440A3FD291D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81" creationId="{646D5B8E-AC08-4AA5-823A-4F62C3888F63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82" creationId="{8E48A216-4859-4526-9CC2-DFF2DC55EDD5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08" creationId="{0DFAE232-C03A-4447-AF4F-2FEEE826CF8A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11" creationId="{238FD54F-35A5-4122-9015-D197608097DD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12" creationId="{0DC8B8DA-3D9B-4936-81F1-CE85FFE781C2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15" creationId="{DB35C4D3-61DC-4194-A530-0CD186587533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18" creationId="{005BD08C-0EE8-4633-8B97-08CC29CE51B8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19" creationId="{E3BEB78D-E8E1-481E-8CEB-EEC808402A59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20" creationId="{D1B62530-57CE-4A21-A7E2-B81C22F47BB8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21" creationId="{878445E7-B1EA-49B9-9A06-600E42D9C00D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28" creationId="{ED59BBA5-78C0-4BAE-A239-BB0D192DF18D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29" creationId="{38F6E427-4252-4DBA-A22D-B030B7878228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31" creationId="{7BEB4D49-A38C-4972-AA35-9C77065D91C7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34" creationId="{5BC2AB0D-6046-4152-AF02-7891CB54CA54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35" creationId="{0972EA45-CA71-4C58-B3E3-2CE03A37733F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36" creationId="{10F2F476-E3DF-44DB-93E1-67C528B845D4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37" creationId="{E07EEAAE-3F46-4635-B660-163BBE708926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44" creationId="{9A40AC9D-F2DE-429E-B1E7-87793BEF9411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45" creationId="{CFD7A2B8-7760-4F47-9755-80C90649B2FD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46" creationId="{288966CF-A2CB-4920-8B6E-870D67CE8DB4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47" creationId="{7B9ED864-7CF7-4FC1-AAEB-6C50E8128BD6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58" creationId="{D7DCC36E-87EB-40F0-B8DA-26802C828AF9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60" creationId="{C60BD2D3-9268-46A4-A248-8754845A2B7A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61" creationId="{9DEB7601-FDE6-4584-A603-436E8B612A41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62" creationId="{2A62CB7D-E2D1-48FE-AA10-A873E92AE577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64" creationId="{BDBFDC69-A308-49F6-B954-651C284DFA8F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65" creationId="{532C5EF6-9E60-460C-8174-9AA5833C4275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66" creationId="{E051AACB-533A-458D-A6AD-4EE882A51BFA}"/>
          </ac:spMkLst>
        </pc:spChg>
        <pc:spChg chg="mod">
          <ac:chgData name="Mariam Daniela Tristancho Pineda (PTA SAS)" userId="a45a17f7-7950-4cb5-bfab-f5c894f959a9" providerId="ADAL" clId="{643645D5-A03F-43D9-8A33-817EA1ECC2BF}" dt="2020-10-16T15:09:09.215" v="84" actId="1036"/>
          <ac:spMkLst>
            <pc:docMk/>
            <pc:sldMk cId="676461558" sldId="291"/>
            <ac:spMk id="167" creationId="{6110F769-958A-47EA-9391-D7D10AB9A4BC}"/>
          </ac:spMkLst>
        </pc:spChg>
        <pc:grpChg chg="mod">
          <ac:chgData name="Mariam Daniela Tristancho Pineda (PTA SAS)" userId="a45a17f7-7950-4cb5-bfab-f5c894f959a9" providerId="ADAL" clId="{643645D5-A03F-43D9-8A33-817EA1ECC2BF}" dt="2020-10-16T15:09:09.215" v="84" actId="1036"/>
          <ac:grpSpMkLst>
            <pc:docMk/>
            <pc:sldMk cId="676461558" sldId="291"/>
            <ac:grpSpMk id="87" creationId="{2048A83A-AA05-4B15-BF12-590132B0B976}"/>
          </ac:grpSpMkLst>
        </pc:grpChg>
        <pc:grpChg chg="mod">
          <ac:chgData name="Mariam Daniela Tristancho Pineda (PTA SAS)" userId="a45a17f7-7950-4cb5-bfab-f5c894f959a9" providerId="ADAL" clId="{643645D5-A03F-43D9-8A33-817EA1ECC2BF}" dt="2020-10-16T15:09:09.215" v="84" actId="1036"/>
          <ac:grpSpMkLst>
            <pc:docMk/>
            <pc:sldMk cId="676461558" sldId="291"/>
            <ac:grpSpMk id="117" creationId="{6B2613F8-F744-454D-91E2-AEE6A9F29C43}"/>
          </ac:grpSpMkLst>
        </pc:grpChg>
        <pc:grpChg chg="mod">
          <ac:chgData name="Mariam Daniela Tristancho Pineda (PTA SAS)" userId="a45a17f7-7950-4cb5-bfab-f5c894f959a9" providerId="ADAL" clId="{643645D5-A03F-43D9-8A33-817EA1ECC2BF}" dt="2020-10-16T15:09:09.215" v="84" actId="1036"/>
          <ac:grpSpMkLst>
            <pc:docMk/>
            <pc:sldMk cId="676461558" sldId="291"/>
            <ac:grpSpMk id="127" creationId="{60702B56-DECD-447B-A9E3-E75220CE6451}"/>
          </ac:grpSpMkLst>
        </pc:grpChg>
        <pc:grpChg chg="mod">
          <ac:chgData name="Mariam Daniela Tristancho Pineda (PTA SAS)" userId="a45a17f7-7950-4cb5-bfab-f5c894f959a9" providerId="ADAL" clId="{643645D5-A03F-43D9-8A33-817EA1ECC2BF}" dt="2020-10-16T15:09:09.215" v="84" actId="1036"/>
          <ac:grpSpMkLst>
            <pc:docMk/>
            <pc:sldMk cId="676461558" sldId="291"/>
            <ac:grpSpMk id="133" creationId="{230FEFAE-02E8-496A-B8AD-506B3F9F1126}"/>
          </ac:grpSpMkLst>
        </pc:grpChg>
        <pc:grpChg chg="mod">
          <ac:chgData name="Mariam Daniela Tristancho Pineda (PTA SAS)" userId="a45a17f7-7950-4cb5-bfab-f5c894f959a9" providerId="ADAL" clId="{643645D5-A03F-43D9-8A33-817EA1ECC2BF}" dt="2020-10-16T15:09:09.215" v="84" actId="1036"/>
          <ac:grpSpMkLst>
            <pc:docMk/>
            <pc:sldMk cId="676461558" sldId="291"/>
            <ac:grpSpMk id="143" creationId="{C2B0831D-672E-4270-8739-782D42787680}"/>
          </ac:grpSpMkLst>
        </pc:grpChg>
        <pc:grpChg chg="mod">
          <ac:chgData name="Mariam Daniela Tristancho Pineda (PTA SAS)" userId="a45a17f7-7950-4cb5-bfab-f5c894f959a9" providerId="ADAL" clId="{643645D5-A03F-43D9-8A33-817EA1ECC2BF}" dt="2020-10-16T15:09:09.215" v="84" actId="1036"/>
          <ac:grpSpMkLst>
            <pc:docMk/>
            <pc:sldMk cId="676461558" sldId="291"/>
            <ac:grpSpMk id="153" creationId="{C74AA7BD-0482-4430-AE80-88955BE81BD6}"/>
          </ac:grpSpMkLst>
        </pc:grpChg>
        <pc:grpChg chg="mod">
          <ac:chgData name="Mariam Daniela Tristancho Pineda (PTA SAS)" userId="a45a17f7-7950-4cb5-bfab-f5c894f959a9" providerId="ADAL" clId="{643645D5-A03F-43D9-8A33-817EA1ECC2BF}" dt="2020-10-16T15:09:09.215" v="84" actId="1036"/>
          <ac:grpSpMkLst>
            <pc:docMk/>
            <pc:sldMk cId="676461558" sldId="291"/>
            <ac:grpSpMk id="163" creationId="{4C04BC2E-3186-4C80-B37F-E5B305AAC1ED}"/>
          </ac:grpSpMkLst>
        </pc:grpChg>
        <pc:picChg chg="mod">
          <ac:chgData name="Mariam Daniela Tristancho Pineda (PTA SAS)" userId="a45a17f7-7950-4cb5-bfab-f5c894f959a9" providerId="ADAL" clId="{643645D5-A03F-43D9-8A33-817EA1ECC2BF}" dt="2020-10-16T15:09:09.215" v="84" actId="1036"/>
          <ac:picMkLst>
            <pc:docMk/>
            <pc:sldMk cId="676461558" sldId="291"/>
            <ac:picMk id="116" creationId="{5BC46F26-8961-4F34-9760-89437609076D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09:09.215" v="84" actId="1036"/>
          <ac:picMkLst>
            <pc:docMk/>
            <pc:sldMk cId="676461558" sldId="291"/>
            <ac:picMk id="122" creationId="{735FD6AB-4D9E-48C4-A2A4-4CB2A1261919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09:09.215" v="84" actId="1036"/>
          <ac:picMkLst>
            <pc:docMk/>
            <pc:sldMk cId="676461558" sldId="291"/>
            <ac:picMk id="132" creationId="{D85EFBB4-82A1-4AEB-A02E-54D3607A36BA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09:09.215" v="84" actId="1036"/>
          <ac:picMkLst>
            <pc:docMk/>
            <pc:sldMk cId="676461558" sldId="291"/>
            <ac:picMk id="138" creationId="{5BCB04AD-8A35-4E76-831A-BE37AB758B92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09:09.215" v="84" actId="1036"/>
          <ac:picMkLst>
            <pc:docMk/>
            <pc:sldMk cId="676461558" sldId="291"/>
            <ac:picMk id="148" creationId="{4B1C7764-E939-4F67-A9D8-34E249741996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09:09.215" v="84" actId="1036"/>
          <ac:picMkLst>
            <pc:docMk/>
            <pc:sldMk cId="676461558" sldId="291"/>
            <ac:picMk id="159" creationId="{9E8D376D-8F72-4FAA-8753-2439E745B16B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09:09.215" v="84" actId="1036"/>
          <ac:picMkLst>
            <pc:docMk/>
            <pc:sldMk cId="676461558" sldId="291"/>
            <ac:picMk id="168" creationId="{BFFEDC3F-5D44-459C-AB94-57B812C8143F}"/>
          </ac:picMkLst>
        </pc:pic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09" creationId="{7434769E-8F5B-4CDA-AFEA-2FA908180F28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10" creationId="{C0926ED7-6C71-4132-9062-E0B720E03046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13" creationId="{59088CD4-BBE7-483B-9FF9-1D62F9236779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14" creationId="{945F525E-96D6-4C2C-A528-6A902709A377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23" creationId="{C7FAFEC2-6E97-4F6F-BA24-F080C2F52D9B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24" creationId="{052C1626-B7E9-4CBB-B41B-19F1C52B2489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25" creationId="{EEBFE2DA-5127-4FBD-871C-BC30BC9886B6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26" creationId="{A0159407-C1E0-42F9-96B7-52E8DE9FB54C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39" creationId="{C3E2F61F-1C4B-476B-A2BD-A0EB158221F7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40" creationId="{113CCA2C-1CA9-4102-92F6-87C454341705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41" creationId="{A84DA711-F321-4D6A-8C5F-7514C157EC7F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42" creationId="{6B8615B1-8EDC-48F5-B371-CCB9A26F6263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49" creationId="{3DD257FE-0DBC-4BDE-8E41-F0693773C024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50" creationId="{6A192D05-FA68-4C91-B411-42299285EFCC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51" creationId="{70130B1F-D0F6-464E-B312-55BB85042484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52" creationId="{C3DB8877-7BF3-4FAC-A3D2-5BA95D944800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54" creationId="{257C7050-446B-4BC0-AE56-15B1276BF84B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55" creationId="{1EDA848A-C3C5-44F2-B0B2-5B39061E32D7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56" creationId="{6D136770-E5C6-4FD4-994A-347A35303349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57" creationId="{53B5734F-88D4-4463-BC76-B0A78957F1BB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69" creationId="{EFE50E1C-6452-48D5-887E-325BDE8412DF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70" creationId="{9C6D144F-AE7D-41B8-A40D-748F60DC87E9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71" creationId="{F9A75E3E-F16F-47D3-AD78-BFC9C9348449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09:09.215" v="84" actId="1036"/>
          <ac:cxnSpMkLst>
            <pc:docMk/>
            <pc:sldMk cId="676461558" sldId="291"/>
            <ac:cxnSpMk id="172" creationId="{3767DA6F-DABE-4D6F-AE17-AB5D8250600B}"/>
          </ac:cxnSpMkLst>
        </pc:cxnChg>
      </pc:sldChg>
      <pc:sldChg chg="del">
        <pc:chgData name="Mariam Daniela Tristancho Pineda (PTA SAS)" userId="a45a17f7-7950-4cb5-bfab-f5c894f959a9" providerId="ADAL" clId="{643645D5-A03F-43D9-8A33-817EA1ECC2BF}" dt="2020-10-16T15:12:26.693" v="102" actId="47"/>
        <pc:sldMkLst>
          <pc:docMk/>
          <pc:sldMk cId="3906370426" sldId="3401"/>
        </pc:sldMkLst>
      </pc:sldChg>
      <pc:sldChg chg="del">
        <pc:chgData name="Mariam Daniela Tristancho Pineda (PTA SAS)" userId="a45a17f7-7950-4cb5-bfab-f5c894f959a9" providerId="ADAL" clId="{643645D5-A03F-43D9-8A33-817EA1ECC2BF}" dt="2020-10-16T15:12:28.329" v="103" actId="47"/>
        <pc:sldMkLst>
          <pc:docMk/>
          <pc:sldMk cId="3865497767" sldId="3403"/>
        </pc:sldMkLst>
      </pc:sldChg>
      <pc:sldChg chg="del">
        <pc:chgData name="Mariam Daniela Tristancho Pineda (PTA SAS)" userId="a45a17f7-7950-4cb5-bfab-f5c894f959a9" providerId="ADAL" clId="{643645D5-A03F-43D9-8A33-817EA1ECC2BF}" dt="2020-10-16T15:12:29.586" v="111" actId="47"/>
        <pc:sldMkLst>
          <pc:docMk/>
          <pc:sldMk cId="4205423605" sldId="3406"/>
        </pc:sldMkLst>
      </pc:sldChg>
      <pc:sldChg chg="del">
        <pc:chgData name="Mariam Daniela Tristancho Pineda (PTA SAS)" userId="a45a17f7-7950-4cb5-bfab-f5c894f959a9" providerId="ADAL" clId="{643645D5-A03F-43D9-8A33-817EA1ECC2BF}" dt="2020-10-16T15:12:28.912" v="108" actId="47"/>
        <pc:sldMkLst>
          <pc:docMk/>
          <pc:sldMk cId="3835901532" sldId="3408"/>
        </pc:sldMkLst>
      </pc:sldChg>
      <pc:sldChg chg="del">
        <pc:chgData name="Mariam Daniela Tristancho Pineda (PTA SAS)" userId="a45a17f7-7950-4cb5-bfab-f5c894f959a9" providerId="ADAL" clId="{643645D5-A03F-43D9-8A33-817EA1ECC2BF}" dt="2020-10-16T15:12:28.722" v="107" actId="47"/>
        <pc:sldMkLst>
          <pc:docMk/>
          <pc:sldMk cId="1194985892" sldId="3409"/>
        </pc:sldMkLst>
      </pc:sldChg>
      <pc:sldChg chg="del">
        <pc:chgData name="Mariam Daniela Tristancho Pineda (PTA SAS)" userId="a45a17f7-7950-4cb5-bfab-f5c894f959a9" providerId="ADAL" clId="{643645D5-A03F-43D9-8A33-817EA1ECC2BF}" dt="2020-10-16T15:12:28.442" v="104" actId="47"/>
        <pc:sldMkLst>
          <pc:docMk/>
          <pc:sldMk cId="1081445694" sldId="3412"/>
        </pc:sldMkLst>
      </pc:sldChg>
      <pc:sldChg chg="del">
        <pc:chgData name="Mariam Daniela Tristancho Pineda (PTA SAS)" userId="a45a17f7-7950-4cb5-bfab-f5c894f959a9" providerId="ADAL" clId="{643645D5-A03F-43D9-8A33-817EA1ECC2BF}" dt="2020-10-16T15:12:28.501" v="105" actId="47"/>
        <pc:sldMkLst>
          <pc:docMk/>
          <pc:sldMk cId="1473259662" sldId="3418"/>
        </pc:sldMkLst>
      </pc:sldChg>
      <pc:sldChg chg="del">
        <pc:chgData name="Mariam Daniela Tristancho Pineda (PTA SAS)" userId="a45a17f7-7950-4cb5-bfab-f5c894f959a9" providerId="ADAL" clId="{643645D5-A03F-43D9-8A33-817EA1ECC2BF}" dt="2020-10-16T15:12:29.639" v="112" actId="47"/>
        <pc:sldMkLst>
          <pc:docMk/>
          <pc:sldMk cId="1328674564" sldId="3422"/>
        </pc:sldMkLst>
      </pc:sldChg>
      <pc:sldChg chg="del">
        <pc:chgData name="Mariam Daniela Tristancho Pineda (PTA SAS)" userId="a45a17f7-7950-4cb5-bfab-f5c894f959a9" providerId="ADAL" clId="{643645D5-A03F-43D9-8A33-817EA1ECC2BF}" dt="2020-10-16T15:12:25.361" v="96" actId="47"/>
        <pc:sldMkLst>
          <pc:docMk/>
          <pc:sldMk cId="4200580314" sldId="3433"/>
        </pc:sldMkLst>
      </pc:sldChg>
      <pc:sldChg chg="del">
        <pc:chgData name="Mariam Daniela Tristancho Pineda (PTA SAS)" userId="a45a17f7-7950-4cb5-bfab-f5c894f959a9" providerId="ADAL" clId="{643645D5-A03F-43D9-8A33-817EA1ECC2BF}" dt="2020-10-16T15:12:26.635" v="101" actId="47"/>
        <pc:sldMkLst>
          <pc:docMk/>
          <pc:sldMk cId="3125016411" sldId="3436"/>
        </pc:sldMkLst>
      </pc:sldChg>
      <pc:sldChg chg="del">
        <pc:chgData name="Mariam Daniela Tristancho Pineda (PTA SAS)" userId="a45a17f7-7950-4cb5-bfab-f5c894f959a9" providerId="ADAL" clId="{643645D5-A03F-43D9-8A33-817EA1ECC2BF}" dt="2020-10-16T15:12:30.778" v="115" actId="47"/>
        <pc:sldMkLst>
          <pc:docMk/>
          <pc:sldMk cId="196982883" sldId="3466"/>
        </pc:sldMkLst>
      </pc:sldChg>
      <pc:sldChg chg="del">
        <pc:chgData name="Mariam Daniela Tristancho Pineda (PTA SAS)" userId="a45a17f7-7950-4cb5-bfab-f5c894f959a9" providerId="ADAL" clId="{643645D5-A03F-43D9-8A33-817EA1ECC2BF}" dt="2020-10-16T15:12:31.097" v="116" actId="47"/>
        <pc:sldMkLst>
          <pc:docMk/>
          <pc:sldMk cId="46801324" sldId="3472"/>
        </pc:sldMkLst>
      </pc:sldChg>
      <pc:sldChg chg="del">
        <pc:chgData name="Mariam Daniela Tristancho Pineda (PTA SAS)" userId="a45a17f7-7950-4cb5-bfab-f5c894f959a9" providerId="ADAL" clId="{643645D5-A03F-43D9-8A33-817EA1ECC2BF}" dt="2020-10-16T15:12:30.277" v="114" actId="47"/>
        <pc:sldMkLst>
          <pc:docMk/>
          <pc:sldMk cId="3670265490" sldId="3473"/>
        </pc:sldMkLst>
      </pc:sldChg>
      <pc:sldChg chg="modSp mod">
        <pc:chgData name="Mariam Daniela Tristancho Pineda (PTA SAS)" userId="a45a17f7-7950-4cb5-bfab-f5c894f959a9" providerId="ADAL" clId="{643645D5-A03F-43D9-8A33-817EA1ECC2BF}" dt="2020-10-16T15:07:43.893" v="71" actId="20577"/>
        <pc:sldMkLst>
          <pc:docMk/>
          <pc:sldMk cId="3639736222" sldId="2134803689"/>
        </pc:sldMkLst>
        <pc:spChg chg="mod">
          <ac:chgData name="Mariam Daniela Tristancho Pineda (PTA SAS)" userId="a45a17f7-7950-4cb5-bfab-f5c894f959a9" providerId="ADAL" clId="{643645D5-A03F-43D9-8A33-817EA1ECC2BF}" dt="2020-10-16T15:07:43.893" v="71" actId="20577"/>
          <ac:spMkLst>
            <pc:docMk/>
            <pc:sldMk cId="3639736222" sldId="2134803689"/>
            <ac:spMk id="4" creationId="{4D5F0815-E5B4-4E74-8145-A182522C6A3D}"/>
          </ac:spMkLst>
        </pc:spChg>
      </pc:sldChg>
      <pc:sldChg chg="addSp delSp modSp mod">
        <pc:chgData name="Mariam Daniela Tristancho Pineda (PTA SAS)" userId="a45a17f7-7950-4cb5-bfab-f5c894f959a9" providerId="ADAL" clId="{643645D5-A03F-43D9-8A33-817EA1ECC2BF}" dt="2020-10-16T15:33:45.112" v="380" actId="1076"/>
        <pc:sldMkLst>
          <pc:docMk/>
          <pc:sldMk cId="542338739" sldId="2134803694"/>
        </pc:sldMkLst>
        <pc:picChg chg="del">
          <ac:chgData name="Mariam Daniela Tristancho Pineda (PTA SAS)" userId="a45a17f7-7950-4cb5-bfab-f5c894f959a9" providerId="ADAL" clId="{643645D5-A03F-43D9-8A33-817EA1ECC2BF}" dt="2020-10-16T15:33:38.862" v="377" actId="478"/>
          <ac:picMkLst>
            <pc:docMk/>
            <pc:sldMk cId="542338739" sldId="2134803694"/>
            <ac:picMk id="10" creationId="{D6E10809-3AFF-4925-9A53-84B2AE2D7FF4}"/>
          </ac:picMkLst>
        </pc:picChg>
        <pc:picChg chg="add mod">
          <ac:chgData name="Mariam Daniela Tristancho Pineda (PTA SAS)" userId="a45a17f7-7950-4cb5-bfab-f5c894f959a9" providerId="ADAL" clId="{643645D5-A03F-43D9-8A33-817EA1ECC2BF}" dt="2020-10-16T15:33:45.112" v="380" actId="1076"/>
          <ac:picMkLst>
            <pc:docMk/>
            <pc:sldMk cId="542338739" sldId="2134803694"/>
            <ac:picMk id="17" creationId="{60455EE7-79C3-4714-AC41-B22D40CDE785}"/>
          </ac:picMkLst>
        </pc:picChg>
      </pc:sldChg>
      <pc:sldChg chg="modSp add">
        <pc:chgData name="Mariam Daniela Tristancho Pineda (PTA SAS)" userId="a45a17f7-7950-4cb5-bfab-f5c894f959a9" providerId="ADAL" clId="{643645D5-A03F-43D9-8A33-817EA1ECC2BF}" dt="2020-10-19T12:49:25.611" v="688" actId="1076"/>
        <pc:sldMkLst>
          <pc:docMk/>
          <pc:sldMk cId="3848763952" sldId="2134803904"/>
        </pc:sldMkLst>
        <pc:spChg chg="mod">
          <ac:chgData name="Mariam Daniela Tristancho Pineda (PTA SAS)" userId="a45a17f7-7950-4cb5-bfab-f5c894f959a9" providerId="ADAL" clId="{643645D5-A03F-43D9-8A33-817EA1ECC2BF}" dt="2020-10-19T12:49:25.611" v="688" actId="1076"/>
          <ac:spMkLst>
            <pc:docMk/>
            <pc:sldMk cId="3848763952" sldId="2134803904"/>
            <ac:spMk id="38" creationId="{F58C5913-CCA0-4E48-91A9-3C716BE31230}"/>
          </ac:spMkLst>
        </pc:spChg>
      </pc:sldChg>
      <pc:sldChg chg="del">
        <pc:chgData name="Mariam Daniela Tristancho Pineda (PTA SAS)" userId="a45a17f7-7950-4cb5-bfab-f5c894f959a9" providerId="ADAL" clId="{643645D5-A03F-43D9-8A33-817EA1ECC2BF}" dt="2020-10-16T15:12:36.102" v="127" actId="47"/>
        <pc:sldMkLst>
          <pc:docMk/>
          <pc:sldMk cId="395424355" sldId="2134804070"/>
        </pc:sldMkLst>
      </pc:sldChg>
      <pc:sldChg chg="del">
        <pc:chgData name="Mariam Daniela Tristancho Pineda (PTA SAS)" userId="a45a17f7-7950-4cb5-bfab-f5c894f959a9" providerId="ADAL" clId="{643645D5-A03F-43D9-8A33-817EA1ECC2BF}" dt="2020-10-16T15:12:35.718" v="126" actId="47"/>
        <pc:sldMkLst>
          <pc:docMk/>
          <pc:sldMk cId="446426025" sldId="2134804071"/>
        </pc:sldMkLst>
      </pc:sldChg>
      <pc:sldChg chg="del">
        <pc:chgData name="Mariam Daniela Tristancho Pineda (PTA SAS)" userId="a45a17f7-7950-4cb5-bfab-f5c894f959a9" providerId="ADAL" clId="{643645D5-A03F-43D9-8A33-817EA1ECC2BF}" dt="2020-10-16T15:12:34.791" v="123" actId="47"/>
        <pc:sldMkLst>
          <pc:docMk/>
          <pc:sldMk cId="2724062261" sldId="2134804072"/>
        </pc:sldMkLst>
      </pc:sldChg>
      <pc:sldChg chg="del">
        <pc:chgData name="Mariam Daniela Tristancho Pineda (PTA SAS)" userId="a45a17f7-7950-4cb5-bfab-f5c894f959a9" providerId="ADAL" clId="{643645D5-A03F-43D9-8A33-817EA1ECC2BF}" dt="2020-10-16T15:12:35.615" v="125" actId="47"/>
        <pc:sldMkLst>
          <pc:docMk/>
          <pc:sldMk cId="2375134941" sldId="2134804073"/>
        </pc:sldMkLst>
      </pc:sldChg>
      <pc:sldChg chg="addSp delSp modSp del mod">
        <pc:chgData name="Mariam Daniela Tristancho Pineda (PTA SAS)" userId="a45a17f7-7950-4cb5-bfab-f5c894f959a9" providerId="ADAL" clId="{643645D5-A03F-43D9-8A33-817EA1ECC2BF}" dt="2020-10-19T12:49:20.139" v="687" actId="47"/>
        <pc:sldMkLst>
          <pc:docMk/>
          <pc:sldMk cId="1031404069" sldId="2134804123"/>
        </pc:sldMkLst>
        <pc:spChg chg="add del mod">
          <ac:chgData name="Mariam Daniela Tristancho Pineda (PTA SAS)" userId="a45a17f7-7950-4cb5-bfab-f5c894f959a9" providerId="ADAL" clId="{643645D5-A03F-43D9-8A33-817EA1ECC2BF}" dt="2020-10-16T15:13:27.055" v="132"/>
          <ac:spMkLst>
            <pc:docMk/>
            <pc:sldMk cId="1031404069" sldId="2134804123"/>
            <ac:spMk id="2" creationId="{3117A075-30B3-428E-AC20-BB31EC20E59B}"/>
          </ac:spMkLst>
        </pc:spChg>
        <pc:spChg chg="add mod">
          <ac:chgData name="Mariam Daniela Tristancho Pineda (PTA SAS)" userId="a45a17f7-7950-4cb5-bfab-f5c894f959a9" providerId="ADAL" clId="{643645D5-A03F-43D9-8A33-817EA1ECC2BF}" dt="2020-10-16T15:14:35.301" v="143" actId="13926"/>
          <ac:spMkLst>
            <pc:docMk/>
            <pc:sldMk cId="1031404069" sldId="2134804123"/>
            <ac:spMk id="5" creationId="{45D94BC8-7611-4089-BB73-1299A74F1D88}"/>
          </ac:spMkLst>
        </pc:spChg>
      </pc:sldChg>
      <pc:sldChg chg="del">
        <pc:chgData name="Mariam Daniela Tristancho Pineda (PTA SAS)" userId="a45a17f7-7950-4cb5-bfab-f5c894f959a9" providerId="ADAL" clId="{643645D5-A03F-43D9-8A33-817EA1ECC2BF}" dt="2020-10-16T15:35:17.477" v="381" actId="47"/>
        <pc:sldMkLst>
          <pc:docMk/>
          <pc:sldMk cId="2538609344" sldId="2134804169"/>
        </pc:sldMkLst>
      </pc:sldChg>
      <pc:sldChg chg="del">
        <pc:chgData name="Mariam Daniela Tristancho Pineda (PTA SAS)" userId="a45a17f7-7950-4cb5-bfab-f5c894f959a9" providerId="ADAL" clId="{643645D5-A03F-43D9-8A33-817EA1ECC2BF}" dt="2020-10-16T15:12:28.946" v="109" actId="47"/>
        <pc:sldMkLst>
          <pc:docMk/>
          <pc:sldMk cId="4121589136" sldId="2134804280"/>
        </pc:sldMkLst>
      </pc:sldChg>
      <pc:sldChg chg="addSp delSp modSp add mod">
        <pc:chgData name="Mariam Daniela Tristancho Pineda (PTA SAS)" userId="a45a17f7-7950-4cb5-bfab-f5c894f959a9" providerId="ADAL" clId="{643645D5-A03F-43D9-8A33-817EA1ECC2BF}" dt="2020-10-16T15:25:53.768" v="299" actId="1076"/>
        <pc:sldMkLst>
          <pc:docMk/>
          <pc:sldMk cId="838099151" sldId="2134804292"/>
        </pc:sldMkLst>
        <pc:spChg chg="mod">
          <ac:chgData name="Mariam Daniela Tristancho Pineda (PTA SAS)" userId="a45a17f7-7950-4cb5-bfab-f5c894f959a9" providerId="ADAL" clId="{643645D5-A03F-43D9-8A33-817EA1ECC2BF}" dt="2020-10-16T15:25:33.032" v="290" actId="1076"/>
          <ac:spMkLst>
            <pc:docMk/>
            <pc:sldMk cId="838099151" sldId="2134804292"/>
            <ac:spMk id="7" creationId="{52FE2391-690B-4D13-B0BE-AD54BD4AFEAA}"/>
          </ac:spMkLst>
        </pc:spChg>
        <pc:spChg chg="add mod">
          <ac:chgData name="Mariam Daniela Tristancho Pineda (PTA SAS)" userId="a45a17f7-7950-4cb5-bfab-f5c894f959a9" providerId="ADAL" clId="{643645D5-A03F-43D9-8A33-817EA1ECC2BF}" dt="2020-10-16T15:25:53.768" v="299" actId="1076"/>
          <ac:spMkLst>
            <pc:docMk/>
            <pc:sldMk cId="838099151" sldId="2134804292"/>
            <ac:spMk id="10" creationId="{52B3D7FA-BA10-4048-AAC6-55DE52959C34}"/>
          </ac:spMkLst>
        </pc:spChg>
        <pc:spChg chg="add del mod">
          <ac:chgData name="Mariam Daniela Tristancho Pineda (PTA SAS)" userId="a45a17f7-7950-4cb5-bfab-f5c894f959a9" providerId="ADAL" clId="{643645D5-A03F-43D9-8A33-817EA1ECC2BF}" dt="2020-10-16T15:22:27.791" v="231" actId="478"/>
          <ac:spMkLst>
            <pc:docMk/>
            <pc:sldMk cId="838099151" sldId="2134804292"/>
            <ac:spMk id="14" creationId="{49DCB055-A453-4EF3-B2C0-9C42F539BD36}"/>
          </ac:spMkLst>
        </pc:spChg>
        <pc:spChg chg="add del mod">
          <ac:chgData name="Mariam Daniela Tristancho Pineda (PTA SAS)" userId="a45a17f7-7950-4cb5-bfab-f5c894f959a9" providerId="ADAL" clId="{643645D5-A03F-43D9-8A33-817EA1ECC2BF}" dt="2020-10-16T15:22:24.043" v="230" actId="478"/>
          <ac:spMkLst>
            <pc:docMk/>
            <pc:sldMk cId="838099151" sldId="2134804292"/>
            <ac:spMk id="17" creationId="{1829402C-C89A-4742-BF80-9851178A46E9}"/>
          </ac:spMkLst>
        </pc:spChg>
        <pc:spChg chg="mod">
          <ac:chgData name="Mariam Daniela Tristancho Pineda (PTA SAS)" userId="a45a17f7-7950-4cb5-bfab-f5c894f959a9" providerId="ADAL" clId="{643645D5-A03F-43D9-8A33-817EA1ECC2BF}" dt="2020-10-16T15:24:46.722" v="254" actId="14100"/>
          <ac:spMkLst>
            <pc:docMk/>
            <pc:sldMk cId="838099151" sldId="2134804292"/>
            <ac:spMk id="50" creationId="{5AEE6479-611C-4B25-9D86-68C74F4E6840}"/>
          </ac:spMkLst>
        </pc:spChg>
        <pc:spChg chg="mod">
          <ac:chgData name="Mariam Daniela Tristancho Pineda (PTA SAS)" userId="a45a17f7-7950-4cb5-bfab-f5c894f959a9" providerId="ADAL" clId="{643645D5-A03F-43D9-8A33-817EA1ECC2BF}" dt="2020-10-16T15:23:28.265" v="247" actId="1076"/>
          <ac:spMkLst>
            <pc:docMk/>
            <pc:sldMk cId="838099151" sldId="2134804292"/>
            <ac:spMk id="52" creationId="{2AD1363D-77A4-4B18-8087-0B267A4558ED}"/>
          </ac:spMkLst>
        </pc:spChg>
        <pc:spChg chg="del">
          <ac:chgData name="Mariam Daniela Tristancho Pineda (PTA SAS)" userId="a45a17f7-7950-4cb5-bfab-f5c894f959a9" providerId="ADAL" clId="{643645D5-A03F-43D9-8A33-817EA1ECC2BF}" dt="2020-10-16T15:18:58.637" v="171" actId="478"/>
          <ac:spMkLst>
            <pc:docMk/>
            <pc:sldMk cId="838099151" sldId="2134804292"/>
            <ac:spMk id="53" creationId="{F9C857D3-C5F6-4D00-8D9C-646D1DA60918}"/>
          </ac:spMkLst>
        </pc:spChg>
        <pc:spChg chg="mod">
          <ac:chgData name="Mariam Daniela Tristancho Pineda (PTA SAS)" userId="a45a17f7-7950-4cb5-bfab-f5c894f959a9" providerId="ADAL" clId="{643645D5-A03F-43D9-8A33-817EA1ECC2BF}" dt="2020-10-16T15:23:31.785" v="248" actId="1076"/>
          <ac:spMkLst>
            <pc:docMk/>
            <pc:sldMk cId="838099151" sldId="2134804292"/>
            <ac:spMk id="56" creationId="{4F0BB8E1-0E03-4A52-9BB1-7AC2ED86FFBE}"/>
          </ac:spMkLst>
        </pc:spChg>
        <pc:spChg chg="mod">
          <ac:chgData name="Mariam Daniela Tristancho Pineda (PTA SAS)" userId="a45a17f7-7950-4cb5-bfab-f5c894f959a9" providerId="ADAL" clId="{643645D5-A03F-43D9-8A33-817EA1ECC2BF}" dt="2020-10-16T15:23:34.608" v="249" actId="1076"/>
          <ac:spMkLst>
            <pc:docMk/>
            <pc:sldMk cId="838099151" sldId="2134804292"/>
            <ac:spMk id="59" creationId="{97F69600-5EC2-415F-899E-3158E1DD0E4E}"/>
          </ac:spMkLst>
        </pc:spChg>
        <pc:spChg chg="mod">
          <ac:chgData name="Mariam Daniela Tristancho Pineda (PTA SAS)" userId="a45a17f7-7950-4cb5-bfab-f5c894f959a9" providerId="ADAL" clId="{643645D5-A03F-43D9-8A33-817EA1ECC2BF}" dt="2020-10-16T15:22:51.173" v="239" actId="20577"/>
          <ac:spMkLst>
            <pc:docMk/>
            <pc:sldMk cId="838099151" sldId="2134804292"/>
            <ac:spMk id="68" creationId="{1E9FFA51-5316-41A7-8371-6FF614BF6768}"/>
          </ac:spMkLst>
        </pc:spChg>
        <pc:spChg chg="mod">
          <ac:chgData name="Mariam Daniela Tristancho Pineda (PTA SAS)" userId="a45a17f7-7950-4cb5-bfab-f5c894f959a9" providerId="ADAL" clId="{643645D5-A03F-43D9-8A33-817EA1ECC2BF}" dt="2020-10-16T15:23:17.948" v="245" actId="1036"/>
          <ac:spMkLst>
            <pc:docMk/>
            <pc:sldMk cId="838099151" sldId="2134804292"/>
            <ac:spMk id="96" creationId="{7B02AB4C-AF68-4F54-A894-07E00267D5F8}"/>
          </ac:spMkLst>
        </pc:spChg>
        <pc:spChg chg="mod">
          <ac:chgData name="Mariam Daniela Tristancho Pineda (PTA SAS)" userId="a45a17f7-7950-4cb5-bfab-f5c894f959a9" providerId="ADAL" clId="{643645D5-A03F-43D9-8A33-817EA1ECC2BF}" dt="2020-10-16T15:23:21.449" v="246" actId="14100"/>
          <ac:spMkLst>
            <pc:docMk/>
            <pc:sldMk cId="838099151" sldId="2134804292"/>
            <ac:spMk id="98" creationId="{E063C35E-5F1D-47CE-B7FD-7A60EAA52B74}"/>
          </ac:spMkLst>
        </pc:spChg>
        <pc:spChg chg="mod">
          <ac:chgData name="Mariam Daniela Tristancho Pineda (PTA SAS)" userId="a45a17f7-7950-4cb5-bfab-f5c894f959a9" providerId="ADAL" clId="{643645D5-A03F-43D9-8A33-817EA1ECC2BF}" dt="2020-10-16T15:23:46.649" v="251" actId="20577"/>
          <ac:spMkLst>
            <pc:docMk/>
            <pc:sldMk cId="838099151" sldId="2134804292"/>
            <ac:spMk id="99" creationId="{90CC82AC-D82E-4F89-AC67-093894759099}"/>
          </ac:spMkLst>
        </pc:spChg>
        <pc:spChg chg="mod">
          <ac:chgData name="Mariam Daniela Tristancho Pineda (PTA SAS)" userId="a45a17f7-7950-4cb5-bfab-f5c894f959a9" providerId="ADAL" clId="{643645D5-A03F-43D9-8A33-817EA1ECC2BF}" dt="2020-10-16T15:20:07.023" v="201" actId="20577"/>
          <ac:spMkLst>
            <pc:docMk/>
            <pc:sldMk cId="838099151" sldId="2134804292"/>
            <ac:spMk id="102" creationId="{101F3273-AA10-47F1-9872-07AD50130DF5}"/>
          </ac:spMkLst>
        </pc:spChg>
        <pc:spChg chg="mod">
          <ac:chgData name="Mariam Daniela Tristancho Pineda (PTA SAS)" userId="a45a17f7-7950-4cb5-bfab-f5c894f959a9" providerId="ADAL" clId="{643645D5-A03F-43D9-8A33-817EA1ECC2BF}" dt="2020-10-16T15:23:17.948" v="245" actId="1036"/>
          <ac:spMkLst>
            <pc:docMk/>
            <pc:sldMk cId="838099151" sldId="2134804292"/>
            <ac:spMk id="118" creationId="{64EFC33F-DCB8-4E12-BB79-FF971CD49817}"/>
          </ac:spMkLst>
        </pc:spChg>
        <pc:spChg chg="mod">
          <ac:chgData name="Mariam Daniela Tristancho Pineda (PTA SAS)" userId="a45a17f7-7950-4cb5-bfab-f5c894f959a9" providerId="ADAL" clId="{643645D5-A03F-43D9-8A33-817EA1ECC2BF}" dt="2020-10-16T15:23:17.948" v="245" actId="1036"/>
          <ac:spMkLst>
            <pc:docMk/>
            <pc:sldMk cId="838099151" sldId="2134804292"/>
            <ac:spMk id="119" creationId="{40F388FF-A98F-46DD-AEF0-8BF6E1D359D0}"/>
          </ac:spMkLst>
        </pc:spChg>
        <pc:spChg chg="mod">
          <ac:chgData name="Mariam Daniela Tristancho Pineda (PTA SAS)" userId="a45a17f7-7950-4cb5-bfab-f5c894f959a9" providerId="ADAL" clId="{643645D5-A03F-43D9-8A33-817EA1ECC2BF}" dt="2020-10-16T15:23:17.948" v="245" actId="1036"/>
          <ac:spMkLst>
            <pc:docMk/>
            <pc:sldMk cId="838099151" sldId="2134804292"/>
            <ac:spMk id="120" creationId="{C7385631-F46B-4467-A200-320CE070B85F}"/>
          </ac:spMkLst>
        </pc:spChg>
      </pc:sldChg>
      <pc:sldChg chg="addSp delSp modSp add mod">
        <pc:chgData name="Mariam Daniela Tristancho Pineda (PTA SAS)" userId="a45a17f7-7950-4cb5-bfab-f5c894f959a9" providerId="ADAL" clId="{643645D5-A03F-43D9-8A33-817EA1ECC2BF}" dt="2020-10-16T15:27:43.224" v="359" actId="1076"/>
        <pc:sldMkLst>
          <pc:docMk/>
          <pc:sldMk cId="1822149763" sldId="2134804293"/>
        </pc:sldMkLst>
        <pc:spChg chg="add mod">
          <ac:chgData name="Mariam Daniela Tristancho Pineda (PTA SAS)" userId="a45a17f7-7950-4cb5-bfab-f5c894f959a9" providerId="ADAL" clId="{643645D5-A03F-43D9-8A33-817EA1ECC2BF}" dt="2020-10-16T15:27:39.233" v="358" actId="255"/>
          <ac:spMkLst>
            <pc:docMk/>
            <pc:sldMk cId="1822149763" sldId="2134804293"/>
            <ac:spMk id="3" creationId="{B2CC9CCD-C9DB-42E7-A6F6-250ECEA52ED5}"/>
          </ac:spMkLst>
        </pc:spChg>
        <pc:spChg chg="del">
          <ac:chgData name="Mariam Daniela Tristancho Pineda (PTA SAS)" userId="a45a17f7-7950-4cb5-bfab-f5c894f959a9" providerId="ADAL" clId="{643645D5-A03F-43D9-8A33-817EA1ECC2BF}" dt="2020-10-16T15:26:29.488" v="313" actId="478"/>
          <ac:spMkLst>
            <pc:docMk/>
            <pc:sldMk cId="1822149763" sldId="2134804293"/>
            <ac:spMk id="4" creationId="{C47780CB-210E-480D-AF15-355BDC7F6E93}"/>
          </ac:spMkLst>
        </pc:spChg>
        <pc:spChg chg="mod">
          <ac:chgData name="Mariam Daniela Tristancho Pineda (PTA SAS)" userId="a45a17f7-7950-4cb5-bfab-f5c894f959a9" providerId="ADAL" clId="{643645D5-A03F-43D9-8A33-817EA1ECC2BF}" dt="2020-10-16T15:27:43.224" v="359" actId="1076"/>
          <ac:spMkLst>
            <pc:docMk/>
            <pc:sldMk cId="1822149763" sldId="2134804293"/>
            <ac:spMk id="5" creationId="{60144380-CBE4-4263-86E5-F4A7E5CEC0BB}"/>
          </ac:spMkLst>
        </pc:spChg>
        <pc:spChg chg="mod">
          <ac:chgData name="Mariam Daniela Tristancho Pineda (PTA SAS)" userId="a45a17f7-7950-4cb5-bfab-f5c894f959a9" providerId="ADAL" clId="{643645D5-A03F-43D9-8A33-817EA1ECC2BF}" dt="2020-10-16T15:27:03.055" v="350" actId="403"/>
          <ac:spMkLst>
            <pc:docMk/>
            <pc:sldMk cId="1822149763" sldId="2134804293"/>
            <ac:spMk id="6" creationId="{935E60B3-FFBE-4EF9-967C-09104A4E6C2E}"/>
          </ac:spMkLst>
        </pc:spChg>
        <pc:spChg chg="mod">
          <ac:chgData name="Mariam Daniela Tristancho Pineda (PTA SAS)" userId="a45a17f7-7950-4cb5-bfab-f5c894f959a9" providerId="ADAL" clId="{643645D5-A03F-43D9-8A33-817EA1ECC2BF}" dt="2020-10-16T15:26:58.536" v="349" actId="403"/>
          <ac:spMkLst>
            <pc:docMk/>
            <pc:sldMk cId="1822149763" sldId="2134804293"/>
            <ac:spMk id="7" creationId="{49F21896-A687-4F29-8499-091C5F1FE377}"/>
          </ac:spMkLst>
        </pc:spChg>
        <pc:spChg chg="mod">
          <ac:chgData name="Mariam Daniela Tristancho Pineda (PTA SAS)" userId="a45a17f7-7950-4cb5-bfab-f5c894f959a9" providerId="ADAL" clId="{643645D5-A03F-43D9-8A33-817EA1ECC2BF}" dt="2020-10-16T15:27:03.055" v="350" actId="403"/>
          <ac:spMkLst>
            <pc:docMk/>
            <pc:sldMk cId="1822149763" sldId="2134804293"/>
            <ac:spMk id="8" creationId="{81A81C5F-F714-4D52-A962-FC37F5FDCEB1}"/>
          </ac:spMkLst>
        </pc:spChg>
        <pc:spChg chg="mod">
          <ac:chgData name="Mariam Daniela Tristancho Pineda (PTA SAS)" userId="a45a17f7-7950-4cb5-bfab-f5c894f959a9" providerId="ADAL" clId="{643645D5-A03F-43D9-8A33-817EA1ECC2BF}" dt="2020-10-16T15:26:58.536" v="349" actId="403"/>
          <ac:spMkLst>
            <pc:docMk/>
            <pc:sldMk cId="1822149763" sldId="2134804293"/>
            <ac:spMk id="9" creationId="{584AA256-4158-427B-9200-1F1C0296A486}"/>
          </ac:spMkLst>
        </pc:spChg>
        <pc:spChg chg="mod">
          <ac:chgData name="Mariam Daniela Tristancho Pineda (PTA SAS)" userId="a45a17f7-7950-4cb5-bfab-f5c894f959a9" providerId="ADAL" clId="{643645D5-A03F-43D9-8A33-817EA1ECC2BF}" dt="2020-10-16T15:27:03.055" v="350" actId="403"/>
          <ac:spMkLst>
            <pc:docMk/>
            <pc:sldMk cId="1822149763" sldId="2134804293"/>
            <ac:spMk id="10" creationId="{4EF69960-2302-4C37-B17A-2E116254781D}"/>
          </ac:spMkLst>
        </pc:spChg>
        <pc:spChg chg="mod">
          <ac:chgData name="Mariam Daniela Tristancho Pineda (PTA SAS)" userId="a45a17f7-7950-4cb5-bfab-f5c894f959a9" providerId="ADAL" clId="{643645D5-A03F-43D9-8A33-817EA1ECC2BF}" dt="2020-10-16T15:26:58.536" v="349" actId="403"/>
          <ac:spMkLst>
            <pc:docMk/>
            <pc:sldMk cId="1822149763" sldId="2134804293"/>
            <ac:spMk id="11" creationId="{BE3FDB33-82DE-49B7-85B7-9476B27F9C30}"/>
          </ac:spMkLst>
        </pc:spChg>
        <pc:spChg chg="mod">
          <ac:chgData name="Mariam Daniela Tristancho Pineda (PTA SAS)" userId="a45a17f7-7950-4cb5-bfab-f5c894f959a9" providerId="ADAL" clId="{643645D5-A03F-43D9-8A33-817EA1ECC2BF}" dt="2020-10-16T15:27:12.192" v="352" actId="1076"/>
          <ac:spMkLst>
            <pc:docMk/>
            <pc:sldMk cId="1822149763" sldId="2134804293"/>
            <ac:spMk id="18" creationId="{B5FA47DF-667C-4E6C-9D12-E5E5CEA490D8}"/>
          </ac:spMkLst>
        </pc:spChg>
        <pc:picChg chg="mod">
          <ac:chgData name="Mariam Daniela Tristancho Pineda (PTA SAS)" userId="a45a17f7-7950-4cb5-bfab-f5c894f959a9" providerId="ADAL" clId="{643645D5-A03F-43D9-8A33-817EA1ECC2BF}" dt="2020-10-16T15:27:19.658" v="353" actId="14100"/>
          <ac:picMkLst>
            <pc:docMk/>
            <pc:sldMk cId="1822149763" sldId="2134804293"/>
            <ac:picMk id="19" creationId="{5D90D1B2-2CBD-4FED-8155-3C080DC03FC0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27:08.950" v="351" actId="1076"/>
          <ac:picMkLst>
            <pc:docMk/>
            <pc:sldMk cId="1822149763" sldId="2134804293"/>
            <ac:picMk id="21" creationId="{802D394E-E061-44FF-8816-DDC7B1B331B1}"/>
          </ac:picMkLst>
        </pc:picChg>
      </pc:sldChg>
      <pc:sldChg chg="add del">
        <pc:chgData name="Mariam Daniela Tristancho Pineda (PTA SAS)" userId="a45a17f7-7950-4cb5-bfab-f5c894f959a9" providerId="ADAL" clId="{643645D5-A03F-43D9-8A33-817EA1ECC2BF}" dt="2020-10-16T15:25:37.495" v="291" actId="47"/>
        <pc:sldMkLst>
          <pc:docMk/>
          <pc:sldMk cId="2857089145" sldId="2134804311"/>
        </pc:sldMkLst>
      </pc:sldChg>
      <pc:sldChg chg="addSp delSp modSp add mod">
        <pc:chgData name="Mariam Daniela Tristancho Pineda (PTA SAS)" userId="a45a17f7-7950-4cb5-bfab-f5c894f959a9" providerId="ADAL" clId="{643645D5-A03F-43D9-8A33-817EA1ECC2BF}" dt="2020-10-16T15:29:10.021" v="375" actId="207"/>
        <pc:sldMkLst>
          <pc:docMk/>
          <pc:sldMk cId="2442052892" sldId="2134804385"/>
        </pc:sldMkLst>
        <pc:spChg chg="add del mod">
          <ac:chgData name="Mariam Daniela Tristancho Pineda (PTA SAS)" userId="a45a17f7-7950-4cb5-bfab-f5c894f959a9" providerId="ADAL" clId="{643645D5-A03F-43D9-8A33-817EA1ECC2BF}" dt="2020-10-16T15:29:01.715" v="372" actId="478"/>
          <ac:spMkLst>
            <pc:docMk/>
            <pc:sldMk cId="2442052892" sldId="2134804385"/>
            <ac:spMk id="2" creationId="{74501559-3F2D-4F46-AC3E-42C908DFB7E1}"/>
          </ac:spMkLst>
        </pc:spChg>
        <pc:spChg chg="mod">
          <ac:chgData name="Mariam Daniela Tristancho Pineda (PTA SAS)" userId="a45a17f7-7950-4cb5-bfab-f5c894f959a9" providerId="ADAL" clId="{643645D5-A03F-43D9-8A33-817EA1ECC2BF}" dt="2020-10-16T15:16:30.978" v="165" actId="1076"/>
          <ac:spMkLst>
            <pc:docMk/>
            <pc:sldMk cId="2442052892" sldId="2134804385"/>
            <ac:spMk id="3" creationId="{F68A17DE-3ACC-4C72-8ED3-CE0F518FDBA1}"/>
          </ac:spMkLst>
        </pc:spChg>
        <pc:spChg chg="add mod">
          <ac:chgData name="Mariam Daniela Tristancho Pineda (PTA SAS)" userId="a45a17f7-7950-4cb5-bfab-f5c894f959a9" providerId="ADAL" clId="{643645D5-A03F-43D9-8A33-817EA1ECC2BF}" dt="2020-10-16T15:29:10.021" v="375" actId="207"/>
          <ac:spMkLst>
            <pc:docMk/>
            <pc:sldMk cId="2442052892" sldId="2134804385"/>
            <ac:spMk id="4" creationId="{4C93CE0B-EF45-478B-8DCA-C1E8740F7EF0}"/>
          </ac:spMkLst>
        </pc:spChg>
        <pc:picChg chg="mod">
          <ac:chgData name="Mariam Daniela Tristancho Pineda (PTA SAS)" userId="a45a17f7-7950-4cb5-bfab-f5c894f959a9" providerId="ADAL" clId="{643645D5-A03F-43D9-8A33-817EA1ECC2BF}" dt="2020-10-16T15:16:18.973" v="163" actId="1076"/>
          <ac:picMkLst>
            <pc:docMk/>
            <pc:sldMk cId="2442052892" sldId="2134804385"/>
            <ac:picMk id="11" creationId="{10789741-94CF-4122-8E3F-04D78FB6211E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27:58.316" v="370" actId="1036"/>
          <ac:picMkLst>
            <pc:docMk/>
            <pc:sldMk cId="2442052892" sldId="2134804385"/>
            <ac:picMk id="16" creationId="{0F43BEF8-56CE-4D0A-A3BC-3AD0FCE19BFF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27:58.316" v="370" actId="1036"/>
          <ac:picMkLst>
            <pc:docMk/>
            <pc:sldMk cId="2442052892" sldId="2134804385"/>
            <ac:picMk id="21" creationId="{926A4ABC-B403-41BD-B93A-8D5B4A44D5E9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16:15.748" v="162" actId="1076"/>
          <ac:picMkLst>
            <pc:docMk/>
            <pc:sldMk cId="2442052892" sldId="2134804385"/>
            <ac:picMk id="24" creationId="{52FFAAE8-1A98-4ABC-A0BB-5701A658FC9C}"/>
          </ac:picMkLst>
        </pc:picChg>
        <pc:cxnChg chg="mod">
          <ac:chgData name="Mariam Daniela Tristancho Pineda (PTA SAS)" userId="a45a17f7-7950-4cb5-bfab-f5c894f959a9" providerId="ADAL" clId="{643645D5-A03F-43D9-8A33-817EA1ECC2BF}" dt="2020-10-16T15:15:58.413" v="158" actId="1036"/>
          <ac:cxnSpMkLst>
            <pc:docMk/>
            <pc:sldMk cId="2442052892" sldId="2134804385"/>
            <ac:cxnSpMk id="9" creationId="{96370D2B-2C99-47FB-977A-1BACABA0448E}"/>
          </ac:cxnSpMkLst>
        </pc:cxnChg>
        <pc:cxnChg chg="mod">
          <ac:chgData name="Mariam Daniela Tristancho Pineda (PTA SAS)" userId="a45a17f7-7950-4cb5-bfab-f5c894f959a9" providerId="ADAL" clId="{643645D5-A03F-43D9-8A33-817EA1ECC2BF}" dt="2020-10-16T15:15:58.413" v="158" actId="1036"/>
          <ac:cxnSpMkLst>
            <pc:docMk/>
            <pc:sldMk cId="2442052892" sldId="2134804385"/>
            <ac:cxnSpMk id="17" creationId="{A57EE03D-AD0E-42FF-8004-ACF44D511717}"/>
          </ac:cxnSpMkLst>
        </pc:cxnChg>
      </pc:sldChg>
      <pc:sldChg chg="del">
        <pc:chgData name="Mariam Daniela Tristancho Pineda (PTA SAS)" userId="a45a17f7-7950-4cb5-bfab-f5c894f959a9" providerId="ADAL" clId="{643645D5-A03F-43D9-8A33-817EA1ECC2BF}" dt="2020-10-16T15:15:51.466" v="144" actId="47"/>
        <pc:sldMkLst>
          <pc:docMk/>
          <pc:sldMk cId="3371544068" sldId="2134804419"/>
        </pc:sldMkLst>
      </pc:sldChg>
      <pc:sldChg chg="addSp delSp modSp mod">
        <pc:chgData name="Mariam Daniela Tristancho Pineda (PTA SAS)" userId="a45a17f7-7950-4cb5-bfab-f5c894f959a9" providerId="ADAL" clId="{643645D5-A03F-43D9-8A33-817EA1ECC2BF}" dt="2020-10-16T15:10:04.726" v="89" actId="14100"/>
        <pc:sldMkLst>
          <pc:docMk/>
          <pc:sldMk cId="1824368250" sldId="2134804430"/>
        </pc:sldMkLst>
        <pc:picChg chg="add mod">
          <ac:chgData name="Mariam Daniela Tristancho Pineda (PTA SAS)" userId="a45a17f7-7950-4cb5-bfab-f5c894f959a9" providerId="ADAL" clId="{643645D5-A03F-43D9-8A33-817EA1ECC2BF}" dt="2020-10-16T15:10:04.726" v="89" actId="14100"/>
          <ac:picMkLst>
            <pc:docMk/>
            <pc:sldMk cId="1824368250" sldId="2134804430"/>
            <ac:picMk id="3" creationId="{4E0DC0D8-EE90-46CF-B1EB-A222BC48C74F}"/>
          </ac:picMkLst>
        </pc:picChg>
        <pc:picChg chg="del">
          <ac:chgData name="Mariam Daniela Tristancho Pineda (PTA SAS)" userId="a45a17f7-7950-4cb5-bfab-f5c894f959a9" providerId="ADAL" clId="{643645D5-A03F-43D9-8A33-817EA1ECC2BF}" dt="2020-10-16T15:09:59.877" v="87" actId="478"/>
          <ac:picMkLst>
            <pc:docMk/>
            <pc:sldMk cId="1824368250" sldId="2134804430"/>
            <ac:picMk id="8" creationId="{692A4DBB-E488-4121-B0BE-564D6FD786EC}"/>
          </ac:picMkLst>
        </pc:picChg>
      </pc:sldChg>
      <pc:sldChg chg="modSp add del mod">
        <pc:chgData name="Mariam Daniela Tristancho Pineda (PTA SAS)" userId="a45a17f7-7950-4cb5-bfab-f5c894f959a9" providerId="ADAL" clId="{643645D5-A03F-43D9-8A33-817EA1ECC2BF}" dt="2020-10-16T15:27:44.785" v="360" actId="47"/>
        <pc:sldMkLst>
          <pc:docMk/>
          <pc:sldMk cId="3277803813" sldId="2134804432"/>
        </pc:sldMkLst>
        <pc:spChg chg="mod">
          <ac:chgData name="Mariam Daniela Tristancho Pineda (PTA SAS)" userId="a45a17f7-7950-4cb5-bfab-f5c894f959a9" providerId="ADAL" clId="{643645D5-A03F-43D9-8A33-817EA1ECC2BF}" dt="2020-10-16T15:26:00.382" v="309" actId="20577"/>
          <ac:spMkLst>
            <pc:docMk/>
            <pc:sldMk cId="3277803813" sldId="2134804432"/>
            <ac:spMk id="23" creationId="{572E8F32-09B5-4BDC-BD13-0C6674C402CF}"/>
          </ac:spMkLst>
        </pc:spChg>
      </pc:sldChg>
      <pc:sldChg chg="addSp delSp mod">
        <pc:chgData name="Mariam Daniela Tristancho Pineda (PTA SAS)" userId="a45a17f7-7950-4cb5-bfab-f5c894f959a9" providerId="ADAL" clId="{643645D5-A03F-43D9-8A33-817EA1ECC2BF}" dt="2020-10-16T15:11:33.506" v="91" actId="22"/>
        <pc:sldMkLst>
          <pc:docMk/>
          <pc:sldMk cId="1658945044" sldId="2134804433"/>
        </pc:sldMkLst>
        <pc:picChg chg="add">
          <ac:chgData name="Mariam Daniela Tristancho Pineda (PTA SAS)" userId="a45a17f7-7950-4cb5-bfab-f5c894f959a9" providerId="ADAL" clId="{643645D5-A03F-43D9-8A33-817EA1ECC2BF}" dt="2020-10-16T15:11:33.506" v="91" actId="22"/>
          <ac:picMkLst>
            <pc:docMk/>
            <pc:sldMk cId="1658945044" sldId="2134804433"/>
            <ac:picMk id="3" creationId="{82DBCC50-9677-4C0F-8F91-CE8AF2C2076F}"/>
          </ac:picMkLst>
        </pc:picChg>
        <pc:picChg chg="del">
          <ac:chgData name="Mariam Daniela Tristancho Pineda (PTA SAS)" userId="a45a17f7-7950-4cb5-bfab-f5c894f959a9" providerId="ADAL" clId="{643645D5-A03F-43D9-8A33-817EA1ECC2BF}" dt="2020-10-16T15:11:32.891" v="90" actId="478"/>
          <ac:picMkLst>
            <pc:docMk/>
            <pc:sldMk cId="1658945044" sldId="2134804433"/>
            <ac:picMk id="4" creationId="{058B1686-9675-42BF-B579-6B5C03342D21}"/>
          </ac:picMkLst>
        </pc:picChg>
      </pc:sldChg>
      <pc:sldChg chg="addSp delSp modSp mod">
        <pc:chgData name="Mariam Daniela Tristancho Pineda (PTA SAS)" userId="a45a17f7-7950-4cb5-bfab-f5c894f959a9" providerId="ADAL" clId="{643645D5-A03F-43D9-8A33-817EA1ECC2BF}" dt="2020-10-16T15:12:13.485" v="95" actId="14100"/>
        <pc:sldMkLst>
          <pc:docMk/>
          <pc:sldMk cId="3766831251" sldId="2134804434"/>
        </pc:sldMkLst>
        <pc:picChg chg="add mod modCrop">
          <ac:chgData name="Mariam Daniela Tristancho Pineda (PTA SAS)" userId="a45a17f7-7950-4cb5-bfab-f5c894f959a9" providerId="ADAL" clId="{643645D5-A03F-43D9-8A33-817EA1ECC2BF}" dt="2020-10-16T15:12:13.485" v="95" actId="14100"/>
          <ac:picMkLst>
            <pc:docMk/>
            <pc:sldMk cId="3766831251" sldId="2134804434"/>
            <ac:picMk id="3" creationId="{301F4E9D-AF80-407A-857F-32DDC94021EF}"/>
          </ac:picMkLst>
        </pc:picChg>
        <pc:picChg chg="del">
          <ac:chgData name="Mariam Daniela Tristancho Pineda (PTA SAS)" userId="a45a17f7-7950-4cb5-bfab-f5c894f959a9" providerId="ADAL" clId="{643645D5-A03F-43D9-8A33-817EA1ECC2BF}" dt="2020-10-16T15:11:37.344" v="92" actId="478"/>
          <ac:picMkLst>
            <pc:docMk/>
            <pc:sldMk cId="3766831251" sldId="2134804434"/>
            <ac:picMk id="4" creationId="{D83E5857-92EB-41F1-A695-84928D9D7926}"/>
          </ac:picMkLst>
        </pc:picChg>
      </pc:sldChg>
      <pc:sldChg chg="addSp delSp modSp mod delAnim modAnim">
        <pc:chgData name="Mariam Daniela Tristancho Pineda (PTA SAS)" userId="a45a17f7-7950-4cb5-bfab-f5c894f959a9" providerId="ADAL" clId="{643645D5-A03F-43D9-8A33-817EA1ECC2BF}" dt="2020-10-16T19:03:54.469" v="685"/>
        <pc:sldMkLst>
          <pc:docMk/>
          <pc:sldMk cId="459037398" sldId="2134804438"/>
        </pc:sldMkLst>
        <pc:picChg chg="del">
          <ac:chgData name="Mariam Daniela Tristancho Pineda (PTA SAS)" userId="a45a17f7-7950-4cb5-bfab-f5c894f959a9" providerId="ADAL" clId="{643645D5-A03F-43D9-8A33-817EA1ECC2BF}" dt="2020-10-16T19:03:46.501" v="684" actId="478"/>
          <ac:picMkLst>
            <pc:docMk/>
            <pc:sldMk cId="459037398" sldId="2134804438"/>
            <ac:picMk id="3" creationId="{DB083840-BD0B-4E5D-B9C8-3535B3AAB685}"/>
          </ac:picMkLst>
        </pc:picChg>
        <pc:picChg chg="add mod">
          <ac:chgData name="Mariam Daniela Tristancho Pineda (PTA SAS)" userId="a45a17f7-7950-4cb5-bfab-f5c894f959a9" providerId="ADAL" clId="{643645D5-A03F-43D9-8A33-817EA1ECC2BF}" dt="2020-10-16T19:03:54.469" v="685"/>
          <ac:picMkLst>
            <pc:docMk/>
            <pc:sldMk cId="459037398" sldId="2134804438"/>
            <ac:picMk id="4" creationId="{70371C8E-53B3-426B-95BC-2A4DC84527D9}"/>
          </ac:picMkLst>
        </pc:picChg>
      </pc:sldChg>
      <pc:sldChg chg="addSp modSp mod">
        <pc:chgData name="Mariam Daniela Tristancho Pineda (PTA SAS)" userId="a45a17f7-7950-4cb5-bfab-f5c894f959a9" providerId="ADAL" clId="{643645D5-A03F-43D9-8A33-817EA1ECC2BF}" dt="2020-10-16T15:40:05.976" v="683" actId="1076"/>
        <pc:sldMkLst>
          <pc:docMk/>
          <pc:sldMk cId="3539712875" sldId="2134804439"/>
        </pc:sldMkLst>
        <pc:spChg chg="add mod">
          <ac:chgData name="Mariam Daniela Tristancho Pineda (PTA SAS)" userId="a45a17f7-7950-4cb5-bfab-f5c894f959a9" providerId="ADAL" clId="{643645D5-A03F-43D9-8A33-817EA1ECC2BF}" dt="2020-10-16T15:37:19.091" v="678" actId="20577"/>
          <ac:spMkLst>
            <pc:docMk/>
            <pc:sldMk cId="3539712875" sldId="2134804439"/>
            <ac:spMk id="3" creationId="{00670338-F389-4E18-AB5A-894D7F0665BB}"/>
          </ac:spMkLst>
        </pc:spChg>
        <pc:spChg chg="mod">
          <ac:chgData name="Mariam Daniela Tristancho Pineda (PTA SAS)" userId="a45a17f7-7950-4cb5-bfab-f5c894f959a9" providerId="ADAL" clId="{643645D5-A03F-43D9-8A33-817EA1ECC2BF}" dt="2020-10-16T15:37:11.031" v="672" actId="1076"/>
          <ac:spMkLst>
            <pc:docMk/>
            <pc:sldMk cId="3539712875" sldId="2134804439"/>
            <ac:spMk id="4" creationId="{CAAFEDC1-4B58-4913-A2A5-D711039A33B5}"/>
          </ac:spMkLst>
        </pc:spChg>
        <pc:spChg chg="mod">
          <ac:chgData name="Mariam Daniela Tristancho Pineda (PTA SAS)" userId="a45a17f7-7950-4cb5-bfab-f5c894f959a9" providerId="ADAL" clId="{643645D5-A03F-43D9-8A33-817EA1ECC2BF}" dt="2020-10-16T15:37:15.480" v="677" actId="1035"/>
          <ac:spMkLst>
            <pc:docMk/>
            <pc:sldMk cId="3539712875" sldId="2134804439"/>
            <ac:spMk id="6" creationId="{58799CC0-6873-4D0B-983C-048852038A37}"/>
          </ac:spMkLst>
        </pc:spChg>
        <pc:spChg chg="mod">
          <ac:chgData name="Mariam Daniela Tristancho Pineda (PTA SAS)" userId="a45a17f7-7950-4cb5-bfab-f5c894f959a9" providerId="ADAL" clId="{643645D5-A03F-43D9-8A33-817EA1ECC2BF}" dt="2020-10-16T15:37:15.480" v="677" actId="1035"/>
          <ac:spMkLst>
            <pc:docMk/>
            <pc:sldMk cId="3539712875" sldId="2134804439"/>
            <ac:spMk id="8" creationId="{6265FC2E-2616-458D-8F45-C7281CBBB60B}"/>
          </ac:spMkLst>
        </pc:spChg>
        <pc:spChg chg="mod">
          <ac:chgData name="Mariam Daniela Tristancho Pineda (PTA SAS)" userId="a45a17f7-7950-4cb5-bfab-f5c894f959a9" providerId="ADAL" clId="{643645D5-A03F-43D9-8A33-817EA1ECC2BF}" dt="2020-10-16T15:37:15.480" v="677" actId="1035"/>
          <ac:spMkLst>
            <pc:docMk/>
            <pc:sldMk cId="3539712875" sldId="2134804439"/>
            <ac:spMk id="10" creationId="{9E8D26C4-10B6-4A63-81EA-2EC8E1697D7A}"/>
          </ac:spMkLst>
        </pc:spChg>
        <pc:picChg chg="add mod">
          <ac:chgData name="Mariam Daniela Tristancho Pineda (PTA SAS)" userId="a45a17f7-7950-4cb5-bfab-f5c894f959a9" providerId="ADAL" clId="{643645D5-A03F-43D9-8A33-817EA1ECC2BF}" dt="2020-10-16T15:40:05.976" v="683" actId="1076"/>
          <ac:picMkLst>
            <pc:docMk/>
            <pc:sldMk cId="3539712875" sldId="2134804439"/>
            <ac:picMk id="7" creationId="{6C1F68B0-0CBD-4E2B-A2F0-2ECF985E3767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37:15.480" v="677" actId="1035"/>
          <ac:picMkLst>
            <pc:docMk/>
            <pc:sldMk cId="3539712875" sldId="2134804439"/>
            <ac:picMk id="12" creationId="{CF63326B-3540-4D2D-BAC8-E76D4EDF8B62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37:15.480" v="677" actId="1035"/>
          <ac:picMkLst>
            <pc:docMk/>
            <pc:sldMk cId="3539712875" sldId="2134804439"/>
            <ac:picMk id="14" creationId="{4B2B16C1-B03A-447A-B036-46010E4CBFC2}"/>
          </ac:picMkLst>
        </pc:picChg>
        <pc:picChg chg="mod">
          <ac:chgData name="Mariam Daniela Tristancho Pineda (PTA SAS)" userId="a45a17f7-7950-4cb5-bfab-f5c894f959a9" providerId="ADAL" clId="{643645D5-A03F-43D9-8A33-817EA1ECC2BF}" dt="2020-10-16T15:37:15.480" v="677" actId="1035"/>
          <ac:picMkLst>
            <pc:docMk/>
            <pc:sldMk cId="3539712875" sldId="2134804439"/>
            <ac:picMk id="16" creationId="{5A9EC01C-8F83-427F-91E3-7B8D3399493E}"/>
          </ac:picMkLst>
        </pc:picChg>
      </pc:sldChg>
      <pc:sldChg chg="addSp modSp new mod">
        <pc:chgData name="Mariam Daniela Tristancho Pineda (PTA SAS)" userId="a45a17f7-7950-4cb5-bfab-f5c894f959a9" providerId="ADAL" clId="{643645D5-A03F-43D9-8A33-817EA1ECC2BF}" dt="2020-10-19T13:36:06.008" v="699" actId="14100"/>
        <pc:sldMkLst>
          <pc:docMk/>
          <pc:sldMk cId="1052353845" sldId="2134804440"/>
        </pc:sldMkLst>
        <pc:picChg chg="add mod modCrop">
          <ac:chgData name="Mariam Daniela Tristancho Pineda (PTA SAS)" userId="a45a17f7-7950-4cb5-bfab-f5c894f959a9" providerId="ADAL" clId="{643645D5-A03F-43D9-8A33-817EA1ECC2BF}" dt="2020-10-19T13:36:06.008" v="699" actId="14100"/>
          <ac:picMkLst>
            <pc:docMk/>
            <pc:sldMk cId="1052353845" sldId="2134804440"/>
            <ac:picMk id="3" creationId="{01635120-EA93-4C06-A497-18CC51F07731}"/>
          </ac:picMkLst>
        </pc:picChg>
      </pc:sldChg>
      <pc:sldChg chg="del">
        <pc:chgData name="Mariam Daniela Tristancho Pineda (PTA SAS)" userId="a45a17f7-7950-4cb5-bfab-f5c894f959a9" providerId="ADAL" clId="{643645D5-A03F-43D9-8A33-817EA1ECC2BF}" dt="2020-10-16T15:07:48.607" v="73" actId="47"/>
        <pc:sldMkLst>
          <pc:docMk/>
          <pc:sldMk cId="1999149945" sldId="2134804441"/>
        </pc:sldMkLst>
      </pc:sldChg>
      <pc:sldChg chg="del">
        <pc:chgData name="Mariam Daniela Tristancho Pineda (PTA SAS)" userId="a45a17f7-7950-4cb5-bfab-f5c894f959a9" providerId="ADAL" clId="{643645D5-A03F-43D9-8A33-817EA1ECC2BF}" dt="2020-10-16T15:08:00.109" v="75" actId="47"/>
        <pc:sldMkLst>
          <pc:docMk/>
          <pc:sldMk cId="2555619992" sldId="2134804442"/>
        </pc:sldMkLst>
      </pc:sldChg>
      <pc:sldChg chg="del">
        <pc:chgData name="Mariam Daniela Tristancho Pineda (PTA SAS)" userId="a45a17f7-7950-4cb5-bfab-f5c894f959a9" providerId="ADAL" clId="{643645D5-A03F-43D9-8A33-817EA1ECC2BF}" dt="2020-10-16T15:07:47.675" v="72" actId="47"/>
        <pc:sldMkLst>
          <pc:docMk/>
          <pc:sldMk cId="1812532839" sldId="2134804443"/>
        </pc:sldMkLst>
      </pc:sldChg>
      <pc:sldChg chg="del">
        <pc:chgData name="Mariam Daniela Tristancho Pineda (PTA SAS)" userId="a45a17f7-7950-4cb5-bfab-f5c894f959a9" providerId="ADAL" clId="{643645D5-A03F-43D9-8A33-817EA1ECC2BF}" dt="2020-10-16T15:12:25.680" v="97" actId="47"/>
        <pc:sldMkLst>
          <pc:docMk/>
          <pc:sldMk cId="3167452426" sldId="2134804444"/>
        </pc:sldMkLst>
      </pc:sldChg>
      <pc:sldChg chg="del">
        <pc:chgData name="Mariam Daniela Tristancho Pineda (PTA SAS)" userId="a45a17f7-7950-4cb5-bfab-f5c894f959a9" providerId="ADAL" clId="{643645D5-A03F-43D9-8A33-817EA1ECC2BF}" dt="2020-10-16T15:12:31.517" v="118" actId="47"/>
        <pc:sldMkLst>
          <pc:docMk/>
          <pc:sldMk cId="2831142137" sldId="2134804449"/>
        </pc:sldMkLst>
      </pc:sldChg>
      <pc:sldChg chg="del">
        <pc:chgData name="Mariam Daniela Tristancho Pineda (PTA SAS)" userId="a45a17f7-7950-4cb5-bfab-f5c894f959a9" providerId="ADAL" clId="{643645D5-A03F-43D9-8A33-817EA1ECC2BF}" dt="2020-10-16T15:12:29.807" v="113" actId="47"/>
        <pc:sldMkLst>
          <pc:docMk/>
          <pc:sldMk cId="772567127" sldId="2134804450"/>
        </pc:sldMkLst>
      </pc:sldChg>
      <pc:sldChg chg="del">
        <pc:chgData name="Mariam Daniela Tristancho Pineda (PTA SAS)" userId="a45a17f7-7950-4cb5-bfab-f5c894f959a9" providerId="ADAL" clId="{643645D5-A03F-43D9-8A33-817EA1ECC2BF}" dt="2020-10-16T15:12:28.567" v="106" actId="47"/>
        <pc:sldMkLst>
          <pc:docMk/>
          <pc:sldMk cId="1113101480" sldId="2134804452"/>
        </pc:sldMkLst>
      </pc:sldChg>
      <pc:sldChg chg="del">
        <pc:chgData name="Mariam Daniela Tristancho Pineda (PTA SAS)" userId="a45a17f7-7950-4cb5-bfab-f5c894f959a9" providerId="ADAL" clId="{643645D5-A03F-43D9-8A33-817EA1ECC2BF}" dt="2020-10-16T15:12:29.135" v="110" actId="47"/>
        <pc:sldMkLst>
          <pc:docMk/>
          <pc:sldMk cId="3817545952" sldId="2134804454"/>
        </pc:sldMkLst>
      </pc:sldChg>
      <pc:sldChg chg="del">
        <pc:chgData name="Mariam Daniela Tristancho Pineda (PTA SAS)" userId="a45a17f7-7950-4cb5-bfab-f5c894f959a9" providerId="ADAL" clId="{643645D5-A03F-43D9-8A33-817EA1ECC2BF}" dt="2020-10-16T15:12:26.146" v="98" actId="47"/>
        <pc:sldMkLst>
          <pc:docMk/>
          <pc:sldMk cId="1361857845" sldId="2134804455"/>
        </pc:sldMkLst>
      </pc:sldChg>
      <pc:sldChg chg="del">
        <pc:chgData name="Mariam Daniela Tristancho Pineda (PTA SAS)" userId="a45a17f7-7950-4cb5-bfab-f5c894f959a9" providerId="ADAL" clId="{643645D5-A03F-43D9-8A33-817EA1ECC2BF}" dt="2020-10-16T15:12:36.717" v="128" actId="47"/>
        <pc:sldMkLst>
          <pc:docMk/>
          <pc:sldMk cId="2714661680" sldId="2134804456"/>
        </pc:sldMkLst>
      </pc:sldChg>
      <pc:sldChg chg="del">
        <pc:chgData name="Mariam Daniela Tristancho Pineda (PTA SAS)" userId="a45a17f7-7950-4cb5-bfab-f5c894f959a9" providerId="ADAL" clId="{643645D5-A03F-43D9-8A33-817EA1ECC2BF}" dt="2020-10-16T15:12:26.552" v="100" actId="47"/>
        <pc:sldMkLst>
          <pc:docMk/>
          <pc:sldMk cId="745438417" sldId="2134804458"/>
        </pc:sldMkLst>
      </pc:sldChg>
      <pc:sldChg chg="del">
        <pc:chgData name="Mariam Daniela Tristancho Pineda (PTA SAS)" userId="a45a17f7-7950-4cb5-bfab-f5c894f959a9" providerId="ADAL" clId="{643645D5-A03F-43D9-8A33-817EA1ECC2BF}" dt="2020-10-16T15:12:26.349" v="99" actId="47"/>
        <pc:sldMkLst>
          <pc:docMk/>
          <pc:sldMk cId="1778061897" sldId="2134804459"/>
        </pc:sldMkLst>
      </pc:sldChg>
      <pc:sldChg chg="del">
        <pc:chgData name="Mariam Daniela Tristancho Pineda (PTA SAS)" userId="a45a17f7-7950-4cb5-bfab-f5c894f959a9" providerId="ADAL" clId="{643645D5-A03F-43D9-8A33-817EA1ECC2BF}" dt="2020-10-16T15:12:31.236" v="117" actId="47"/>
        <pc:sldMkLst>
          <pc:docMk/>
          <pc:sldMk cId="4094647489" sldId="2134804460"/>
        </pc:sldMkLst>
      </pc:sldChg>
      <pc:sldMasterChg chg="delSldLayout">
        <pc:chgData name="Mariam Daniela Tristancho Pineda (PTA SAS)" userId="a45a17f7-7950-4cb5-bfab-f5c894f959a9" providerId="ADAL" clId="{643645D5-A03F-43D9-8A33-817EA1ECC2BF}" dt="2020-10-19T12:49:20.139" v="687" actId="47"/>
        <pc:sldMasterMkLst>
          <pc:docMk/>
          <pc:sldMasterMk cId="2612954595" sldId="2147483660"/>
        </pc:sldMasterMkLst>
        <pc:sldLayoutChg chg="del">
          <pc:chgData name="Mariam Daniela Tristancho Pineda (PTA SAS)" userId="a45a17f7-7950-4cb5-bfab-f5c894f959a9" providerId="ADAL" clId="{643645D5-A03F-43D9-8A33-817EA1ECC2BF}" dt="2020-10-16T15:12:26.635" v="101" actId="47"/>
          <pc:sldLayoutMkLst>
            <pc:docMk/>
            <pc:sldMasterMk cId="2612954595" sldId="2147483660"/>
            <pc:sldLayoutMk cId="1751716336" sldId="2147483671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097" v="116" actId="47"/>
          <pc:sldLayoutMkLst>
            <pc:docMk/>
            <pc:sldMasterMk cId="2612954595" sldId="2147483660"/>
            <pc:sldLayoutMk cId="3099215004" sldId="2147483673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9T12:49:20.139" v="687" actId="47"/>
          <pc:sldLayoutMkLst>
            <pc:docMk/>
            <pc:sldMasterMk cId="2612954595" sldId="2147483660"/>
            <pc:sldLayoutMk cId="523107326" sldId="2147483674"/>
          </pc:sldLayoutMkLst>
        </pc:sldLayoutChg>
      </pc:sldMasterChg>
      <pc:sldMasterChg chg="del delSldLayout">
        <pc:chgData name="Mariam Daniela Tristancho Pineda (PTA SAS)" userId="a45a17f7-7950-4cb5-bfab-f5c894f959a9" providerId="ADAL" clId="{643645D5-A03F-43D9-8A33-817EA1ECC2BF}" dt="2020-10-16T15:12:31.236" v="117" actId="47"/>
        <pc:sldMasterMkLst>
          <pc:docMk/>
          <pc:sldMasterMk cId="3062671002" sldId="2147483675"/>
        </pc:sldMasterMkLst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3637963775" sldId="2147483676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400368891" sldId="2147483677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3432290871" sldId="2147483678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4248238582" sldId="2147483679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1885968030" sldId="2147483680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1216261104" sldId="2147483681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989966143" sldId="2147483682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3308906140" sldId="2147483683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3982173839" sldId="2147483684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1841891082" sldId="2147483685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2996807275" sldId="2147483686"/>
          </pc:sldLayoutMkLst>
        </pc:sldLayoutChg>
        <pc:sldLayoutChg chg="del">
          <pc:chgData name="Mariam Daniela Tristancho Pineda (PTA SAS)" userId="a45a17f7-7950-4cb5-bfab-f5c894f959a9" providerId="ADAL" clId="{643645D5-A03F-43D9-8A33-817EA1ECC2BF}" dt="2020-10-16T15:12:31.236" v="117" actId="47"/>
          <pc:sldLayoutMkLst>
            <pc:docMk/>
            <pc:sldMasterMk cId="3062671002" sldId="2147483675"/>
            <pc:sldLayoutMk cId="1418381375" sldId="2147483687"/>
          </pc:sldLayoutMkLst>
        </pc:sldLayoutChg>
      </pc:sldMasterChg>
    </pc:docChg>
  </pc:docChgLst>
  <pc:docChgLst>
    <pc:chgData name="Andrea Mogollon Nossa (CENIT)" userId="f6a3e592-cc27-4858-b185-ff86be206069" providerId="ADAL" clId="{7512AD08-729F-4631-AFF5-A13DAAFD1BEE}"/>
    <pc:docChg chg="undo custSel addSld delSld modSld sldOrd">
      <pc:chgData name="Andrea Mogollon Nossa (CENIT)" userId="f6a3e592-cc27-4858-b185-ff86be206069" providerId="ADAL" clId="{7512AD08-729F-4631-AFF5-A13DAAFD1BEE}" dt="2020-07-28T21:01:29.237" v="2854" actId="47"/>
      <pc:docMkLst>
        <pc:docMk/>
      </pc:docMkLst>
      <pc:sldChg chg="modSp mod">
        <pc:chgData name="Andrea Mogollon Nossa (CENIT)" userId="f6a3e592-cc27-4858-b185-ff86be206069" providerId="ADAL" clId="{7512AD08-729F-4631-AFF5-A13DAAFD1BEE}" dt="2020-07-28T20:01:24.726" v="2696" actId="20577"/>
        <pc:sldMkLst>
          <pc:docMk/>
          <pc:sldMk cId="692789810" sldId="2134804140"/>
        </pc:sldMkLst>
        <pc:spChg chg="mod">
          <ac:chgData name="Andrea Mogollon Nossa (CENIT)" userId="f6a3e592-cc27-4858-b185-ff86be206069" providerId="ADAL" clId="{7512AD08-729F-4631-AFF5-A13DAAFD1BEE}" dt="2020-07-28T20:01:24.726" v="2696" actId="20577"/>
          <ac:spMkLst>
            <pc:docMk/>
            <pc:sldMk cId="692789810" sldId="2134804140"/>
            <ac:spMk id="2" creationId="{6431BBCF-96E5-45A7-B7E5-D44090D06329}"/>
          </ac:spMkLst>
        </pc:spChg>
      </pc:sldChg>
      <pc:sldChg chg="modSp mod ord">
        <pc:chgData name="Andrea Mogollon Nossa (CENIT)" userId="f6a3e592-cc27-4858-b185-ff86be206069" providerId="ADAL" clId="{7512AD08-729F-4631-AFF5-A13DAAFD1BEE}" dt="2020-07-28T19:36:22.356" v="1587" actId="20577"/>
        <pc:sldMkLst>
          <pc:docMk/>
          <pc:sldMk cId="1245803374" sldId="2134804241"/>
        </pc:sldMkLst>
        <pc:spChg chg="mod">
          <ac:chgData name="Andrea Mogollon Nossa (CENIT)" userId="f6a3e592-cc27-4858-b185-ff86be206069" providerId="ADAL" clId="{7512AD08-729F-4631-AFF5-A13DAAFD1BEE}" dt="2020-07-28T19:36:22.356" v="1587" actId="20577"/>
          <ac:spMkLst>
            <pc:docMk/>
            <pc:sldMk cId="1245803374" sldId="2134804241"/>
            <ac:spMk id="2" creationId="{6431BBCF-96E5-45A7-B7E5-D44090D06329}"/>
          </ac:spMkLst>
        </pc:spChg>
      </pc:sldChg>
      <pc:sldChg chg="modSp mod ord">
        <pc:chgData name="Andrea Mogollon Nossa (CENIT)" userId="f6a3e592-cc27-4858-b185-ff86be206069" providerId="ADAL" clId="{7512AD08-729F-4631-AFF5-A13DAAFD1BEE}" dt="2020-07-28T19:36:43.031" v="1588" actId="1076"/>
        <pc:sldMkLst>
          <pc:docMk/>
          <pc:sldMk cId="4180204205" sldId="2134804244"/>
        </pc:sldMkLst>
        <pc:spChg chg="mod">
          <ac:chgData name="Andrea Mogollon Nossa (CENIT)" userId="f6a3e592-cc27-4858-b185-ff86be206069" providerId="ADAL" clId="{7512AD08-729F-4631-AFF5-A13DAAFD1BEE}" dt="2020-07-28T19:36:43.031" v="1588" actId="1076"/>
          <ac:spMkLst>
            <pc:docMk/>
            <pc:sldMk cId="4180204205" sldId="2134804244"/>
            <ac:spMk id="9" creationId="{67D111AC-8EEF-4E52-9E92-29F403327CDF}"/>
          </ac:spMkLst>
        </pc:spChg>
      </pc:sldChg>
      <pc:sldChg chg="modSp mod ord">
        <pc:chgData name="Andrea Mogollon Nossa (CENIT)" userId="f6a3e592-cc27-4858-b185-ff86be206069" providerId="ADAL" clId="{7512AD08-729F-4631-AFF5-A13DAAFD1BEE}" dt="2020-07-28T19:35:28.854" v="1585" actId="20577"/>
        <pc:sldMkLst>
          <pc:docMk/>
          <pc:sldMk cId="1980531121" sldId="2134804273"/>
        </pc:sldMkLst>
        <pc:spChg chg="mod">
          <ac:chgData name="Andrea Mogollon Nossa (CENIT)" userId="f6a3e592-cc27-4858-b185-ff86be206069" providerId="ADAL" clId="{7512AD08-729F-4631-AFF5-A13DAAFD1BEE}" dt="2020-07-28T19:35:28.854" v="1585" actId="20577"/>
          <ac:spMkLst>
            <pc:docMk/>
            <pc:sldMk cId="1980531121" sldId="2134804273"/>
            <ac:spMk id="2" creationId="{6431BBCF-96E5-45A7-B7E5-D44090D06329}"/>
          </ac:spMkLst>
        </pc:spChg>
      </pc:sldChg>
      <pc:sldChg chg="addSp modSp mod ord">
        <pc:chgData name="Andrea Mogollon Nossa (CENIT)" userId="f6a3e592-cc27-4858-b185-ff86be206069" providerId="ADAL" clId="{7512AD08-729F-4631-AFF5-A13DAAFD1BEE}" dt="2020-07-28T19:31:57.832" v="1577" actId="20577"/>
        <pc:sldMkLst>
          <pc:docMk/>
          <pc:sldMk cId="2406967117" sldId="2134804274"/>
        </pc:sldMkLst>
        <pc:spChg chg="mod">
          <ac:chgData name="Andrea Mogollon Nossa (CENIT)" userId="f6a3e592-cc27-4858-b185-ff86be206069" providerId="ADAL" clId="{7512AD08-729F-4631-AFF5-A13DAAFD1BEE}" dt="2020-07-28T19:31:40.313" v="1571" actId="1076"/>
          <ac:spMkLst>
            <pc:docMk/>
            <pc:sldMk cId="2406967117" sldId="2134804274"/>
            <ac:spMk id="2" creationId="{6431BBCF-96E5-45A7-B7E5-D44090D06329}"/>
          </ac:spMkLst>
        </pc:spChg>
        <pc:spChg chg="add mod">
          <ac:chgData name="Andrea Mogollon Nossa (CENIT)" userId="f6a3e592-cc27-4858-b185-ff86be206069" providerId="ADAL" clId="{7512AD08-729F-4631-AFF5-A13DAAFD1BEE}" dt="2020-07-28T19:31:57.832" v="1577" actId="20577"/>
          <ac:spMkLst>
            <pc:docMk/>
            <pc:sldMk cId="2406967117" sldId="2134804274"/>
            <ac:spMk id="5" creationId="{7F709B4B-3EDD-41FF-AEC5-E3B140C091B3}"/>
          </ac:spMkLst>
        </pc:spChg>
      </pc:sldChg>
      <pc:sldChg chg="ord">
        <pc:chgData name="Andrea Mogollon Nossa (CENIT)" userId="f6a3e592-cc27-4858-b185-ff86be206069" providerId="ADAL" clId="{7512AD08-729F-4631-AFF5-A13DAAFD1BEE}" dt="2020-07-28T19:27:45.610" v="1552"/>
        <pc:sldMkLst>
          <pc:docMk/>
          <pc:sldMk cId="383958496" sldId="2134804281"/>
        </pc:sldMkLst>
      </pc:sldChg>
      <pc:sldChg chg="ord">
        <pc:chgData name="Andrea Mogollon Nossa (CENIT)" userId="f6a3e592-cc27-4858-b185-ff86be206069" providerId="ADAL" clId="{7512AD08-729F-4631-AFF5-A13DAAFD1BEE}" dt="2020-07-28T19:28:23.204" v="1554"/>
        <pc:sldMkLst>
          <pc:docMk/>
          <pc:sldMk cId="2275827461" sldId="2134804285"/>
        </pc:sldMkLst>
      </pc:sldChg>
      <pc:sldChg chg="ord">
        <pc:chgData name="Andrea Mogollon Nossa (CENIT)" userId="f6a3e592-cc27-4858-b185-ff86be206069" providerId="ADAL" clId="{7512AD08-729F-4631-AFF5-A13DAAFD1BEE}" dt="2020-07-28T19:26:28.044" v="1545"/>
        <pc:sldMkLst>
          <pc:docMk/>
          <pc:sldMk cId="838099151" sldId="2134804292"/>
        </pc:sldMkLst>
      </pc:sldChg>
      <pc:sldChg chg="ord">
        <pc:chgData name="Andrea Mogollon Nossa (CENIT)" userId="f6a3e592-cc27-4858-b185-ff86be206069" providerId="ADAL" clId="{7512AD08-729F-4631-AFF5-A13DAAFD1BEE}" dt="2020-07-28T19:28:23.204" v="1554"/>
        <pc:sldMkLst>
          <pc:docMk/>
          <pc:sldMk cId="1822149763" sldId="2134804293"/>
        </pc:sldMkLst>
      </pc:sldChg>
      <pc:sldChg chg="delSp modSp mod ord">
        <pc:chgData name="Andrea Mogollon Nossa (CENIT)" userId="f6a3e592-cc27-4858-b185-ff86be206069" providerId="ADAL" clId="{7512AD08-729F-4631-AFF5-A13DAAFD1BEE}" dt="2020-07-28T20:00:02.889" v="2624" actId="790"/>
        <pc:sldMkLst>
          <pc:docMk/>
          <pc:sldMk cId="2197550008" sldId="2134804299"/>
        </pc:sldMkLst>
        <pc:spChg chg="del">
          <ac:chgData name="Andrea Mogollon Nossa (CENIT)" userId="f6a3e592-cc27-4858-b185-ff86be206069" providerId="ADAL" clId="{7512AD08-729F-4631-AFF5-A13DAAFD1BEE}" dt="2020-07-28T19:41:51.993" v="1860" actId="478"/>
          <ac:spMkLst>
            <pc:docMk/>
            <pc:sldMk cId="2197550008" sldId="2134804299"/>
            <ac:spMk id="13" creationId="{0C105355-B353-4974-AE3C-CAE77E3666F4}"/>
          </ac:spMkLst>
        </pc:spChg>
        <pc:spChg chg="mod">
          <ac:chgData name="Andrea Mogollon Nossa (CENIT)" userId="f6a3e592-cc27-4858-b185-ff86be206069" providerId="ADAL" clId="{7512AD08-729F-4631-AFF5-A13DAAFD1BEE}" dt="2020-07-28T19:49:02.414" v="2314" actId="20577"/>
          <ac:spMkLst>
            <pc:docMk/>
            <pc:sldMk cId="2197550008" sldId="2134804299"/>
            <ac:spMk id="55" creationId="{804531EE-B071-4214-9182-DEDD9B20B6A6}"/>
          </ac:spMkLst>
        </pc:spChg>
        <pc:spChg chg="mod">
          <ac:chgData name="Andrea Mogollon Nossa (CENIT)" userId="f6a3e592-cc27-4858-b185-ff86be206069" providerId="ADAL" clId="{7512AD08-729F-4631-AFF5-A13DAAFD1BEE}" dt="2020-07-28T19:46:49.385" v="2097" actId="20577"/>
          <ac:spMkLst>
            <pc:docMk/>
            <pc:sldMk cId="2197550008" sldId="2134804299"/>
            <ac:spMk id="56" creationId="{D31E7DE7-A7DC-4AA9-BB36-6C1C3B30A6A8}"/>
          </ac:spMkLst>
        </pc:spChg>
        <pc:spChg chg="mod">
          <ac:chgData name="Andrea Mogollon Nossa (CENIT)" userId="f6a3e592-cc27-4858-b185-ff86be206069" providerId="ADAL" clId="{7512AD08-729F-4631-AFF5-A13DAAFD1BEE}" dt="2020-07-28T20:00:02.889" v="2624" actId="790"/>
          <ac:spMkLst>
            <pc:docMk/>
            <pc:sldMk cId="2197550008" sldId="2134804299"/>
            <ac:spMk id="64" creationId="{0B241E27-0669-4644-94CA-0292F2D10DF6}"/>
          </ac:spMkLst>
        </pc:spChg>
        <pc:spChg chg="mod">
          <ac:chgData name="Andrea Mogollon Nossa (CENIT)" userId="f6a3e592-cc27-4858-b185-ff86be206069" providerId="ADAL" clId="{7512AD08-729F-4631-AFF5-A13DAAFD1BEE}" dt="2020-07-28T20:00:02.889" v="2624" actId="790"/>
          <ac:spMkLst>
            <pc:docMk/>
            <pc:sldMk cId="2197550008" sldId="2134804299"/>
            <ac:spMk id="65" creationId="{14BA1960-1B77-46A9-B4B9-CBCBDCFAF42D}"/>
          </ac:spMkLst>
        </pc:spChg>
        <pc:spChg chg="mod">
          <ac:chgData name="Andrea Mogollon Nossa (CENIT)" userId="f6a3e592-cc27-4858-b185-ff86be206069" providerId="ADAL" clId="{7512AD08-729F-4631-AFF5-A13DAAFD1BEE}" dt="2020-07-28T20:00:02.889" v="2624" actId="790"/>
          <ac:spMkLst>
            <pc:docMk/>
            <pc:sldMk cId="2197550008" sldId="2134804299"/>
            <ac:spMk id="66" creationId="{D85A4DF8-3044-4B8E-8B4E-A3482DC7BE48}"/>
          </ac:spMkLst>
        </pc:spChg>
        <pc:spChg chg="mod">
          <ac:chgData name="Andrea Mogollon Nossa (CENIT)" userId="f6a3e592-cc27-4858-b185-ff86be206069" providerId="ADAL" clId="{7512AD08-729F-4631-AFF5-A13DAAFD1BEE}" dt="2020-07-28T19:41:44.919" v="1859" actId="1076"/>
          <ac:spMkLst>
            <pc:docMk/>
            <pc:sldMk cId="2197550008" sldId="2134804299"/>
            <ac:spMk id="72" creationId="{2C1815BB-5DDB-4DA6-8220-F8F82216AB7C}"/>
          </ac:spMkLst>
        </pc:spChg>
        <pc:grpChg chg="mod">
          <ac:chgData name="Andrea Mogollon Nossa (CENIT)" userId="f6a3e592-cc27-4858-b185-ff86be206069" providerId="ADAL" clId="{7512AD08-729F-4631-AFF5-A13DAAFD1BEE}" dt="2020-07-28T19:49:15.271" v="2315" actId="1076"/>
          <ac:grpSpMkLst>
            <pc:docMk/>
            <pc:sldMk cId="2197550008" sldId="2134804299"/>
            <ac:grpSpMk id="4" creationId="{C2212130-341D-4E97-9373-753A16E80D5B}"/>
          </ac:grpSpMkLst>
        </pc:grpChg>
        <pc:grpChg chg="mod">
          <ac:chgData name="Andrea Mogollon Nossa (CENIT)" userId="f6a3e592-cc27-4858-b185-ff86be206069" providerId="ADAL" clId="{7512AD08-729F-4631-AFF5-A13DAAFD1BEE}" dt="2020-07-28T19:49:22.679" v="2316" actId="1076"/>
          <ac:grpSpMkLst>
            <pc:docMk/>
            <pc:sldMk cId="2197550008" sldId="2134804299"/>
            <ac:grpSpMk id="5" creationId="{956A1F1A-E405-4EF7-9417-042051623463}"/>
          </ac:grpSpMkLst>
        </pc:grpChg>
        <pc:grpChg chg="mod">
          <ac:chgData name="Andrea Mogollon Nossa (CENIT)" userId="f6a3e592-cc27-4858-b185-ff86be206069" providerId="ADAL" clId="{7512AD08-729F-4631-AFF5-A13DAAFD1BEE}" dt="2020-07-28T19:49:27.623" v="2317" actId="1076"/>
          <ac:grpSpMkLst>
            <pc:docMk/>
            <pc:sldMk cId="2197550008" sldId="2134804299"/>
            <ac:grpSpMk id="6" creationId="{E0631263-5920-456B-88C6-34F5F5D6A497}"/>
          </ac:grpSpMkLst>
        </pc:grpChg>
      </pc:sldChg>
      <pc:sldChg chg="ord">
        <pc:chgData name="Andrea Mogollon Nossa (CENIT)" userId="f6a3e592-cc27-4858-b185-ff86be206069" providerId="ADAL" clId="{7512AD08-729F-4631-AFF5-A13DAAFD1BEE}" dt="2020-07-28T19:40:26.086" v="1718"/>
        <pc:sldMkLst>
          <pc:docMk/>
          <pc:sldMk cId="1505401777" sldId="2134804310"/>
        </pc:sldMkLst>
      </pc:sldChg>
      <pc:sldChg chg="ord">
        <pc:chgData name="Andrea Mogollon Nossa (CENIT)" userId="f6a3e592-cc27-4858-b185-ff86be206069" providerId="ADAL" clId="{7512AD08-729F-4631-AFF5-A13DAAFD1BEE}" dt="2020-07-28T19:27:45.610" v="1552"/>
        <pc:sldMkLst>
          <pc:docMk/>
          <pc:sldMk cId="2857089145" sldId="2134804311"/>
        </pc:sldMkLst>
      </pc:sldChg>
      <pc:sldChg chg="addSp modSp mod ord">
        <pc:chgData name="Andrea Mogollon Nossa (CENIT)" userId="f6a3e592-cc27-4858-b185-ff86be206069" providerId="ADAL" clId="{7512AD08-729F-4631-AFF5-A13DAAFD1BEE}" dt="2020-07-28T19:35:11.889" v="1583" actId="1076"/>
        <pc:sldMkLst>
          <pc:docMk/>
          <pc:sldMk cId="1359201595" sldId="2134804313"/>
        </pc:sldMkLst>
        <pc:spChg chg="add mod">
          <ac:chgData name="Andrea Mogollon Nossa (CENIT)" userId="f6a3e592-cc27-4858-b185-ff86be206069" providerId="ADAL" clId="{7512AD08-729F-4631-AFF5-A13DAAFD1BEE}" dt="2020-07-28T19:35:11.889" v="1583" actId="1076"/>
          <ac:spMkLst>
            <pc:docMk/>
            <pc:sldMk cId="1359201595" sldId="2134804313"/>
            <ac:spMk id="15" creationId="{1C2ABFDB-C2F7-4E6A-8302-DE9F365D3965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19:20:29.360" v="1504" actId="20577"/>
        <pc:sldMkLst>
          <pc:docMk/>
          <pc:sldMk cId="1535562114" sldId="2134804316"/>
        </pc:sldMkLst>
        <pc:spChg chg="mod">
          <ac:chgData name="Andrea Mogollon Nossa (CENIT)" userId="f6a3e592-cc27-4858-b185-ff86be206069" providerId="ADAL" clId="{7512AD08-729F-4631-AFF5-A13DAAFD1BEE}" dt="2020-07-28T19:20:20.995" v="1502" actId="20577"/>
          <ac:spMkLst>
            <pc:docMk/>
            <pc:sldMk cId="1535562114" sldId="2134804316"/>
            <ac:spMk id="4" creationId="{9B0CE30D-625A-4CD9-98D4-3AF33243D194}"/>
          </ac:spMkLst>
        </pc:spChg>
        <pc:graphicFrameChg chg="modGraphic">
          <ac:chgData name="Andrea Mogollon Nossa (CENIT)" userId="f6a3e592-cc27-4858-b185-ff86be206069" providerId="ADAL" clId="{7512AD08-729F-4631-AFF5-A13DAAFD1BEE}" dt="2020-07-28T19:20:29.360" v="1504" actId="20577"/>
          <ac:graphicFrameMkLst>
            <pc:docMk/>
            <pc:sldMk cId="1535562114" sldId="2134804316"/>
            <ac:graphicFrameMk id="46" creationId="{0D626CD9-F4FF-45E4-88CE-52500C2C1600}"/>
          </ac:graphicFrameMkLst>
        </pc:graphicFrameChg>
      </pc:sldChg>
      <pc:sldChg chg="modSp mod modShow">
        <pc:chgData name="Andrea Mogollon Nossa (CENIT)" userId="f6a3e592-cc27-4858-b185-ff86be206069" providerId="ADAL" clId="{7512AD08-729F-4631-AFF5-A13DAAFD1BEE}" dt="2020-07-28T19:30:48.624" v="1560" actId="729"/>
        <pc:sldMkLst>
          <pc:docMk/>
          <pc:sldMk cId="0" sldId="2134804320"/>
        </pc:sldMkLst>
        <pc:spChg chg="mod">
          <ac:chgData name="Andrea Mogollon Nossa (CENIT)" userId="f6a3e592-cc27-4858-b185-ff86be206069" providerId="ADAL" clId="{7512AD08-729F-4631-AFF5-A13DAAFD1BEE}" dt="2020-07-28T15:08:42.821" v="1234" actId="20577"/>
          <ac:spMkLst>
            <pc:docMk/>
            <pc:sldMk cId="0" sldId="2134804320"/>
            <ac:spMk id="20" creationId="{8EDCB9EC-5CC6-4C88-ABEF-5A221B8F5238}"/>
          </ac:spMkLst>
        </pc:spChg>
        <pc:spChg chg="mod">
          <ac:chgData name="Andrea Mogollon Nossa (CENIT)" userId="f6a3e592-cc27-4858-b185-ff86be206069" providerId="ADAL" clId="{7512AD08-729F-4631-AFF5-A13DAAFD1BEE}" dt="2020-07-28T15:10:11.695" v="1237" actId="20577"/>
          <ac:spMkLst>
            <pc:docMk/>
            <pc:sldMk cId="0" sldId="2134804320"/>
            <ac:spMk id="30" creationId="{8D3DD9F5-AB4C-41FB-A836-8C039CCB0F58}"/>
          </ac:spMkLst>
        </pc:spChg>
      </pc:sldChg>
      <pc:sldChg chg="modSp mod ord">
        <pc:chgData name="Andrea Mogollon Nossa (CENIT)" userId="f6a3e592-cc27-4858-b185-ff86be206069" providerId="ADAL" clId="{7512AD08-729F-4631-AFF5-A13DAAFD1BEE}" dt="2020-07-28T19:33:51.823" v="1581" actId="20577"/>
        <pc:sldMkLst>
          <pc:docMk/>
          <pc:sldMk cId="1900142549" sldId="2134804321"/>
        </pc:sldMkLst>
        <pc:spChg chg="mod">
          <ac:chgData name="Andrea Mogollon Nossa (CENIT)" userId="f6a3e592-cc27-4858-b185-ff86be206069" providerId="ADAL" clId="{7512AD08-729F-4631-AFF5-A13DAAFD1BEE}" dt="2020-07-28T19:33:51.823" v="1581" actId="20577"/>
          <ac:spMkLst>
            <pc:docMk/>
            <pc:sldMk cId="1900142549" sldId="2134804321"/>
            <ac:spMk id="23" creationId="{2090C287-4A91-45B9-8277-A5A2EF2B34A0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19:31:33.310" v="1570" actId="20577"/>
        <pc:sldMkLst>
          <pc:docMk/>
          <pc:sldMk cId="2351433242" sldId="2134804322"/>
        </pc:sldMkLst>
        <pc:spChg chg="mod">
          <ac:chgData name="Andrea Mogollon Nossa (CENIT)" userId="f6a3e592-cc27-4858-b185-ff86be206069" providerId="ADAL" clId="{7512AD08-729F-4631-AFF5-A13DAAFD1BEE}" dt="2020-07-28T19:31:33.310" v="1570" actId="20577"/>
          <ac:spMkLst>
            <pc:docMk/>
            <pc:sldMk cId="2351433242" sldId="2134804322"/>
            <ac:spMk id="2" creationId="{6431BBCF-96E5-45A7-B7E5-D44090D06329}"/>
          </ac:spMkLst>
        </pc:spChg>
      </pc:sldChg>
      <pc:sldChg chg="ord">
        <pc:chgData name="Andrea Mogollon Nossa (CENIT)" userId="f6a3e592-cc27-4858-b185-ff86be206069" providerId="ADAL" clId="{7512AD08-729F-4631-AFF5-A13DAAFD1BEE}" dt="2020-07-28T19:40:26.086" v="1718"/>
        <pc:sldMkLst>
          <pc:docMk/>
          <pc:sldMk cId="237599856" sldId="2134804323"/>
        </pc:sldMkLst>
      </pc:sldChg>
      <pc:sldChg chg="addSp delSp modSp mod ord">
        <pc:chgData name="Andrea Mogollon Nossa (CENIT)" userId="f6a3e592-cc27-4858-b185-ff86be206069" providerId="ADAL" clId="{7512AD08-729F-4631-AFF5-A13DAAFD1BEE}" dt="2020-07-28T19:59:40.512" v="2623" actId="478"/>
        <pc:sldMkLst>
          <pc:docMk/>
          <pc:sldMk cId="2408337444" sldId="2134804326"/>
        </pc:sldMkLst>
        <pc:spChg chg="del">
          <ac:chgData name="Andrea Mogollon Nossa (CENIT)" userId="f6a3e592-cc27-4858-b185-ff86be206069" providerId="ADAL" clId="{7512AD08-729F-4631-AFF5-A13DAAFD1BEE}" dt="2020-07-28T15:33:54.657" v="1426" actId="478"/>
          <ac:spMkLst>
            <pc:docMk/>
            <pc:sldMk cId="2408337444" sldId="2134804326"/>
            <ac:spMk id="4" creationId="{9B0CE30D-625A-4CD9-98D4-3AF33243D194}"/>
          </ac:spMkLst>
        </pc:spChg>
        <pc:spChg chg="del">
          <ac:chgData name="Andrea Mogollon Nossa (CENIT)" userId="f6a3e592-cc27-4858-b185-ff86be206069" providerId="ADAL" clId="{7512AD08-729F-4631-AFF5-A13DAAFD1BEE}" dt="2020-07-28T19:59:37.571" v="2621" actId="478"/>
          <ac:spMkLst>
            <pc:docMk/>
            <pc:sldMk cId="2408337444" sldId="2134804326"/>
            <ac:spMk id="8" creationId="{B46B11CB-ECE9-4DC1-8D5A-3D4191E846CB}"/>
          </ac:spMkLst>
        </pc:spChg>
        <pc:spChg chg="del">
          <ac:chgData name="Andrea Mogollon Nossa (CENIT)" userId="f6a3e592-cc27-4858-b185-ff86be206069" providerId="ADAL" clId="{7512AD08-729F-4631-AFF5-A13DAAFD1BEE}" dt="2020-07-28T19:59:35.729" v="2620" actId="478"/>
          <ac:spMkLst>
            <pc:docMk/>
            <pc:sldMk cId="2408337444" sldId="2134804326"/>
            <ac:spMk id="9" creationId="{8108DFDE-B635-4D5C-BEB3-6C6B91F33414}"/>
          </ac:spMkLst>
        </pc:spChg>
        <pc:spChg chg="mod">
          <ac:chgData name="Andrea Mogollon Nossa (CENIT)" userId="f6a3e592-cc27-4858-b185-ff86be206069" providerId="ADAL" clId="{7512AD08-729F-4631-AFF5-A13DAAFD1BEE}" dt="2020-07-28T19:52:55.346" v="2363" actId="20577"/>
          <ac:spMkLst>
            <pc:docMk/>
            <pc:sldMk cId="2408337444" sldId="2134804326"/>
            <ac:spMk id="10" creationId="{810E18BD-2955-4DB2-AEDB-386E84418C6C}"/>
          </ac:spMkLst>
        </pc:spChg>
        <pc:spChg chg="del">
          <ac:chgData name="Andrea Mogollon Nossa (CENIT)" userId="f6a3e592-cc27-4858-b185-ff86be206069" providerId="ADAL" clId="{7512AD08-729F-4631-AFF5-A13DAAFD1BEE}" dt="2020-07-28T19:59:39.435" v="2622" actId="478"/>
          <ac:spMkLst>
            <pc:docMk/>
            <pc:sldMk cId="2408337444" sldId="2134804326"/>
            <ac:spMk id="11" creationId="{C00D8317-CDBE-463E-BBC1-98FBC7DF74D6}"/>
          </ac:spMkLst>
        </pc:spChg>
        <pc:spChg chg="del">
          <ac:chgData name="Andrea Mogollon Nossa (CENIT)" userId="f6a3e592-cc27-4858-b185-ff86be206069" providerId="ADAL" clId="{7512AD08-729F-4631-AFF5-A13DAAFD1BEE}" dt="2020-07-28T19:59:40.512" v="2623" actId="478"/>
          <ac:spMkLst>
            <pc:docMk/>
            <pc:sldMk cId="2408337444" sldId="2134804326"/>
            <ac:spMk id="13" creationId="{C9BF5F0A-B4B2-496C-A56A-E128A1D82393}"/>
          </ac:spMkLst>
        </pc:spChg>
        <pc:spChg chg="mod">
          <ac:chgData name="Andrea Mogollon Nossa (CENIT)" userId="f6a3e592-cc27-4858-b185-ff86be206069" providerId="ADAL" clId="{7512AD08-729F-4631-AFF5-A13DAAFD1BEE}" dt="2020-07-28T19:57:20.854" v="2410" actId="14100"/>
          <ac:spMkLst>
            <pc:docMk/>
            <pc:sldMk cId="2408337444" sldId="2134804326"/>
            <ac:spMk id="14" creationId="{EF03CAF6-DF53-4F57-8A93-EC5A4AD2CF09}"/>
          </ac:spMkLst>
        </pc:spChg>
        <pc:spChg chg="del mod">
          <ac:chgData name="Andrea Mogollon Nossa (CENIT)" userId="f6a3e592-cc27-4858-b185-ff86be206069" providerId="ADAL" clId="{7512AD08-729F-4631-AFF5-A13DAAFD1BEE}" dt="2020-07-28T19:50:25.233" v="2335" actId="478"/>
          <ac:spMkLst>
            <pc:docMk/>
            <pc:sldMk cId="2408337444" sldId="2134804326"/>
            <ac:spMk id="15" creationId="{2A6E3A58-0C9F-484B-9BBC-E5AE156B83E3}"/>
          </ac:spMkLst>
        </pc:spChg>
        <pc:spChg chg="del mod">
          <ac:chgData name="Andrea Mogollon Nossa (CENIT)" userId="f6a3e592-cc27-4858-b185-ff86be206069" providerId="ADAL" clId="{7512AD08-729F-4631-AFF5-A13DAAFD1BEE}" dt="2020-07-28T19:51:53.810" v="2343" actId="478"/>
          <ac:spMkLst>
            <pc:docMk/>
            <pc:sldMk cId="2408337444" sldId="2134804326"/>
            <ac:spMk id="33" creationId="{257A51C8-EB6E-4CAA-8ED7-3E4E7C0B3A8A}"/>
          </ac:spMkLst>
        </pc:spChg>
        <pc:spChg chg="del">
          <ac:chgData name="Andrea Mogollon Nossa (CENIT)" userId="f6a3e592-cc27-4858-b185-ff86be206069" providerId="ADAL" clId="{7512AD08-729F-4631-AFF5-A13DAAFD1BEE}" dt="2020-07-28T19:51:43.475" v="2339" actId="478"/>
          <ac:spMkLst>
            <pc:docMk/>
            <pc:sldMk cId="2408337444" sldId="2134804326"/>
            <ac:spMk id="36" creationId="{25CCB3F9-8A57-42B5-B0AC-56F5E0EDACF5}"/>
          </ac:spMkLst>
        </pc:spChg>
        <pc:spChg chg="del">
          <ac:chgData name="Andrea Mogollon Nossa (CENIT)" userId="f6a3e592-cc27-4858-b185-ff86be206069" providerId="ADAL" clId="{7512AD08-729F-4631-AFF5-A13DAAFD1BEE}" dt="2020-07-28T19:51:43.475" v="2339" actId="478"/>
          <ac:spMkLst>
            <pc:docMk/>
            <pc:sldMk cId="2408337444" sldId="2134804326"/>
            <ac:spMk id="37" creationId="{50BFBD21-058C-4134-A883-5F522F8B0B76}"/>
          </ac:spMkLst>
        </pc:spChg>
        <pc:spChg chg="mod">
          <ac:chgData name="Andrea Mogollon Nossa (CENIT)" userId="f6a3e592-cc27-4858-b185-ff86be206069" providerId="ADAL" clId="{7512AD08-729F-4631-AFF5-A13DAAFD1BEE}" dt="2020-07-28T19:52:31.086" v="2348" actId="1076"/>
          <ac:spMkLst>
            <pc:docMk/>
            <pc:sldMk cId="2408337444" sldId="2134804326"/>
            <ac:spMk id="38" creationId="{3552541D-17C8-4822-9A1D-90A0C0B5AD8E}"/>
          </ac:spMkLst>
        </pc:spChg>
        <pc:spChg chg="del">
          <ac:chgData name="Andrea Mogollon Nossa (CENIT)" userId="f6a3e592-cc27-4858-b185-ff86be206069" providerId="ADAL" clId="{7512AD08-729F-4631-AFF5-A13DAAFD1BEE}" dt="2020-07-28T19:51:43.475" v="2339" actId="478"/>
          <ac:spMkLst>
            <pc:docMk/>
            <pc:sldMk cId="2408337444" sldId="2134804326"/>
            <ac:spMk id="41" creationId="{F04142FF-DA42-4442-8692-4F397E7AEFE4}"/>
          </ac:spMkLst>
        </pc:spChg>
        <pc:spChg chg="mod">
          <ac:chgData name="Andrea Mogollon Nossa (CENIT)" userId="f6a3e592-cc27-4858-b185-ff86be206069" providerId="ADAL" clId="{7512AD08-729F-4631-AFF5-A13DAAFD1BEE}" dt="2020-07-28T19:53:33.351" v="2372" actId="1076"/>
          <ac:spMkLst>
            <pc:docMk/>
            <pc:sldMk cId="2408337444" sldId="2134804326"/>
            <ac:spMk id="44" creationId="{4B1A9C8A-FFC0-483B-B825-ED5EF0C388A9}"/>
          </ac:spMkLst>
        </pc:spChg>
        <pc:spChg chg="mod">
          <ac:chgData name="Andrea Mogollon Nossa (CENIT)" userId="f6a3e592-cc27-4858-b185-ff86be206069" providerId="ADAL" clId="{7512AD08-729F-4631-AFF5-A13DAAFD1BEE}" dt="2020-07-28T19:53:01.499" v="2368" actId="20577"/>
          <ac:spMkLst>
            <pc:docMk/>
            <pc:sldMk cId="2408337444" sldId="2134804326"/>
            <ac:spMk id="45" creationId="{8E8CD834-7B34-47C9-9BE7-09ECA14BFCEB}"/>
          </ac:spMkLst>
        </pc:spChg>
        <pc:spChg chg="add mod">
          <ac:chgData name="Andrea Mogollon Nossa (CENIT)" userId="f6a3e592-cc27-4858-b185-ff86be206069" providerId="ADAL" clId="{7512AD08-729F-4631-AFF5-A13DAAFD1BEE}" dt="2020-07-28T19:52:35.142" v="2349" actId="1076"/>
          <ac:spMkLst>
            <pc:docMk/>
            <pc:sldMk cId="2408337444" sldId="2134804326"/>
            <ac:spMk id="46" creationId="{E743D3A5-E06C-4DB9-B76D-A067CACA830E}"/>
          </ac:spMkLst>
        </pc:spChg>
        <pc:spChg chg="mod">
          <ac:chgData name="Andrea Mogollon Nossa (CENIT)" userId="f6a3e592-cc27-4858-b185-ff86be206069" providerId="ADAL" clId="{7512AD08-729F-4631-AFF5-A13DAAFD1BEE}" dt="2020-07-28T19:54:51.140" v="2389" actId="20577"/>
          <ac:spMkLst>
            <pc:docMk/>
            <pc:sldMk cId="2408337444" sldId="2134804326"/>
            <ac:spMk id="47" creationId="{137B0C4F-8471-4337-954D-6AECA53DF9C2}"/>
          </ac:spMkLst>
        </pc:spChg>
        <pc:spChg chg="add mod">
          <ac:chgData name="Andrea Mogollon Nossa (CENIT)" userId="f6a3e592-cc27-4858-b185-ff86be206069" providerId="ADAL" clId="{7512AD08-729F-4631-AFF5-A13DAAFD1BEE}" dt="2020-07-28T19:52:35.142" v="2349" actId="1076"/>
          <ac:spMkLst>
            <pc:docMk/>
            <pc:sldMk cId="2408337444" sldId="2134804326"/>
            <ac:spMk id="48" creationId="{960C4BFA-3B0A-4EEB-96F6-3783C5EECDB6}"/>
          </ac:spMkLst>
        </pc:spChg>
        <pc:spChg chg="add mod">
          <ac:chgData name="Andrea Mogollon Nossa (CENIT)" userId="f6a3e592-cc27-4858-b185-ff86be206069" providerId="ADAL" clId="{7512AD08-729F-4631-AFF5-A13DAAFD1BEE}" dt="2020-07-28T19:53:30.438" v="2371" actId="1076"/>
          <ac:spMkLst>
            <pc:docMk/>
            <pc:sldMk cId="2408337444" sldId="2134804326"/>
            <ac:spMk id="49" creationId="{83CBE9D2-66F2-41DF-974D-21CB4E41129D}"/>
          </ac:spMkLst>
        </pc:spChg>
        <pc:spChg chg="add mod">
          <ac:chgData name="Andrea Mogollon Nossa (CENIT)" userId="f6a3e592-cc27-4858-b185-ff86be206069" providerId="ADAL" clId="{7512AD08-729F-4631-AFF5-A13DAAFD1BEE}" dt="2020-07-28T19:52:37.300" v="2351" actId="20577"/>
          <ac:spMkLst>
            <pc:docMk/>
            <pc:sldMk cId="2408337444" sldId="2134804326"/>
            <ac:spMk id="50" creationId="{43B7DA1A-E620-4FEE-BD9A-7EAF88C0AAB8}"/>
          </ac:spMkLst>
        </pc:spChg>
        <pc:spChg chg="mod">
          <ac:chgData name="Andrea Mogollon Nossa (CENIT)" userId="f6a3e592-cc27-4858-b185-ff86be206069" providerId="ADAL" clId="{7512AD08-729F-4631-AFF5-A13DAAFD1BEE}" dt="2020-07-28T19:55:42.949" v="2392" actId="1076"/>
          <ac:spMkLst>
            <pc:docMk/>
            <pc:sldMk cId="2408337444" sldId="2134804326"/>
            <ac:spMk id="52" creationId="{FC3592D3-9AB1-446B-A099-2A5C49525B49}"/>
          </ac:spMkLst>
        </pc:spChg>
        <pc:spChg chg="add mod">
          <ac:chgData name="Andrea Mogollon Nossa (CENIT)" userId="f6a3e592-cc27-4858-b185-ff86be206069" providerId="ADAL" clId="{7512AD08-729F-4631-AFF5-A13DAAFD1BEE}" dt="2020-07-28T19:56:57.282" v="2404" actId="20577"/>
          <ac:spMkLst>
            <pc:docMk/>
            <pc:sldMk cId="2408337444" sldId="2134804326"/>
            <ac:spMk id="53" creationId="{DD1A17DA-C747-405E-8B0E-2619695AC430}"/>
          </ac:spMkLst>
        </pc:spChg>
        <pc:spChg chg="del mod">
          <ac:chgData name="Andrea Mogollon Nossa (CENIT)" userId="f6a3e592-cc27-4858-b185-ff86be206069" providerId="ADAL" clId="{7512AD08-729F-4631-AFF5-A13DAAFD1BEE}" dt="2020-07-28T19:55:35.996" v="2391" actId="478"/>
          <ac:spMkLst>
            <pc:docMk/>
            <pc:sldMk cId="2408337444" sldId="2134804326"/>
            <ac:spMk id="55" creationId="{24B43721-8F2C-4416-AF8D-9AB7CA3936C4}"/>
          </ac:spMkLst>
        </pc:spChg>
        <pc:spChg chg="add del mod">
          <ac:chgData name="Andrea Mogollon Nossa (CENIT)" userId="f6a3e592-cc27-4858-b185-ff86be206069" providerId="ADAL" clId="{7512AD08-729F-4631-AFF5-A13DAAFD1BEE}" dt="2020-07-28T19:57:53.990" v="2418" actId="478"/>
          <ac:spMkLst>
            <pc:docMk/>
            <pc:sldMk cId="2408337444" sldId="2134804326"/>
            <ac:spMk id="56" creationId="{4BC0C89A-9E13-4035-AFBE-7EDE7C85E393}"/>
          </ac:spMkLst>
        </pc:spChg>
        <pc:spChg chg="add mod">
          <ac:chgData name="Andrea Mogollon Nossa (CENIT)" userId="f6a3e592-cc27-4858-b185-ff86be206069" providerId="ADAL" clId="{7512AD08-729F-4631-AFF5-A13DAAFD1BEE}" dt="2020-07-28T19:56:50.463" v="2394" actId="1076"/>
          <ac:spMkLst>
            <pc:docMk/>
            <pc:sldMk cId="2408337444" sldId="2134804326"/>
            <ac:spMk id="57" creationId="{90CE75B7-C905-44BC-86F7-95C74176DDFC}"/>
          </ac:spMkLst>
        </pc:spChg>
        <pc:spChg chg="add mod">
          <ac:chgData name="Andrea Mogollon Nossa (CENIT)" userId="f6a3e592-cc27-4858-b185-ff86be206069" providerId="ADAL" clId="{7512AD08-729F-4631-AFF5-A13DAAFD1BEE}" dt="2020-07-28T19:57:28.162" v="2412" actId="207"/>
          <ac:spMkLst>
            <pc:docMk/>
            <pc:sldMk cId="2408337444" sldId="2134804326"/>
            <ac:spMk id="59" creationId="{190FDEE7-BF46-4887-BCFB-836592D690D8}"/>
          </ac:spMkLst>
        </pc:spChg>
        <pc:spChg chg="mod">
          <ac:chgData name="Andrea Mogollon Nossa (CENIT)" userId="f6a3e592-cc27-4858-b185-ff86be206069" providerId="ADAL" clId="{7512AD08-729F-4631-AFF5-A13DAAFD1BEE}" dt="2020-07-28T19:54:36.767" v="2383" actId="13926"/>
          <ac:spMkLst>
            <pc:docMk/>
            <pc:sldMk cId="2408337444" sldId="2134804326"/>
            <ac:spMk id="61" creationId="{7C69D657-65A5-4E1B-8464-4A04E7AFC334}"/>
          </ac:spMkLst>
        </pc:spChg>
        <pc:spChg chg="mod">
          <ac:chgData name="Andrea Mogollon Nossa (CENIT)" userId="f6a3e592-cc27-4858-b185-ff86be206069" providerId="ADAL" clId="{7512AD08-729F-4631-AFF5-A13DAAFD1BEE}" dt="2020-07-28T19:54:47.008" v="2387" actId="113"/>
          <ac:spMkLst>
            <pc:docMk/>
            <pc:sldMk cId="2408337444" sldId="2134804326"/>
            <ac:spMk id="62" creationId="{CAD53C17-134A-4DBD-B578-EF435A01FB3F}"/>
          </ac:spMkLst>
        </pc:spChg>
        <pc:spChg chg="del">
          <ac:chgData name="Andrea Mogollon Nossa (CENIT)" userId="f6a3e592-cc27-4858-b185-ff86be206069" providerId="ADAL" clId="{7512AD08-729F-4631-AFF5-A13DAAFD1BEE}" dt="2020-07-28T19:55:35.996" v="2391" actId="478"/>
          <ac:spMkLst>
            <pc:docMk/>
            <pc:sldMk cId="2408337444" sldId="2134804326"/>
            <ac:spMk id="64" creationId="{61CFA38E-1F3E-49A0-A330-E5F97D5B2A01}"/>
          </ac:spMkLst>
        </pc:spChg>
        <pc:spChg chg="del mod">
          <ac:chgData name="Andrea Mogollon Nossa (CENIT)" userId="f6a3e592-cc27-4858-b185-ff86be206069" providerId="ADAL" clId="{7512AD08-729F-4631-AFF5-A13DAAFD1BEE}" dt="2020-07-28T19:57:35.890" v="2413" actId="478"/>
          <ac:spMkLst>
            <pc:docMk/>
            <pc:sldMk cId="2408337444" sldId="2134804326"/>
            <ac:spMk id="65" creationId="{E1D02522-5753-4EFB-951A-5755483EDD96}"/>
          </ac:spMkLst>
        </pc:spChg>
        <pc:spChg chg="del">
          <ac:chgData name="Andrea Mogollon Nossa (CENIT)" userId="f6a3e592-cc27-4858-b185-ff86be206069" providerId="ADAL" clId="{7512AD08-729F-4631-AFF5-A13DAAFD1BEE}" dt="2020-07-28T19:55:35.996" v="2391" actId="478"/>
          <ac:spMkLst>
            <pc:docMk/>
            <pc:sldMk cId="2408337444" sldId="2134804326"/>
            <ac:spMk id="66" creationId="{6F85F403-E123-4C2D-A378-CDAFE968B9D9}"/>
          </ac:spMkLst>
        </pc:spChg>
        <pc:spChg chg="mod">
          <ac:chgData name="Andrea Mogollon Nossa (CENIT)" userId="f6a3e592-cc27-4858-b185-ff86be206069" providerId="ADAL" clId="{7512AD08-729F-4631-AFF5-A13DAAFD1BEE}" dt="2020-07-28T19:55:42.949" v="2392" actId="1076"/>
          <ac:spMkLst>
            <pc:docMk/>
            <pc:sldMk cId="2408337444" sldId="2134804326"/>
            <ac:spMk id="67" creationId="{4CC8DF42-E8CE-4AEA-AF20-116C630E45ED}"/>
          </ac:spMkLst>
        </pc:spChg>
        <pc:spChg chg="del">
          <ac:chgData name="Andrea Mogollon Nossa (CENIT)" userId="f6a3e592-cc27-4858-b185-ff86be206069" providerId="ADAL" clId="{7512AD08-729F-4631-AFF5-A13DAAFD1BEE}" dt="2020-07-28T19:55:35.996" v="2391" actId="478"/>
          <ac:spMkLst>
            <pc:docMk/>
            <pc:sldMk cId="2408337444" sldId="2134804326"/>
            <ac:spMk id="68" creationId="{8B5ED806-B54B-4057-B826-24314EC1F9B8}"/>
          </ac:spMkLst>
        </pc:spChg>
        <pc:spChg chg="del">
          <ac:chgData name="Andrea Mogollon Nossa (CENIT)" userId="f6a3e592-cc27-4858-b185-ff86be206069" providerId="ADAL" clId="{7512AD08-729F-4631-AFF5-A13DAAFD1BEE}" dt="2020-07-28T19:56:52.966" v="2395" actId="478"/>
          <ac:spMkLst>
            <pc:docMk/>
            <pc:sldMk cId="2408337444" sldId="2134804326"/>
            <ac:spMk id="69" creationId="{5A5074EC-7041-463A-BA61-7944DB963505}"/>
          </ac:spMkLst>
        </pc:spChg>
        <pc:spChg chg="mod">
          <ac:chgData name="Andrea Mogollon Nossa (CENIT)" userId="f6a3e592-cc27-4858-b185-ff86be206069" providerId="ADAL" clId="{7512AD08-729F-4631-AFF5-A13DAAFD1BEE}" dt="2020-07-28T19:59:07.290" v="2615" actId="20577"/>
          <ac:spMkLst>
            <pc:docMk/>
            <pc:sldMk cId="2408337444" sldId="2134804326"/>
            <ac:spMk id="70" creationId="{A549087F-0234-4CF2-AA9A-E2B491A99CF5}"/>
          </ac:spMkLst>
        </pc:spChg>
        <pc:spChg chg="add mod">
          <ac:chgData name="Andrea Mogollon Nossa (CENIT)" userId="f6a3e592-cc27-4858-b185-ff86be206069" providerId="ADAL" clId="{7512AD08-729F-4631-AFF5-A13DAAFD1BEE}" dt="2020-07-28T19:57:40.767" v="2415" actId="1076"/>
          <ac:spMkLst>
            <pc:docMk/>
            <pc:sldMk cId="2408337444" sldId="2134804326"/>
            <ac:spMk id="71" creationId="{64C13836-E14D-4BA4-B54B-A071A9CA6001}"/>
          </ac:spMkLst>
        </pc:spChg>
        <pc:spChg chg="add mod">
          <ac:chgData name="Andrea Mogollon Nossa (CENIT)" userId="f6a3e592-cc27-4858-b185-ff86be206069" providerId="ADAL" clId="{7512AD08-729F-4631-AFF5-A13DAAFD1BEE}" dt="2020-07-28T19:57:40.767" v="2415" actId="1076"/>
          <ac:spMkLst>
            <pc:docMk/>
            <pc:sldMk cId="2408337444" sldId="2134804326"/>
            <ac:spMk id="72" creationId="{F3FA6477-4D78-4979-B84F-B87C3D225BA4}"/>
          </ac:spMkLst>
        </pc:spChg>
        <pc:spChg chg="add mod">
          <ac:chgData name="Andrea Mogollon Nossa (CENIT)" userId="f6a3e592-cc27-4858-b185-ff86be206069" providerId="ADAL" clId="{7512AD08-729F-4631-AFF5-A13DAAFD1BEE}" dt="2020-07-28T19:57:59.759" v="2420" actId="1076"/>
          <ac:spMkLst>
            <pc:docMk/>
            <pc:sldMk cId="2408337444" sldId="2134804326"/>
            <ac:spMk id="73" creationId="{FA34F8DA-B07B-49BE-9F9A-F56FC34185A7}"/>
          </ac:spMkLst>
        </pc:spChg>
        <pc:spChg chg="add mod">
          <ac:chgData name="Andrea Mogollon Nossa (CENIT)" userId="f6a3e592-cc27-4858-b185-ff86be206069" providerId="ADAL" clId="{7512AD08-729F-4631-AFF5-A13DAAFD1BEE}" dt="2020-07-28T19:57:59.759" v="2420" actId="1076"/>
          <ac:spMkLst>
            <pc:docMk/>
            <pc:sldMk cId="2408337444" sldId="2134804326"/>
            <ac:spMk id="74" creationId="{06C1CA62-F6CB-4C98-A7DB-85BCACE31AC4}"/>
          </ac:spMkLst>
        </pc:spChg>
        <pc:spChg chg="add mod">
          <ac:chgData name="Andrea Mogollon Nossa (CENIT)" userId="f6a3e592-cc27-4858-b185-ff86be206069" providerId="ADAL" clId="{7512AD08-729F-4631-AFF5-A13DAAFD1BEE}" dt="2020-07-28T19:58:07.086" v="2422" actId="1076"/>
          <ac:spMkLst>
            <pc:docMk/>
            <pc:sldMk cId="2408337444" sldId="2134804326"/>
            <ac:spMk id="75" creationId="{36553A3D-071E-453A-8D1D-42F8A3354A78}"/>
          </ac:spMkLst>
        </pc:spChg>
        <pc:spChg chg="add mod">
          <ac:chgData name="Andrea Mogollon Nossa (CENIT)" userId="f6a3e592-cc27-4858-b185-ff86be206069" providerId="ADAL" clId="{7512AD08-729F-4631-AFF5-A13DAAFD1BEE}" dt="2020-07-28T19:58:10.743" v="2424" actId="1076"/>
          <ac:spMkLst>
            <pc:docMk/>
            <pc:sldMk cId="2408337444" sldId="2134804326"/>
            <ac:spMk id="76" creationId="{4E44296C-92AB-40F9-97A6-55EEDAF76892}"/>
          </ac:spMkLst>
        </pc:spChg>
        <pc:spChg chg="add del mod">
          <ac:chgData name="Andrea Mogollon Nossa (CENIT)" userId="f6a3e592-cc27-4858-b185-ff86be206069" providerId="ADAL" clId="{7512AD08-729F-4631-AFF5-A13DAAFD1BEE}" dt="2020-07-28T19:59:24.841" v="2618" actId="478"/>
          <ac:spMkLst>
            <pc:docMk/>
            <pc:sldMk cId="2408337444" sldId="2134804326"/>
            <ac:spMk id="77" creationId="{D22BD51A-5CF3-4A84-8A17-9F9054DB83DD}"/>
          </ac:spMkLst>
        </pc:spChg>
        <pc:graphicFrameChg chg="modGraphic">
          <ac:chgData name="Andrea Mogollon Nossa (CENIT)" userId="f6a3e592-cc27-4858-b185-ff86be206069" providerId="ADAL" clId="{7512AD08-729F-4631-AFF5-A13DAAFD1BEE}" dt="2020-07-28T19:59:34.016" v="2619" actId="207"/>
          <ac:graphicFrameMkLst>
            <pc:docMk/>
            <pc:sldMk cId="2408337444" sldId="2134804326"/>
            <ac:graphicFrameMk id="35" creationId="{D6562056-B40E-47F9-9726-6C4C21F304AB}"/>
          </ac:graphicFrameMkLst>
        </pc:graphicFrameChg>
      </pc:sldChg>
      <pc:sldChg chg="modSp mod">
        <pc:chgData name="Andrea Mogollon Nossa (CENIT)" userId="f6a3e592-cc27-4858-b185-ff86be206069" providerId="ADAL" clId="{7512AD08-729F-4631-AFF5-A13DAAFD1BEE}" dt="2020-07-28T20:09:04.730" v="2697" actId="20578"/>
        <pc:sldMkLst>
          <pc:docMk/>
          <pc:sldMk cId="1202002608" sldId="2134804331"/>
        </pc:sldMkLst>
        <pc:spChg chg="mod">
          <ac:chgData name="Andrea Mogollon Nossa (CENIT)" userId="f6a3e592-cc27-4858-b185-ff86be206069" providerId="ADAL" clId="{7512AD08-729F-4631-AFF5-A13DAAFD1BEE}" dt="2020-07-28T19:24:48.274" v="1511" actId="1076"/>
          <ac:spMkLst>
            <pc:docMk/>
            <pc:sldMk cId="1202002608" sldId="2134804331"/>
            <ac:spMk id="14" creationId="{88D540A9-A2F6-4BF9-A7FE-8600061D0F6A}"/>
          </ac:spMkLst>
        </pc:spChg>
        <pc:spChg chg="mod">
          <ac:chgData name="Andrea Mogollon Nossa (CENIT)" userId="f6a3e592-cc27-4858-b185-ff86be206069" providerId="ADAL" clId="{7512AD08-729F-4631-AFF5-A13DAAFD1BEE}" dt="2020-07-28T19:24:23.834" v="1509" actId="1076"/>
          <ac:spMkLst>
            <pc:docMk/>
            <pc:sldMk cId="1202002608" sldId="2134804331"/>
            <ac:spMk id="15" creationId="{3AE6683F-3E42-4515-BD41-D3AAD3584C87}"/>
          </ac:spMkLst>
        </pc:spChg>
        <pc:spChg chg="mod">
          <ac:chgData name="Andrea Mogollon Nossa (CENIT)" userId="f6a3e592-cc27-4858-b185-ff86be206069" providerId="ADAL" clId="{7512AD08-729F-4631-AFF5-A13DAAFD1BEE}" dt="2020-07-28T19:23:22.222" v="1505" actId="115"/>
          <ac:spMkLst>
            <pc:docMk/>
            <pc:sldMk cId="1202002608" sldId="2134804331"/>
            <ac:spMk id="36" creationId="{7BF75727-F2D8-4B3A-8084-69B15B6BF24E}"/>
          </ac:spMkLst>
        </pc:spChg>
        <pc:spChg chg="mod">
          <ac:chgData name="Andrea Mogollon Nossa (CENIT)" userId="f6a3e592-cc27-4858-b185-ff86be206069" providerId="ADAL" clId="{7512AD08-729F-4631-AFF5-A13DAAFD1BEE}" dt="2020-07-28T19:24:23.834" v="1509" actId="1076"/>
          <ac:spMkLst>
            <pc:docMk/>
            <pc:sldMk cId="1202002608" sldId="2134804331"/>
            <ac:spMk id="49" creationId="{A35CEBA9-131C-44AD-A845-A68EC946AFBA}"/>
          </ac:spMkLst>
        </pc:spChg>
        <pc:spChg chg="mod">
          <ac:chgData name="Andrea Mogollon Nossa (CENIT)" userId="f6a3e592-cc27-4858-b185-ff86be206069" providerId="ADAL" clId="{7512AD08-729F-4631-AFF5-A13DAAFD1BEE}" dt="2020-07-28T19:24:52.170" v="1512" actId="1076"/>
          <ac:spMkLst>
            <pc:docMk/>
            <pc:sldMk cId="1202002608" sldId="2134804331"/>
            <ac:spMk id="71" creationId="{957CBAF9-7655-4A51-9450-50545E04AD44}"/>
          </ac:spMkLst>
        </pc:spChg>
        <pc:spChg chg="mod">
          <ac:chgData name="Andrea Mogollon Nossa (CENIT)" userId="f6a3e592-cc27-4858-b185-ff86be206069" providerId="ADAL" clId="{7512AD08-729F-4631-AFF5-A13DAAFD1BEE}" dt="2020-07-28T19:24:41.026" v="1510" actId="1076"/>
          <ac:spMkLst>
            <pc:docMk/>
            <pc:sldMk cId="1202002608" sldId="2134804331"/>
            <ac:spMk id="84" creationId="{293DBAF3-3942-4C58-8A63-D4484E215E20}"/>
          </ac:spMkLst>
        </pc:spChg>
        <pc:spChg chg="mod">
          <ac:chgData name="Andrea Mogollon Nossa (CENIT)" userId="f6a3e592-cc27-4858-b185-ff86be206069" providerId="ADAL" clId="{7512AD08-729F-4631-AFF5-A13DAAFD1BEE}" dt="2020-07-28T19:24:41.026" v="1510" actId="1076"/>
          <ac:spMkLst>
            <pc:docMk/>
            <pc:sldMk cId="1202002608" sldId="2134804331"/>
            <ac:spMk id="86" creationId="{7696A978-4362-4DE3-8C58-0F58608C4AA6}"/>
          </ac:spMkLst>
        </pc:spChg>
        <pc:spChg chg="mod">
          <ac:chgData name="Andrea Mogollon Nossa (CENIT)" userId="f6a3e592-cc27-4858-b185-ff86be206069" providerId="ADAL" clId="{7512AD08-729F-4631-AFF5-A13DAAFD1BEE}" dt="2020-07-28T20:09:04.730" v="2697" actId="20578"/>
          <ac:spMkLst>
            <pc:docMk/>
            <pc:sldMk cId="1202002608" sldId="2134804331"/>
            <ac:spMk id="97" creationId="{99300021-C267-43BD-A0F5-B3ECE622345E}"/>
          </ac:spMkLst>
        </pc:spChg>
        <pc:spChg chg="mod">
          <ac:chgData name="Andrea Mogollon Nossa (CENIT)" userId="f6a3e592-cc27-4858-b185-ff86be206069" providerId="ADAL" clId="{7512AD08-729F-4631-AFF5-A13DAAFD1BEE}" dt="2020-07-28T19:24:41.026" v="1510" actId="1076"/>
          <ac:spMkLst>
            <pc:docMk/>
            <pc:sldMk cId="1202002608" sldId="2134804331"/>
            <ac:spMk id="117" creationId="{8960734A-1053-42D2-BD72-6674DCCE6A97}"/>
          </ac:spMkLst>
        </pc:spChg>
        <pc:spChg chg="mod">
          <ac:chgData name="Andrea Mogollon Nossa (CENIT)" userId="f6a3e592-cc27-4858-b185-ff86be206069" providerId="ADAL" clId="{7512AD08-729F-4631-AFF5-A13DAAFD1BEE}" dt="2020-07-28T19:24:41.026" v="1510" actId="1076"/>
          <ac:spMkLst>
            <pc:docMk/>
            <pc:sldMk cId="1202002608" sldId="2134804331"/>
            <ac:spMk id="118" creationId="{C77431EE-A761-4323-B75F-692D4CAEC462}"/>
          </ac:spMkLst>
        </pc:spChg>
        <pc:spChg chg="mod">
          <ac:chgData name="Andrea Mogollon Nossa (CENIT)" userId="f6a3e592-cc27-4858-b185-ff86be206069" providerId="ADAL" clId="{7512AD08-729F-4631-AFF5-A13DAAFD1BEE}" dt="2020-07-28T19:24:41.026" v="1510" actId="1076"/>
          <ac:spMkLst>
            <pc:docMk/>
            <pc:sldMk cId="1202002608" sldId="2134804331"/>
            <ac:spMk id="119" creationId="{A66DDFF6-8990-4632-9B16-3852035C81BA}"/>
          </ac:spMkLst>
        </pc:spChg>
        <pc:grpChg chg="mod">
          <ac:chgData name="Andrea Mogollon Nossa (CENIT)" userId="f6a3e592-cc27-4858-b185-ff86be206069" providerId="ADAL" clId="{7512AD08-729F-4631-AFF5-A13DAAFD1BEE}" dt="2020-07-28T19:24:41.026" v="1510" actId="1076"/>
          <ac:grpSpMkLst>
            <pc:docMk/>
            <pc:sldMk cId="1202002608" sldId="2134804331"/>
            <ac:grpSpMk id="30" creationId="{BF4EB355-E4B6-4017-96EF-28FDA34EC932}"/>
          </ac:grpSpMkLst>
        </pc:grpChg>
        <pc:grpChg chg="mod">
          <ac:chgData name="Andrea Mogollon Nossa (CENIT)" userId="f6a3e592-cc27-4858-b185-ff86be206069" providerId="ADAL" clId="{7512AD08-729F-4631-AFF5-A13DAAFD1BEE}" dt="2020-07-28T19:24:41.026" v="1510" actId="1076"/>
          <ac:grpSpMkLst>
            <pc:docMk/>
            <pc:sldMk cId="1202002608" sldId="2134804331"/>
            <ac:grpSpMk id="43" creationId="{BCE0DAFF-5245-49B7-9324-3E2F663B4088}"/>
          </ac:grpSpMkLst>
        </pc:grpChg>
        <pc:grpChg chg="mod">
          <ac:chgData name="Andrea Mogollon Nossa (CENIT)" userId="f6a3e592-cc27-4858-b185-ff86be206069" providerId="ADAL" clId="{7512AD08-729F-4631-AFF5-A13DAAFD1BEE}" dt="2020-07-28T19:24:41.026" v="1510" actId="1076"/>
          <ac:grpSpMkLst>
            <pc:docMk/>
            <pc:sldMk cId="1202002608" sldId="2134804331"/>
            <ac:grpSpMk id="50" creationId="{DE0F3897-0C5A-4D80-8702-7FFDF501EE7F}"/>
          </ac:grpSpMkLst>
        </pc:grpChg>
        <pc:grpChg chg="mod">
          <ac:chgData name="Andrea Mogollon Nossa (CENIT)" userId="f6a3e592-cc27-4858-b185-ff86be206069" providerId="ADAL" clId="{7512AD08-729F-4631-AFF5-A13DAAFD1BEE}" dt="2020-07-28T19:24:41.026" v="1510" actId="1076"/>
          <ac:grpSpMkLst>
            <pc:docMk/>
            <pc:sldMk cId="1202002608" sldId="2134804331"/>
            <ac:grpSpMk id="55" creationId="{A424F4F5-E950-490A-85A7-08E85FB0CA9E}"/>
          </ac:grpSpMkLst>
        </pc:grpChg>
        <pc:grpChg chg="mod">
          <ac:chgData name="Andrea Mogollon Nossa (CENIT)" userId="f6a3e592-cc27-4858-b185-ff86be206069" providerId="ADAL" clId="{7512AD08-729F-4631-AFF5-A13DAAFD1BEE}" dt="2020-07-28T19:24:41.026" v="1510" actId="1076"/>
          <ac:grpSpMkLst>
            <pc:docMk/>
            <pc:sldMk cId="1202002608" sldId="2134804331"/>
            <ac:grpSpMk id="74" creationId="{07449BC8-9987-486E-BCF5-35EC6328E7E4}"/>
          </ac:grpSpMkLst>
        </pc:grpChg>
      </pc:sldChg>
      <pc:sldChg chg="modSp mod">
        <pc:chgData name="Andrea Mogollon Nossa (CENIT)" userId="f6a3e592-cc27-4858-b185-ff86be206069" providerId="ADAL" clId="{7512AD08-729F-4631-AFF5-A13DAAFD1BEE}" dt="2020-07-28T20:12:53.052" v="2707" actId="208"/>
        <pc:sldMkLst>
          <pc:docMk/>
          <pc:sldMk cId="2329099191" sldId="2134804334"/>
        </pc:sldMkLst>
        <pc:spChg chg="mod">
          <ac:chgData name="Andrea Mogollon Nossa (CENIT)" userId="f6a3e592-cc27-4858-b185-ff86be206069" providerId="ADAL" clId="{7512AD08-729F-4631-AFF5-A13DAAFD1BEE}" dt="2020-07-28T20:12:53.052" v="2707" actId="208"/>
          <ac:spMkLst>
            <pc:docMk/>
            <pc:sldMk cId="2329099191" sldId="2134804334"/>
            <ac:spMk id="21" creationId="{6DF582FE-4ED3-41AC-A715-CB130A94E54C}"/>
          </ac:spMkLst>
        </pc:spChg>
        <pc:spChg chg="mod">
          <ac:chgData name="Andrea Mogollon Nossa (CENIT)" userId="f6a3e592-cc27-4858-b185-ff86be206069" providerId="ADAL" clId="{7512AD08-729F-4631-AFF5-A13DAAFD1BEE}" dt="2020-07-28T20:12:15.709" v="2704" actId="693"/>
          <ac:spMkLst>
            <pc:docMk/>
            <pc:sldMk cId="2329099191" sldId="2134804334"/>
            <ac:spMk id="97" creationId="{99300021-C267-43BD-A0F5-B3ECE622345E}"/>
          </ac:spMkLst>
        </pc:spChg>
        <pc:spChg chg="mod">
          <ac:chgData name="Andrea Mogollon Nossa (CENIT)" userId="f6a3e592-cc27-4858-b185-ff86be206069" providerId="ADAL" clId="{7512AD08-729F-4631-AFF5-A13DAAFD1BEE}" dt="2020-07-28T20:12:27.446" v="2705" actId="108"/>
          <ac:spMkLst>
            <pc:docMk/>
            <pc:sldMk cId="2329099191" sldId="2134804334"/>
            <ac:spMk id="147" creationId="{28985963-B271-4E6A-83C5-F3A62A87E6BA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00:00:09.280" v="1025" actId="14100"/>
        <pc:sldMkLst>
          <pc:docMk/>
          <pc:sldMk cId="997806465" sldId="2134804335"/>
        </pc:sldMkLst>
        <pc:spChg chg="mod">
          <ac:chgData name="Andrea Mogollon Nossa (CENIT)" userId="f6a3e592-cc27-4858-b185-ff86be206069" providerId="ADAL" clId="{7512AD08-729F-4631-AFF5-A13DAAFD1BEE}" dt="2020-07-28T00:00:09.280" v="1025" actId="14100"/>
          <ac:spMkLst>
            <pc:docMk/>
            <pc:sldMk cId="997806465" sldId="2134804335"/>
            <ac:spMk id="86" creationId="{7696A978-4362-4DE3-8C58-0F58608C4AA6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00:00:18.482" v="1043" actId="20577"/>
        <pc:sldMkLst>
          <pc:docMk/>
          <pc:sldMk cId="827790441" sldId="2134804336"/>
        </pc:sldMkLst>
        <pc:spChg chg="mod">
          <ac:chgData name="Andrea Mogollon Nossa (CENIT)" userId="f6a3e592-cc27-4858-b185-ff86be206069" providerId="ADAL" clId="{7512AD08-729F-4631-AFF5-A13DAAFD1BEE}" dt="2020-07-28T00:00:18.482" v="1043" actId="20577"/>
          <ac:spMkLst>
            <pc:docMk/>
            <pc:sldMk cId="827790441" sldId="2134804336"/>
            <ac:spMk id="86" creationId="{7696A978-4362-4DE3-8C58-0F58608C4AA6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00:00:27.766" v="1061" actId="20577"/>
        <pc:sldMkLst>
          <pc:docMk/>
          <pc:sldMk cId="3396100439" sldId="2134804337"/>
        </pc:sldMkLst>
        <pc:spChg chg="mod">
          <ac:chgData name="Andrea Mogollon Nossa (CENIT)" userId="f6a3e592-cc27-4858-b185-ff86be206069" providerId="ADAL" clId="{7512AD08-729F-4631-AFF5-A13DAAFD1BEE}" dt="2020-07-28T00:00:27.766" v="1061" actId="20577"/>
          <ac:spMkLst>
            <pc:docMk/>
            <pc:sldMk cId="3396100439" sldId="2134804337"/>
            <ac:spMk id="86" creationId="{7696A978-4362-4DE3-8C58-0F58608C4AA6}"/>
          </ac:spMkLst>
        </pc:spChg>
      </pc:sldChg>
      <pc:sldChg chg="addSp delSp modSp mod">
        <pc:chgData name="Andrea Mogollon Nossa (CENIT)" userId="f6a3e592-cc27-4858-b185-ff86be206069" providerId="ADAL" clId="{7512AD08-729F-4631-AFF5-A13DAAFD1BEE}" dt="2020-07-27T23:51:35.852" v="1021" actId="1076"/>
        <pc:sldMkLst>
          <pc:docMk/>
          <pc:sldMk cId="1922339588" sldId="2134804339"/>
        </pc:sldMkLst>
        <pc:spChg chg="del">
          <ac:chgData name="Andrea Mogollon Nossa (CENIT)" userId="f6a3e592-cc27-4858-b185-ff86be206069" providerId="ADAL" clId="{7512AD08-729F-4631-AFF5-A13DAAFD1BEE}" dt="2020-07-27T23:51:04.077" v="1014" actId="478"/>
          <ac:spMkLst>
            <pc:docMk/>
            <pc:sldMk cId="1922339588" sldId="2134804339"/>
            <ac:spMk id="106" creationId="{E035A392-D2FE-42ED-A77E-F790E9068ADC}"/>
          </ac:spMkLst>
        </pc:spChg>
        <pc:spChg chg="del mod">
          <ac:chgData name="Andrea Mogollon Nossa (CENIT)" userId="f6a3e592-cc27-4858-b185-ff86be206069" providerId="ADAL" clId="{7512AD08-729F-4631-AFF5-A13DAAFD1BEE}" dt="2020-07-27T23:50:59.995" v="1011" actId="478"/>
          <ac:spMkLst>
            <pc:docMk/>
            <pc:sldMk cId="1922339588" sldId="2134804339"/>
            <ac:spMk id="107" creationId="{2E2D6748-9C7C-4727-AAF2-4ABB89A1052D}"/>
          </ac:spMkLst>
        </pc:spChg>
        <pc:spChg chg="mod">
          <ac:chgData name="Andrea Mogollon Nossa (CENIT)" userId="f6a3e592-cc27-4858-b185-ff86be206069" providerId="ADAL" clId="{7512AD08-729F-4631-AFF5-A13DAAFD1BEE}" dt="2020-07-27T23:51:30.219" v="1020" actId="1076"/>
          <ac:spMkLst>
            <pc:docMk/>
            <pc:sldMk cId="1922339588" sldId="2134804339"/>
            <ac:spMk id="110" creationId="{EA8DE01B-9DBA-4FFD-8F33-5E3C211E0235}"/>
          </ac:spMkLst>
        </pc:spChg>
        <pc:spChg chg="mod">
          <ac:chgData name="Andrea Mogollon Nossa (CENIT)" userId="f6a3e592-cc27-4858-b185-ff86be206069" providerId="ADAL" clId="{7512AD08-729F-4631-AFF5-A13DAAFD1BEE}" dt="2020-07-27T23:51:15.961" v="1015" actId="1076"/>
          <ac:spMkLst>
            <pc:docMk/>
            <pc:sldMk cId="1922339588" sldId="2134804339"/>
            <ac:spMk id="111" creationId="{0584C2A1-F208-4EF4-B35E-A13F567E7748}"/>
          </ac:spMkLst>
        </pc:spChg>
        <pc:spChg chg="mod">
          <ac:chgData name="Andrea Mogollon Nossa (CENIT)" userId="f6a3e592-cc27-4858-b185-ff86be206069" providerId="ADAL" clId="{7512AD08-729F-4631-AFF5-A13DAAFD1BEE}" dt="2020-07-27T23:51:35.852" v="1021" actId="1076"/>
          <ac:spMkLst>
            <pc:docMk/>
            <pc:sldMk cId="1922339588" sldId="2134804339"/>
            <ac:spMk id="113" creationId="{68C79E44-944B-4ED7-B5A1-6558BBCE4EC6}"/>
          </ac:spMkLst>
        </pc:spChg>
        <pc:spChg chg="mod">
          <ac:chgData name="Andrea Mogollon Nossa (CENIT)" userId="f6a3e592-cc27-4858-b185-ff86be206069" providerId="ADAL" clId="{7512AD08-729F-4631-AFF5-A13DAAFD1BEE}" dt="2020-07-27T23:51:17.798" v="1016" actId="1076"/>
          <ac:spMkLst>
            <pc:docMk/>
            <pc:sldMk cId="1922339588" sldId="2134804339"/>
            <ac:spMk id="114" creationId="{80BC0FD4-937D-475D-ABCF-698168B2BE8D}"/>
          </ac:spMkLst>
        </pc:spChg>
        <pc:grpChg chg="add del mod">
          <ac:chgData name="Andrea Mogollon Nossa (CENIT)" userId="f6a3e592-cc27-4858-b185-ff86be206069" providerId="ADAL" clId="{7512AD08-729F-4631-AFF5-A13DAAFD1BEE}" dt="2020-07-27T23:51:24.801" v="1019" actId="1076"/>
          <ac:grpSpMkLst>
            <pc:docMk/>
            <pc:sldMk cId="1922339588" sldId="2134804339"/>
            <ac:grpSpMk id="50" creationId="{4253AEFC-C817-486B-9CB2-F7DEC0389719}"/>
          </ac:grpSpMkLst>
        </pc:grpChg>
        <pc:graphicFrameChg chg="modGraphic">
          <ac:chgData name="Andrea Mogollon Nossa (CENIT)" userId="f6a3e592-cc27-4858-b185-ff86be206069" providerId="ADAL" clId="{7512AD08-729F-4631-AFF5-A13DAAFD1BEE}" dt="2020-07-27T23:50:53.463" v="1009" actId="207"/>
          <ac:graphicFrameMkLst>
            <pc:docMk/>
            <pc:sldMk cId="1922339588" sldId="2134804339"/>
            <ac:graphicFrameMk id="6" creationId="{55A3C4F2-9AF1-4081-BD13-26D94B00509A}"/>
          </ac:graphicFrameMkLst>
        </pc:graphicFrameChg>
        <pc:graphicFrameChg chg="modGraphic">
          <ac:chgData name="Andrea Mogollon Nossa (CENIT)" userId="f6a3e592-cc27-4858-b185-ff86be206069" providerId="ADAL" clId="{7512AD08-729F-4631-AFF5-A13DAAFD1BEE}" dt="2020-07-27T23:50:40.392" v="1008" actId="207"/>
          <ac:graphicFrameMkLst>
            <pc:docMk/>
            <pc:sldMk cId="1922339588" sldId="2134804339"/>
            <ac:graphicFrameMk id="9" creationId="{6080D7D3-5082-435E-BDF1-D2115CE124C8}"/>
          </ac:graphicFrameMkLst>
        </pc:graphicFrameChg>
      </pc:sldChg>
      <pc:sldChg chg="modSp mod">
        <pc:chgData name="Andrea Mogollon Nossa (CENIT)" userId="f6a3e592-cc27-4858-b185-ff86be206069" providerId="ADAL" clId="{7512AD08-729F-4631-AFF5-A13DAAFD1BEE}" dt="2020-07-28T20:14:49.109" v="2719" actId="108"/>
        <pc:sldMkLst>
          <pc:docMk/>
          <pc:sldMk cId="3318311001" sldId="2134804340"/>
        </pc:sldMkLst>
        <pc:spChg chg="mod">
          <ac:chgData name="Andrea Mogollon Nossa (CENIT)" userId="f6a3e592-cc27-4858-b185-ff86be206069" providerId="ADAL" clId="{7512AD08-729F-4631-AFF5-A13DAAFD1BEE}" dt="2020-07-28T20:14:08.717" v="2714" actId="208"/>
          <ac:spMkLst>
            <pc:docMk/>
            <pc:sldMk cId="3318311001" sldId="2134804340"/>
            <ac:spMk id="11" creationId="{772CA61D-742C-45F0-BAFA-0F3B90176E98}"/>
          </ac:spMkLst>
        </pc:spChg>
        <pc:spChg chg="mod">
          <ac:chgData name="Andrea Mogollon Nossa (CENIT)" userId="f6a3e592-cc27-4858-b185-ff86be206069" providerId="ADAL" clId="{7512AD08-729F-4631-AFF5-A13DAAFD1BEE}" dt="2020-07-28T20:14:46.720" v="2718" actId="108"/>
          <ac:spMkLst>
            <pc:docMk/>
            <pc:sldMk cId="3318311001" sldId="2134804340"/>
            <ac:spMk id="30" creationId="{5BF08848-45AE-451C-A99D-7322CF796742}"/>
          </ac:spMkLst>
        </pc:spChg>
        <pc:spChg chg="mod">
          <ac:chgData name="Andrea Mogollon Nossa (CENIT)" userId="f6a3e592-cc27-4858-b185-ff86be206069" providerId="ADAL" clId="{7512AD08-729F-4631-AFF5-A13DAAFD1BEE}" dt="2020-07-28T20:14:49.109" v="2719" actId="108"/>
          <ac:spMkLst>
            <pc:docMk/>
            <pc:sldMk cId="3318311001" sldId="2134804340"/>
            <ac:spMk id="36" creationId="{80930BAD-CC8E-47DD-9473-5B8864A2680A}"/>
          </ac:spMkLst>
        </pc:spChg>
        <pc:spChg chg="mod">
          <ac:chgData name="Andrea Mogollon Nossa (CENIT)" userId="f6a3e592-cc27-4858-b185-ff86be206069" providerId="ADAL" clId="{7512AD08-729F-4631-AFF5-A13DAAFD1BEE}" dt="2020-07-28T20:14:27.072" v="2717" actId="108"/>
          <ac:spMkLst>
            <pc:docMk/>
            <pc:sldMk cId="3318311001" sldId="2134804340"/>
            <ac:spMk id="42" creationId="{4101169F-B3FD-425D-90F0-D9CCBE1BF3D2}"/>
          </ac:spMkLst>
        </pc:spChg>
        <pc:spChg chg="mod">
          <ac:chgData name="Andrea Mogollon Nossa (CENIT)" userId="f6a3e592-cc27-4858-b185-ff86be206069" providerId="ADAL" clId="{7512AD08-729F-4631-AFF5-A13DAAFD1BEE}" dt="2020-07-28T00:00:41.431" v="1104" actId="20577"/>
          <ac:spMkLst>
            <pc:docMk/>
            <pc:sldMk cId="3318311001" sldId="2134804340"/>
            <ac:spMk id="86" creationId="{7696A978-4362-4DE3-8C58-0F58608C4AA6}"/>
          </ac:spMkLst>
        </pc:spChg>
        <pc:spChg chg="mod">
          <ac:chgData name="Andrea Mogollon Nossa (CENIT)" userId="f6a3e592-cc27-4858-b185-ff86be206069" providerId="ADAL" clId="{7512AD08-729F-4631-AFF5-A13DAAFD1BEE}" dt="2020-07-28T20:13:51.258" v="2713" actId="108"/>
          <ac:spMkLst>
            <pc:docMk/>
            <pc:sldMk cId="3318311001" sldId="2134804340"/>
            <ac:spMk id="97" creationId="{99300021-C267-43BD-A0F5-B3ECE622345E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20:21:42.200" v="2738" actId="693"/>
        <pc:sldMkLst>
          <pc:docMk/>
          <pc:sldMk cId="2532921639" sldId="2134804341"/>
        </pc:sldMkLst>
        <pc:spChg chg="mod">
          <ac:chgData name="Andrea Mogollon Nossa (CENIT)" userId="f6a3e592-cc27-4858-b185-ff86be206069" providerId="ADAL" clId="{7512AD08-729F-4631-AFF5-A13DAAFD1BEE}" dt="2020-07-28T20:20:35.643" v="2733" actId="208"/>
          <ac:spMkLst>
            <pc:docMk/>
            <pc:sldMk cId="2532921639" sldId="2134804341"/>
            <ac:spMk id="6" creationId="{26EF451C-53F1-4D38-8304-40A934E147B1}"/>
          </ac:spMkLst>
        </pc:spChg>
        <pc:spChg chg="mod">
          <ac:chgData name="Andrea Mogollon Nossa (CENIT)" userId="f6a3e592-cc27-4858-b185-ff86be206069" providerId="ADAL" clId="{7512AD08-729F-4631-AFF5-A13DAAFD1BEE}" dt="2020-07-28T20:20:50.140" v="2734" actId="108"/>
          <ac:spMkLst>
            <pc:docMk/>
            <pc:sldMk cId="2532921639" sldId="2134804341"/>
            <ac:spMk id="7" creationId="{6EA46AB2-D46D-465D-9B99-C8FCD330B565}"/>
          </ac:spMkLst>
        </pc:spChg>
        <pc:spChg chg="mod">
          <ac:chgData name="Andrea Mogollon Nossa (CENIT)" userId="f6a3e592-cc27-4858-b185-ff86be206069" providerId="ADAL" clId="{7512AD08-729F-4631-AFF5-A13DAAFD1BEE}" dt="2020-07-28T20:21:42.200" v="2738" actId="693"/>
          <ac:spMkLst>
            <pc:docMk/>
            <pc:sldMk cId="2532921639" sldId="2134804341"/>
            <ac:spMk id="10" creationId="{8CBE0999-A3DB-4ABC-B7A0-9F684B332B8D}"/>
          </ac:spMkLst>
        </pc:spChg>
        <pc:spChg chg="mod">
          <ac:chgData name="Andrea Mogollon Nossa (CENIT)" userId="f6a3e592-cc27-4858-b185-ff86be206069" providerId="ADAL" clId="{7512AD08-729F-4631-AFF5-A13DAAFD1BEE}" dt="2020-07-28T20:16:33.613" v="2720" actId="108"/>
          <ac:spMkLst>
            <pc:docMk/>
            <pc:sldMk cId="2532921639" sldId="2134804341"/>
            <ac:spMk id="76" creationId="{40DFE32F-CAB8-49D6-A7AD-D6BF8E59BE91}"/>
          </ac:spMkLst>
        </pc:spChg>
        <pc:spChg chg="mod">
          <ac:chgData name="Andrea Mogollon Nossa (CENIT)" userId="f6a3e592-cc27-4858-b185-ff86be206069" providerId="ADAL" clId="{7512AD08-729F-4631-AFF5-A13DAAFD1BEE}" dt="2020-07-28T00:00:58.188" v="1129" actId="20577"/>
          <ac:spMkLst>
            <pc:docMk/>
            <pc:sldMk cId="2532921639" sldId="2134804341"/>
            <ac:spMk id="86" creationId="{7696A978-4362-4DE3-8C58-0F58608C4AA6}"/>
          </ac:spMkLst>
        </pc:spChg>
        <pc:spChg chg="mod">
          <ac:chgData name="Andrea Mogollon Nossa (CENIT)" userId="f6a3e592-cc27-4858-b185-ff86be206069" providerId="ADAL" clId="{7512AD08-729F-4631-AFF5-A13DAAFD1BEE}" dt="2020-07-28T20:16:44.241" v="2721" actId="108"/>
          <ac:spMkLst>
            <pc:docMk/>
            <pc:sldMk cId="2532921639" sldId="2134804341"/>
            <ac:spMk id="88" creationId="{5287C6BB-7462-47AA-82FC-0995E12885D0}"/>
          </ac:spMkLst>
        </pc:spChg>
        <pc:spChg chg="mod">
          <ac:chgData name="Andrea Mogollon Nossa (CENIT)" userId="f6a3e592-cc27-4858-b185-ff86be206069" providerId="ADAL" clId="{7512AD08-729F-4631-AFF5-A13DAAFD1BEE}" dt="2020-07-28T20:16:46.848" v="2722" actId="108"/>
          <ac:spMkLst>
            <pc:docMk/>
            <pc:sldMk cId="2532921639" sldId="2134804341"/>
            <ac:spMk id="90" creationId="{9CA5C34E-F534-4DBB-8CB2-C4A73E40BE1D}"/>
          </ac:spMkLst>
        </pc:spChg>
        <pc:spChg chg="mod">
          <ac:chgData name="Andrea Mogollon Nossa (CENIT)" userId="f6a3e592-cc27-4858-b185-ff86be206069" providerId="ADAL" clId="{7512AD08-729F-4631-AFF5-A13DAAFD1BEE}" dt="2020-07-28T20:16:49.636" v="2723" actId="108"/>
          <ac:spMkLst>
            <pc:docMk/>
            <pc:sldMk cId="2532921639" sldId="2134804341"/>
            <ac:spMk id="92" creationId="{3C2594EF-C944-4301-B969-227960A0B177}"/>
          </ac:spMkLst>
        </pc:spChg>
        <pc:spChg chg="mod">
          <ac:chgData name="Andrea Mogollon Nossa (CENIT)" userId="f6a3e592-cc27-4858-b185-ff86be206069" providerId="ADAL" clId="{7512AD08-729F-4631-AFF5-A13DAAFD1BEE}" dt="2020-07-28T20:16:51.745" v="2724" actId="108"/>
          <ac:spMkLst>
            <pc:docMk/>
            <pc:sldMk cId="2532921639" sldId="2134804341"/>
            <ac:spMk id="104" creationId="{1B6EB9B8-45E2-4F88-8131-9C401AEBBBCF}"/>
          </ac:spMkLst>
        </pc:spChg>
        <pc:spChg chg="mod">
          <ac:chgData name="Andrea Mogollon Nossa (CENIT)" userId="f6a3e592-cc27-4858-b185-ff86be206069" providerId="ADAL" clId="{7512AD08-729F-4631-AFF5-A13DAAFD1BEE}" dt="2020-07-28T20:16:54.651" v="2725" actId="108"/>
          <ac:spMkLst>
            <pc:docMk/>
            <pc:sldMk cId="2532921639" sldId="2134804341"/>
            <ac:spMk id="106" creationId="{FCC08065-7019-4222-B77B-FB007CEA4423}"/>
          </ac:spMkLst>
        </pc:spChg>
        <pc:spChg chg="mod">
          <ac:chgData name="Andrea Mogollon Nossa (CENIT)" userId="f6a3e592-cc27-4858-b185-ff86be206069" providerId="ADAL" clId="{7512AD08-729F-4631-AFF5-A13DAAFD1BEE}" dt="2020-07-28T20:17:08.391" v="2726" actId="108"/>
          <ac:spMkLst>
            <pc:docMk/>
            <pc:sldMk cId="2532921639" sldId="2134804341"/>
            <ac:spMk id="108" creationId="{6F2232EE-FB4E-4DD9-AD82-A570467F39DB}"/>
          </ac:spMkLst>
        </pc:spChg>
        <pc:spChg chg="mod">
          <ac:chgData name="Andrea Mogollon Nossa (CENIT)" userId="f6a3e592-cc27-4858-b185-ff86be206069" providerId="ADAL" clId="{7512AD08-729F-4631-AFF5-A13DAAFD1BEE}" dt="2020-07-28T20:17:10.607" v="2727" actId="108"/>
          <ac:spMkLst>
            <pc:docMk/>
            <pc:sldMk cId="2532921639" sldId="2134804341"/>
            <ac:spMk id="110" creationId="{7D09FF47-4E46-4C38-80B0-B607480382EC}"/>
          </ac:spMkLst>
        </pc:spChg>
        <pc:spChg chg="mod">
          <ac:chgData name="Andrea Mogollon Nossa (CENIT)" userId="f6a3e592-cc27-4858-b185-ff86be206069" providerId="ADAL" clId="{7512AD08-729F-4631-AFF5-A13DAAFD1BEE}" dt="2020-07-28T20:17:13.942" v="2728" actId="108"/>
          <ac:spMkLst>
            <pc:docMk/>
            <pc:sldMk cId="2532921639" sldId="2134804341"/>
            <ac:spMk id="126" creationId="{AD4ED8B4-B12A-4144-927B-9A51E646655A}"/>
          </ac:spMkLst>
        </pc:spChg>
        <pc:spChg chg="mod">
          <ac:chgData name="Andrea Mogollon Nossa (CENIT)" userId="f6a3e592-cc27-4858-b185-ff86be206069" providerId="ADAL" clId="{7512AD08-729F-4631-AFF5-A13DAAFD1BEE}" dt="2020-07-28T20:19:03.141" v="2729" actId="108"/>
          <ac:spMkLst>
            <pc:docMk/>
            <pc:sldMk cId="2532921639" sldId="2134804341"/>
            <ac:spMk id="152" creationId="{BABCCD2D-BE76-4FC2-ADA5-9D144AA6B4B2}"/>
          </ac:spMkLst>
        </pc:spChg>
        <pc:spChg chg="mod">
          <ac:chgData name="Andrea Mogollon Nossa (CENIT)" userId="f6a3e592-cc27-4858-b185-ff86be206069" providerId="ADAL" clId="{7512AD08-729F-4631-AFF5-A13DAAFD1BEE}" dt="2020-07-28T20:19:10.824" v="2730" actId="108"/>
          <ac:spMkLst>
            <pc:docMk/>
            <pc:sldMk cId="2532921639" sldId="2134804341"/>
            <ac:spMk id="154" creationId="{023A45C0-4000-48FB-9E82-3BD6579F07E8}"/>
          </ac:spMkLst>
        </pc:spChg>
        <pc:spChg chg="mod">
          <ac:chgData name="Andrea Mogollon Nossa (CENIT)" userId="f6a3e592-cc27-4858-b185-ff86be206069" providerId="ADAL" clId="{7512AD08-729F-4631-AFF5-A13DAAFD1BEE}" dt="2020-07-28T20:19:15.284" v="2731" actId="108"/>
          <ac:spMkLst>
            <pc:docMk/>
            <pc:sldMk cId="2532921639" sldId="2134804341"/>
            <ac:spMk id="162" creationId="{F90D48DD-6D46-46CC-B160-D915402FD8FC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20:31:50.894" v="2754" actId="693"/>
        <pc:sldMkLst>
          <pc:docMk/>
          <pc:sldMk cId="2183210988" sldId="2134804342"/>
        </pc:sldMkLst>
        <pc:spChg chg="mod">
          <ac:chgData name="Andrea Mogollon Nossa (CENIT)" userId="f6a3e592-cc27-4858-b185-ff86be206069" providerId="ADAL" clId="{7512AD08-729F-4631-AFF5-A13DAAFD1BEE}" dt="2020-07-28T20:30:58.953" v="2751" actId="108"/>
          <ac:spMkLst>
            <pc:docMk/>
            <pc:sldMk cId="2183210988" sldId="2134804342"/>
            <ac:spMk id="15" creationId="{F5F6020F-918E-4261-B79A-8D7C5966BB0C}"/>
          </ac:spMkLst>
        </pc:spChg>
        <pc:spChg chg="mod">
          <ac:chgData name="Andrea Mogollon Nossa (CENIT)" userId="f6a3e592-cc27-4858-b185-ff86be206069" providerId="ADAL" clId="{7512AD08-729F-4631-AFF5-A13DAAFD1BEE}" dt="2020-07-28T20:31:01.462" v="2752" actId="108"/>
          <ac:spMkLst>
            <pc:docMk/>
            <pc:sldMk cId="2183210988" sldId="2134804342"/>
            <ac:spMk id="19" creationId="{F04331EA-3C34-4632-A33B-964C955FEA5B}"/>
          </ac:spMkLst>
        </pc:spChg>
        <pc:spChg chg="mod">
          <ac:chgData name="Andrea Mogollon Nossa (CENIT)" userId="f6a3e592-cc27-4858-b185-ff86be206069" providerId="ADAL" clId="{7512AD08-729F-4631-AFF5-A13DAAFD1BEE}" dt="2020-07-28T20:22:55.915" v="2744" actId="208"/>
          <ac:spMkLst>
            <pc:docMk/>
            <pc:sldMk cId="2183210988" sldId="2134804342"/>
            <ac:spMk id="69" creationId="{19A1630B-DA92-4FE5-8C69-AFF7139B1FFA}"/>
          </ac:spMkLst>
        </pc:spChg>
        <pc:spChg chg="mod">
          <ac:chgData name="Andrea Mogollon Nossa (CENIT)" userId="f6a3e592-cc27-4858-b185-ff86be206069" providerId="ADAL" clId="{7512AD08-729F-4631-AFF5-A13DAAFD1BEE}" dt="2020-07-28T20:23:42.203" v="2748" actId="108"/>
          <ac:spMkLst>
            <pc:docMk/>
            <pc:sldMk cId="2183210988" sldId="2134804342"/>
            <ac:spMk id="74" creationId="{02238FA8-CD97-4ED0-9834-B628DBE001FC}"/>
          </ac:spMkLst>
        </pc:spChg>
        <pc:spChg chg="mod">
          <ac:chgData name="Andrea Mogollon Nossa (CENIT)" userId="f6a3e592-cc27-4858-b185-ff86be206069" providerId="ADAL" clId="{7512AD08-729F-4631-AFF5-A13DAAFD1BEE}" dt="2020-07-28T20:22:24.660" v="2739" actId="108"/>
          <ac:spMkLst>
            <pc:docMk/>
            <pc:sldMk cId="2183210988" sldId="2134804342"/>
            <ac:spMk id="219" creationId="{62FC86D8-1E1F-477E-A8C1-DE0EA4C4AB17}"/>
          </ac:spMkLst>
        </pc:spChg>
        <pc:spChg chg="mod">
          <ac:chgData name="Andrea Mogollon Nossa (CENIT)" userId="f6a3e592-cc27-4858-b185-ff86be206069" providerId="ADAL" clId="{7512AD08-729F-4631-AFF5-A13DAAFD1BEE}" dt="2020-07-28T20:22:29.986" v="2740" actId="108"/>
          <ac:spMkLst>
            <pc:docMk/>
            <pc:sldMk cId="2183210988" sldId="2134804342"/>
            <ac:spMk id="221" creationId="{C23958D9-8D2A-476C-A650-5C5842068126}"/>
          </ac:spMkLst>
        </pc:spChg>
        <pc:spChg chg="mod">
          <ac:chgData name="Andrea Mogollon Nossa (CENIT)" userId="f6a3e592-cc27-4858-b185-ff86be206069" providerId="ADAL" clId="{7512AD08-729F-4631-AFF5-A13DAAFD1BEE}" dt="2020-07-28T20:22:52.118" v="2743" actId="208"/>
          <ac:spMkLst>
            <pc:docMk/>
            <pc:sldMk cId="2183210988" sldId="2134804342"/>
            <ac:spMk id="223" creationId="{99E0F853-4FD1-46B7-8A75-EA8670F01C90}"/>
          </ac:spMkLst>
        </pc:spChg>
        <pc:spChg chg="mod">
          <ac:chgData name="Andrea Mogollon Nossa (CENIT)" userId="f6a3e592-cc27-4858-b185-ff86be206069" providerId="ADAL" clId="{7512AD08-729F-4631-AFF5-A13DAAFD1BEE}" dt="2020-07-28T20:23:08.189" v="2745" actId="108"/>
          <ac:spMkLst>
            <pc:docMk/>
            <pc:sldMk cId="2183210988" sldId="2134804342"/>
            <ac:spMk id="233" creationId="{A9C794B6-CC7C-44F8-BC30-A0E42B3A6EAF}"/>
          </ac:spMkLst>
        </pc:spChg>
        <pc:spChg chg="mod">
          <ac:chgData name="Andrea Mogollon Nossa (CENIT)" userId="f6a3e592-cc27-4858-b185-ff86be206069" providerId="ADAL" clId="{7512AD08-729F-4631-AFF5-A13DAAFD1BEE}" dt="2020-07-28T20:23:12.477" v="2746" actId="108"/>
          <ac:spMkLst>
            <pc:docMk/>
            <pc:sldMk cId="2183210988" sldId="2134804342"/>
            <ac:spMk id="235" creationId="{67397329-06CB-4EAD-BB20-9DB9C847A3B1}"/>
          </ac:spMkLst>
        </pc:spChg>
        <pc:spChg chg="mod">
          <ac:chgData name="Andrea Mogollon Nossa (CENIT)" userId="f6a3e592-cc27-4858-b185-ff86be206069" providerId="ADAL" clId="{7512AD08-729F-4631-AFF5-A13DAAFD1BEE}" dt="2020-07-28T20:23:14.990" v="2747" actId="108"/>
          <ac:spMkLst>
            <pc:docMk/>
            <pc:sldMk cId="2183210988" sldId="2134804342"/>
            <ac:spMk id="237" creationId="{51598549-7FE1-4A9E-8F40-B2099285B661}"/>
          </ac:spMkLst>
        </pc:spChg>
        <pc:spChg chg="mod">
          <ac:chgData name="Andrea Mogollon Nossa (CENIT)" userId="f6a3e592-cc27-4858-b185-ff86be206069" providerId="ADAL" clId="{7512AD08-729F-4631-AFF5-A13DAAFD1BEE}" dt="2020-07-28T20:30:45.776" v="2749" actId="108"/>
          <ac:spMkLst>
            <pc:docMk/>
            <pc:sldMk cId="2183210988" sldId="2134804342"/>
            <ac:spMk id="277" creationId="{8C179BE5-9C31-4DC6-92CF-18666A46155E}"/>
          </ac:spMkLst>
        </pc:spChg>
        <pc:spChg chg="mod">
          <ac:chgData name="Andrea Mogollon Nossa (CENIT)" userId="f6a3e592-cc27-4858-b185-ff86be206069" providerId="ADAL" clId="{7512AD08-729F-4631-AFF5-A13DAAFD1BEE}" dt="2020-07-28T20:30:47.872" v="2750" actId="108"/>
          <ac:spMkLst>
            <pc:docMk/>
            <pc:sldMk cId="2183210988" sldId="2134804342"/>
            <ac:spMk id="283" creationId="{5B397935-C4A0-45CD-9F44-64AC2D6438E5}"/>
          </ac:spMkLst>
        </pc:spChg>
        <pc:spChg chg="mod">
          <ac:chgData name="Andrea Mogollon Nossa (CENIT)" userId="f6a3e592-cc27-4858-b185-ff86be206069" providerId="ADAL" clId="{7512AD08-729F-4631-AFF5-A13DAAFD1BEE}" dt="2020-07-28T20:31:50.894" v="2754" actId="693"/>
          <ac:spMkLst>
            <pc:docMk/>
            <pc:sldMk cId="2183210988" sldId="2134804342"/>
            <ac:spMk id="296" creationId="{6EB1D654-7D2E-4C5A-A742-EC00673A449F}"/>
          </ac:spMkLst>
        </pc:spChg>
        <pc:spChg chg="mod">
          <ac:chgData name="Andrea Mogollon Nossa (CENIT)" userId="f6a3e592-cc27-4858-b185-ff86be206069" providerId="ADAL" clId="{7512AD08-729F-4631-AFF5-A13DAAFD1BEE}" dt="2020-07-28T00:01:09.369" v="1154" actId="20577"/>
          <ac:spMkLst>
            <pc:docMk/>
            <pc:sldMk cId="2183210988" sldId="2134804342"/>
            <ac:spMk id="302" creationId="{C642D50B-C6B3-4A0C-87B7-132C6B2DE4AC}"/>
          </ac:spMkLst>
        </pc:spChg>
      </pc:sldChg>
      <pc:sldChg chg="addSp delSp modSp new mod">
        <pc:chgData name="Andrea Mogollon Nossa (CENIT)" userId="f6a3e592-cc27-4858-b185-ff86be206069" providerId="ADAL" clId="{7512AD08-729F-4631-AFF5-A13DAAFD1BEE}" dt="2020-07-28T19:08:56.011" v="1462" actId="1076"/>
        <pc:sldMkLst>
          <pc:docMk/>
          <pc:sldMk cId="1108072925" sldId="2134804343"/>
        </pc:sldMkLst>
        <pc:spChg chg="add mod">
          <ac:chgData name="Andrea Mogollon Nossa (CENIT)" userId="f6a3e592-cc27-4858-b185-ff86be206069" providerId="ADAL" clId="{7512AD08-729F-4631-AFF5-A13DAAFD1BEE}" dt="2020-07-28T19:08:09.543" v="1453" actId="13926"/>
          <ac:spMkLst>
            <pc:docMk/>
            <pc:sldMk cId="1108072925" sldId="2134804343"/>
            <ac:spMk id="3" creationId="{164DF9F9-0719-4943-934C-41A1DA9BF0D5}"/>
          </ac:spMkLst>
        </pc:spChg>
        <pc:spChg chg="add mod">
          <ac:chgData name="Andrea Mogollon Nossa (CENIT)" userId="f6a3e592-cc27-4858-b185-ff86be206069" providerId="ADAL" clId="{7512AD08-729F-4631-AFF5-A13DAAFD1BEE}" dt="2020-07-28T15:29:45.576" v="1342" actId="108"/>
          <ac:spMkLst>
            <pc:docMk/>
            <pc:sldMk cId="1108072925" sldId="2134804343"/>
            <ac:spMk id="4" creationId="{25C67AAE-195C-4BD0-89AC-637004543F79}"/>
          </ac:spMkLst>
        </pc:spChg>
        <pc:spChg chg="add mod">
          <ac:chgData name="Andrea Mogollon Nossa (CENIT)" userId="f6a3e592-cc27-4858-b185-ff86be206069" providerId="ADAL" clId="{7512AD08-729F-4631-AFF5-A13DAAFD1BEE}" dt="2020-07-28T15:29:43.252" v="1341" actId="108"/>
          <ac:spMkLst>
            <pc:docMk/>
            <pc:sldMk cId="1108072925" sldId="2134804343"/>
            <ac:spMk id="5" creationId="{DD5A3B7D-7DBE-4898-A489-8AE5D9344831}"/>
          </ac:spMkLst>
        </pc:spChg>
        <pc:spChg chg="add mod">
          <ac:chgData name="Andrea Mogollon Nossa (CENIT)" userId="f6a3e592-cc27-4858-b185-ff86be206069" providerId="ADAL" clId="{7512AD08-729F-4631-AFF5-A13DAAFD1BEE}" dt="2020-07-28T15:29:29.212" v="1339" actId="108"/>
          <ac:spMkLst>
            <pc:docMk/>
            <pc:sldMk cId="1108072925" sldId="2134804343"/>
            <ac:spMk id="6" creationId="{F890A780-0AE9-4BF0-8CB4-292BA41F0D4D}"/>
          </ac:spMkLst>
        </pc:spChg>
        <pc:spChg chg="add mod">
          <ac:chgData name="Andrea Mogollon Nossa (CENIT)" userId="f6a3e592-cc27-4858-b185-ff86be206069" providerId="ADAL" clId="{7512AD08-729F-4631-AFF5-A13DAAFD1BEE}" dt="2020-07-28T15:29:50.759" v="1343" actId="108"/>
          <ac:spMkLst>
            <pc:docMk/>
            <pc:sldMk cId="1108072925" sldId="2134804343"/>
            <ac:spMk id="7" creationId="{8A2BBF5B-87FF-4A67-94F6-B149160C9102}"/>
          </ac:spMkLst>
        </pc:spChg>
        <pc:spChg chg="add mod">
          <ac:chgData name="Andrea Mogollon Nossa (CENIT)" userId="f6a3e592-cc27-4858-b185-ff86be206069" providerId="ADAL" clId="{7512AD08-729F-4631-AFF5-A13DAAFD1BEE}" dt="2020-07-28T15:29:36.202" v="1340" actId="108"/>
          <ac:spMkLst>
            <pc:docMk/>
            <pc:sldMk cId="1108072925" sldId="2134804343"/>
            <ac:spMk id="8" creationId="{B43FC437-82E8-4198-8B4B-072E5DB4852E}"/>
          </ac:spMkLst>
        </pc:spChg>
        <pc:spChg chg="add mod">
          <ac:chgData name="Andrea Mogollon Nossa (CENIT)" userId="f6a3e592-cc27-4858-b185-ff86be206069" providerId="ADAL" clId="{7512AD08-729F-4631-AFF5-A13DAAFD1BEE}" dt="2020-07-27T22:55:47.199" v="720"/>
          <ac:spMkLst>
            <pc:docMk/>
            <pc:sldMk cId="1108072925" sldId="2134804343"/>
            <ac:spMk id="9" creationId="{4B2629AB-0194-4429-B721-D46F1AE1DD27}"/>
          </ac:spMkLst>
        </pc:spChg>
        <pc:spChg chg="add del mod">
          <ac:chgData name="Andrea Mogollon Nossa (CENIT)" userId="f6a3e592-cc27-4858-b185-ff86be206069" providerId="ADAL" clId="{7512AD08-729F-4631-AFF5-A13DAAFD1BEE}" dt="2020-07-27T22:56:09.100" v="731" actId="478"/>
          <ac:spMkLst>
            <pc:docMk/>
            <pc:sldMk cId="1108072925" sldId="2134804343"/>
            <ac:spMk id="10" creationId="{F8B179F9-766B-4524-906A-B33774BAE62E}"/>
          </ac:spMkLst>
        </pc:spChg>
        <pc:spChg chg="add del mod">
          <ac:chgData name="Andrea Mogollon Nossa (CENIT)" userId="f6a3e592-cc27-4858-b185-ff86be206069" providerId="ADAL" clId="{7512AD08-729F-4631-AFF5-A13DAAFD1BEE}" dt="2020-07-27T22:56:08.218" v="730" actId="478"/>
          <ac:spMkLst>
            <pc:docMk/>
            <pc:sldMk cId="1108072925" sldId="2134804343"/>
            <ac:spMk id="11" creationId="{F9C9F302-895B-46EC-9B07-31252FC5004D}"/>
          </ac:spMkLst>
        </pc:spChg>
        <pc:spChg chg="add del mod">
          <ac:chgData name="Andrea Mogollon Nossa (CENIT)" userId="f6a3e592-cc27-4858-b185-ff86be206069" providerId="ADAL" clId="{7512AD08-729F-4631-AFF5-A13DAAFD1BEE}" dt="2020-07-27T22:56:06.695" v="728" actId="478"/>
          <ac:spMkLst>
            <pc:docMk/>
            <pc:sldMk cId="1108072925" sldId="2134804343"/>
            <ac:spMk id="12" creationId="{C22FA06A-9C78-4D36-94A3-26B18C2FCBBF}"/>
          </ac:spMkLst>
        </pc:spChg>
        <pc:spChg chg="add del mod">
          <ac:chgData name="Andrea Mogollon Nossa (CENIT)" userId="f6a3e592-cc27-4858-b185-ff86be206069" providerId="ADAL" clId="{7512AD08-729F-4631-AFF5-A13DAAFD1BEE}" dt="2020-07-27T22:56:03.826" v="727" actId="478"/>
          <ac:spMkLst>
            <pc:docMk/>
            <pc:sldMk cId="1108072925" sldId="2134804343"/>
            <ac:spMk id="13" creationId="{8E4F96A5-F965-4548-B527-C0EE4A1A329C}"/>
          </ac:spMkLst>
        </pc:spChg>
        <pc:spChg chg="add mod">
          <ac:chgData name="Andrea Mogollon Nossa (CENIT)" userId="f6a3e592-cc27-4858-b185-ff86be206069" providerId="ADAL" clId="{7512AD08-729F-4631-AFF5-A13DAAFD1BEE}" dt="2020-07-27T23:00:30.554" v="868" actId="20577"/>
          <ac:spMkLst>
            <pc:docMk/>
            <pc:sldMk cId="1108072925" sldId="2134804343"/>
            <ac:spMk id="14" creationId="{FE03BCAB-75A5-44EE-8BDC-032F6CEBA0D7}"/>
          </ac:spMkLst>
        </pc:spChg>
        <pc:spChg chg="add mod">
          <ac:chgData name="Andrea Mogollon Nossa (CENIT)" userId="f6a3e592-cc27-4858-b185-ff86be206069" providerId="ADAL" clId="{7512AD08-729F-4631-AFF5-A13DAAFD1BEE}" dt="2020-07-27T22:57:44.982" v="844" actId="20577"/>
          <ac:spMkLst>
            <pc:docMk/>
            <pc:sldMk cId="1108072925" sldId="2134804343"/>
            <ac:spMk id="15" creationId="{EA00BF16-70C8-4E77-BCFE-26B7A24F5A4E}"/>
          </ac:spMkLst>
        </pc:spChg>
        <pc:spChg chg="add mod">
          <ac:chgData name="Andrea Mogollon Nossa (CENIT)" userId="f6a3e592-cc27-4858-b185-ff86be206069" providerId="ADAL" clId="{7512AD08-729F-4631-AFF5-A13DAAFD1BEE}" dt="2020-07-27T23:00:20.536" v="860" actId="20577"/>
          <ac:spMkLst>
            <pc:docMk/>
            <pc:sldMk cId="1108072925" sldId="2134804343"/>
            <ac:spMk id="16" creationId="{3B6388DF-8204-4D49-A700-558B0FC89E23}"/>
          </ac:spMkLst>
        </pc:spChg>
        <pc:spChg chg="add mod">
          <ac:chgData name="Andrea Mogollon Nossa (CENIT)" userId="f6a3e592-cc27-4858-b185-ff86be206069" providerId="ADAL" clId="{7512AD08-729F-4631-AFF5-A13DAAFD1BEE}" dt="2020-07-27T23:00:23.295" v="862" actId="20577"/>
          <ac:spMkLst>
            <pc:docMk/>
            <pc:sldMk cId="1108072925" sldId="2134804343"/>
            <ac:spMk id="17" creationId="{72E841CB-C40B-4127-9904-0A2112173004}"/>
          </ac:spMkLst>
        </pc:spChg>
        <pc:spChg chg="add mod">
          <ac:chgData name="Andrea Mogollon Nossa (CENIT)" userId="f6a3e592-cc27-4858-b185-ff86be206069" providerId="ADAL" clId="{7512AD08-729F-4631-AFF5-A13DAAFD1BEE}" dt="2020-07-27T23:00:28.110" v="866" actId="20577"/>
          <ac:spMkLst>
            <pc:docMk/>
            <pc:sldMk cId="1108072925" sldId="2134804343"/>
            <ac:spMk id="18" creationId="{1E8B7C51-F2DC-4BF4-9153-322E3E232CB9}"/>
          </ac:spMkLst>
        </pc:spChg>
        <pc:spChg chg="add mod">
          <ac:chgData name="Andrea Mogollon Nossa (CENIT)" userId="f6a3e592-cc27-4858-b185-ff86be206069" providerId="ADAL" clId="{7512AD08-729F-4631-AFF5-A13DAAFD1BEE}" dt="2020-07-27T23:00:25.714" v="864" actId="20577"/>
          <ac:spMkLst>
            <pc:docMk/>
            <pc:sldMk cId="1108072925" sldId="2134804343"/>
            <ac:spMk id="19" creationId="{417BFA43-D1EC-4C66-AF9D-19CAC9D70AB8}"/>
          </ac:spMkLst>
        </pc:spChg>
        <pc:spChg chg="add del mod">
          <ac:chgData name="Andrea Mogollon Nossa (CENIT)" userId="f6a3e592-cc27-4858-b185-ff86be206069" providerId="ADAL" clId="{7512AD08-729F-4631-AFF5-A13DAAFD1BEE}" dt="2020-07-28T19:07:57.392" v="1450" actId="478"/>
          <ac:spMkLst>
            <pc:docMk/>
            <pc:sldMk cId="1108072925" sldId="2134804343"/>
            <ac:spMk id="20" creationId="{E65910E4-A096-40D0-B0E3-D9CCC9F11F42}"/>
          </ac:spMkLst>
        </pc:spChg>
        <pc:spChg chg="add mod">
          <ac:chgData name="Andrea Mogollon Nossa (CENIT)" userId="f6a3e592-cc27-4858-b185-ff86be206069" providerId="ADAL" clId="{7512AD08-729F-4631-AFF5-A13DAAFD1BEE}" dt="2020-07-27T23:07:38.650" v="979" actId="1076"/>
          <ac:spMkLst>
            <pc:docMk/>
            <pc:sldMk cId="1108072925" sldId="2134804343"/>
            <ac:spMk id="21" creationId="{EB999A37-346B-4C56-9214-B4DDB0DC4136}"/>
          </ac:spMkLst>
        </pc:spChg>
        <pc:spChg chg="add del mod">
          <ac:chgData name="Andrea Mogollon Nossa (CENIT)" userId="f6a3e592-cc27-4858-b185-ff86be206069" providerId="ADAL" clId="{7512AD08-729F-4631-AFF5-A13DAAFD1BEE}" dt="2020-07-27T23:06:13.958" v="961" actId="478"/>
          <ac:spMkLst>
            <pc:docMk/>
            <pc:sldMk cId="1108072925" sldId="2134804343"/>
            <ac:spMk id="22" creationId="{52743598-9803-4E4C-8EB6-CA16DC9E86F7}"/>
          </ac:spMkLst>
        </pc:spChg>
        <pc:spChg chg="add del mod">
          <ac:chgData name="Andrea Mogollon Nossa (CENIT)" userId="f6a3e592-cc27-4858-b185-ff86be206069" providerId="ADAL" clId="{7512AD08-729F-4631-AFF5-A13DAAFD1BEE}" dt="2020-07-27T23:06:29.626" v="965" actId="478"/>
          <ac:spMkLst>
            <pc:docMk/>
            <pc:sldMk cId="1108072925" sldId="2134804343"/>
            <ac:spMk id="23" creationId="{8E4E20A0-FAC8-4688-B1ED-142F56CDAB73}"/>
          </ac:spMkLst>
        </pc:spChg>
        <pc:spChg chg="add mod">
          <ac:chgData name="Andrea Mogollon Nossa (CENIT)" userId="f6a3e592-cc27-4858-b185-ff86be206069" providerId="ADAL" clId="{7512AD08-729F-4631-AFF5-A13DAAFD1BEE}" dt="2020-07-27T23:40:08.110" v="1000" actId="208"/>
          <ac:spMkLst>
            <pc:docMk/>
            <pc:sldMk cId="1108072925" sldId="2134804343"/>
            <ac:spMk id="24" creationId="{ACD3A537-2FEC-4895-A698-734B2A198980}"/>
          </ac:spMkLst>
        </pc:spChg>
        <pc:spChg chg="add mod">
          <ac:chgData name="Andrea Mogollon Nossa (CENIT)" userId="f6a3e592-cc27-4858-b185-ff86be206069" providerId="ADAL" clId="{7512AD08-729F-4631-AFF5-A13DAAFD1BEE}" dt="2020-07-27T23:40:11.807" v="1001" actId="208"/>
          <ac:spMkLst>
            <pc:docMk/>
            <pc:sldMk cId="1108072925" sldId="2134804343"/>
            <ac:spMk id="25" creationId="{54D9DE30-764E-4960-A02B-656F455ACCD8}"/>
          </ac:spMkLst>
        </pc:spChg>
        <pc:spChg chg="add mod">
          <ac:chgData name="Andrea Mogollon Nossa (CENIT)" userId="f6a3e592-cc27-4858-b185-ff86be206069" providerId="ADAL" clId="{7512AD08-729F-4631-AFF5-A13DAAFD1BEE}" dt="2020-07-27T23:07:02.739" v="971" actId="1076"/>
          <ac:spMkLst>
            <pc:docMk/>
            <pc:sldMk cId="1108072925" sldId="2134804343"/>
            <ac:spMk id="26" creationId="{73903E7D-5976-4068-872C-534A412616F3}"/>
          </ac:spMkLst>
        </pc:spChg>
        <pc:spChg chg="add mod">
          <ac:chgData name="Andrea Mogollon Nossa (CENIT)" userId="f6a3e592-cc27-4858-b185-ff86be206069" providerId="ADAL" clId="{7512AD08-729F-4631-AFF5-A13DAAFD1BEE}" dt="2020-07-27T23:07:07.755" v="973" actId="1076"/>
          <ac:spMkLst>
            <pc:docMk/>
            <pc:sldMk cId="1108072925" sldId="2134804343"/>
            <ac:spMk id="27" creationId="{8BA59867-5BA3-42BA-BFED-FBEB4191A8C9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28" creationId="{7792899F-3035-40A5-9FBD-C2B1A1573BFF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29" creationId="{BE65FFDB-9739-44BF-BE38-3AFF0DEE29A0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30" creationId="{3823281F-77AF-4603-A178-63CCA6BD8F67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31" creationId="{B1D5A2F1-0299-4C85-82B1-3C26252D9752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32" creationId="{5DB38D2C-B632-4807-8F32-2686843D2578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34" creationId="{A1928152-4F4F-46EB-9118-74F461C9AC60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35" creationId="{540B0C04-61D3-4955-994D-4E62F1E60F1D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37" creationId="{F6B6979B-F65C-4FCF-AED4-80D20D6B2A2D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38" creationId="{7CCB1A61-024D-42A9-A6A0-A6D3D61BC89A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40" creationId="{87DA6435-1D5E-459B-9F95-C9182E0F2409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41" creationId="{9B53F194-6882-481C-B160-83EAF3D2218E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2" creationId="{306DEF00-482D-4617-B78C-54160C0FB52C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3" creationId="{2D9D0790-7F4B-4173-80C6-C08093270346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4" creationId="{DB90E561-78D8-4FBC-BC4A-93B5FF00F771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5" creationId="{CB703A56-3BD2-47FF-B2CD-9C1A19C4931A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6" creationId="{5636C88E-8BFA-4585-9230-337BB61F07D7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7" creationId="{9BEF0AF9-A9C4-4973-9168-DB8A689D8742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8" creationId="{5573296C-608D-46EB-B964-16B38EAA0A49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9" creationId="{A6892569-D606-4ABE-90EC-F2EA7719A48B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0" creationId="{13AF632E-768D-4773-B855-1077E97D35CD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1" creationId="{B28D3C10-8675-4CFA-B062-9C3BA1F6EFB8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2" creationId="{EADB8323-88BD-4392-AEDD-E1BF8ECFB639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3" creationId="{8E327280-F865-4140-AABC-90343BAEEF5D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4" creationId="{08D4DD66-806E-4346-914F-B5F4D83C9328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5" creationId="{93A61655-F903-4A61-B918-645242E330B5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56" creationId="{80A16A5E-2DC3-48C5-A193-0E30F1ED1018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57" creationId="{F18B3914-CB2D-4935-AEEB-059797854C52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58" creationId="{A4F91B5A-86B7-4961-A1E6-381B110F6226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59" creationId="{F41F26D9-983A-486D-B690-3F42952D8E17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60" creationId="{833E97BE-162F-4A8D-A763-49CF918C16B0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2" creationId="{238965F7-9FF4-4F6F-8EB4-81D5FC94D85C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3" creationId="{0BB5E0A4-5A6B-466E-BD54-37D72D365AD1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5" creationId="{2335A339-0837-4CF8-8DD3-C6F1BBE0AE9B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6" creationId="{D9A397F4-5476-4FCB-921A-F4A88EB3714F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8" creationId="{89CBBEB1-F520-438B-98E6-FA6F6470B092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9" creationId="{1D0990BA-E9A0-4CCA-92B5-5FA9EF0D9963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0" creationId="{D1488391-2A35-4762-A508-80C4BF641347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1" creationId="{C479F27E-BC0A-4ABC-9D91-83C349FBE576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2" creationId="{099548EA-BCA6-4418-8BBE-EDAF3EE26B2C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3" creationId="{BE465184-3A43-4E8F-9C11-D24CBCB0D99F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4" creationId="{64FD1836-2612-4A9A-8061-FD4061A38D24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5" creationId="{287A5647-9D89-4E79-9046-8D1BFD7143F8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6" creationId="{987878F7-C79D-469A-A39B-BBED18A1705F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7" creationId="{E9E4BA15-5CF4-4FDB-B8D0-C9E8E49A3AB4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8" creationId="{BC9416A2-3DFB-4C88-81DB-D3F3D751C4E2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9" creationId="{8CC45AFB-E396-4899-BC1B-04CB4FD910C7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80" creationId="{DD5A7BBE-D503-4996-9F2A-24031475BB45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81" creationId="{DBFAF20F-9577-475B-A7E5-337370AEE6B4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82" creationId="{997846B4-2397-4D6B-86F3-AEBD8DC7310F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83" creationId="{58E9E508-409E-47D8-971D-332F02031472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84" creationId="{886FB85F-4045-49C0-B9EC-FEBB97BC84D1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85" creationId="{6C4D690C-0DB4-41A6-A8EE-0D7063849892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86" creationId="{67F18975-54EA-4187-B6DC-1E49D8E3794E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87" creationId="{455C26A8-EBAD-4421-B4F0-87FC292780FA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88" creationId="{58E7088F-6565-4477-A2B9-065944FF04EF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0" creationId="{C688E8D0-B289-4753-B07B-3E88A33C8527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1" creationId="{BBCC8BAA-7FFD-4B43-843D-06A05AE6C439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3" creationId="{504D58DD-A8AF-4E19-A298-E8C3F4298695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4" creationId="{802CB3DF-F07C-4654-BEC6-CED186A1D638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6" creationId="{A90A0CD4-C9A4-444E-AB65-771FF5EF730B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7" creationId="{CD1CCC2A-CF3E-4E52-9801-7E74B9A5B0CD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98" creationId="{2874F4A7-BA31-42F8-8B44-D2B5FBA0E2F3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99" creationId="{998B0A73-274C-481A-A4B8-8A1CBF5C7BCE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0" creationId="{C18B66AE-9817-483D-AAE7-505E4F691E5D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1" creationId="{DA655B72-124C-4293-8F6E-D524B87ECFC7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2" creationId="{D67A4E90-F0D2-4EE2-98BE-5F82E84023F3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3" creationId="{F2FC0816-B83C-46C8-9FA1-F426211DB612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4" creationId="{FBA1521A-5C1D-4407-905C-71C307B27F97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5" creationId="{B56171C3-6BB7-49EC-BD2D-F2473F3C4E2B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6" creationId="{47144B9C-3AB4-4608-898D-E5D227B54004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7" creationId="{C5E9DB97-7794-4A4A-A523-A103AD0517ED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8" creationId="{0DC7BE94-6BD5-46D4-BC49-2B712E9DEB9D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9" creationId="{E2C836AB-E138-454F-A410-54DB37F42323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10" creationId="{E9975283-C6EA-4D0A-929B-59144ED5D0CE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11" creationId="{332D485A-369B-4473-A3F1-550E372F3A44}"/>
          </ac:spMkLst>
        </pc:spChg>
        <pc:spChg chg="mod">
          <ac:chgData name="Andrea Mogollon Nossa (CENIT)" userId="f6a3e592-cc27-4858-b185-ff86be206069" providerId="ADAL" clId="{7512AD08-729F-4631-AFF5-A13DAAFD1BEE}" dt="2020-07-28T17:05:12.408" v="1430" actId="108"/>
          <ac:spMkLst>
            <pc:docMk/>
            <pc:sldMk cId="1108072925" sldId="2134804343"/>
            <ac:spMk id="130" creationId="{E6F7A92A-2E90-4E0A-AE82-D285E1B836CE}"/>
          </ac:spMkLst>
        </pc:spChg>
        <pc:spChg chg="del">
          <ac:chgData name="Andrea Mogollon Nossa (CENIT)" userId="f6a3e592-cc27-4858-b185-ff86be206069" providerId="ADAL" clId="{7512AD08-729F-4631-AFF5-A13DAAFD1BEE}" dt="2020-07-28T17:05:18.314" v="1431" actId="478"/>
          <ac:spMkLst>
            <pc:docMk/>
            <pc:sldMk cId="1108072925" sldId="2134804343"/>
            <ac:spMk id="131" creationId="{C35964BB-AF62-490A-95C9-F74F0297887A}"/>
          </ac:spMkLst>
        </pc:spChg>
        <pc:spChg chg="mod">
          <ac:chgData name="Andrea Mogollon Nossa (CENIT)" userId="f6a3e592-cc27-4858-b185-ff86be206069" providerId="ADAL" clId="{7512AD08-729F-4631-AFF5-A13DAAFD1BEE}" dt="2020-07-28T17:06:19.791" v="1443" actId="1076"/>
          <ac:spMkLst>
            <pc:docMk/>
            <pc:sldMk cId="1108072925" sldId="2134804343"/>
            <ac:spMk id="135" creationId="{5B87A7D7-77D6-4944-AB47-116D5E89008C}"/>
          </ac:spMkLst>
        </pc:spChg>
        <pc:spChg chg="mod">
          <ac:chgData name="Andrea Mogollon Nossa (CENIT)" userId="f6a3e592-cc27-4858-b185-ff86be206069" providerId="ADAL" clId="{7512AD08-729F-4631-AFF5-A13DAAFD1BEE}" dt="2020-07-28T19:08:32.861" v="1458" actId="20577"/>
          <ac:spMkLst>
            <pc:docMk/>
            <pc:sldMk cId="1108072925" sldId="2134804343"/>
            <ac:spMk id="142" creationId="{2B9D1DDC-E53C-4AB4-8F8C-79CC1055A3B5}"/>
          </ac:spMkLst>
        </pc:spChg>
        <pc:spChg chg="mod">
          <ac:chgData name="Andrea Mogollon Nossa (CENIT)" userId="f6a3e592-cc27-4858-b185-ff86be206069" providerId="ADAL" clId="{7512AD08-729F-4631-AFF5-A13DAAFD1BEE}" dt="2020-07-28T17:05:49.638" v="1438" actId="20577"/>
          <ac:spMkLst>
            <pc:docMk/>
            <pc:sldMk cId="1108072925" sldId="2134804343"/>
            <ac:spMk id="157" creationId="{B09E8BC7-6112-462D-8358-7B930C3BA512}"/>
          </ac:spMkLst>
        </pc:spChg>
        <pc:spChg chg="add mod">
          <ac:chgData name="Andrea Mogollon Nossa (CENIT)" userId="f6a3e592-cc27-4858-b185-ff86be206069" providerId="ADAL" clId="{7512AD08-729F-4631-AFF5-A13DAAFD1BEE}" dt="2020-07-28T17:05:26.704" v="1433" actId="1076"/>
          <ac:spMkLst>
            <pc:docMk/>
            <pc:sldMk cId="1108072925" sldId="2134804343"/>
            <ac:spMk id="170" creationId="{407CED4E-C6B4-445C-BB41-36F8991E119E}"/>
          </ac:spMkLst>
        </pc:spChg>
        <pc:spChg chg="add mod">
          <ac:chgData name="Andrea Mogollon Nossa (CENIT)" userId="f6a3e592-cc27-4858-b185-ff86be206069" providerId="ADAL" clId="{7512AD08-729F-4631-AFF5-A13DAAFD1BEE}" dt="2020-07-28T19:08:04.001" v="1452" actId="1076"/>
          <ac:spMkLst>
            <pc:docMk/>
            <pc:sldMk cId="1108072925" sldId="2134804343"/>
            <ac:spMk id="171" creationId="{18B9CD25-EDDB-41F2-A61D-855837F78386}"/>
          </ac:spMkLst>
        </pc:spChg>
        <pc:grpChg chg="add del mod">
          <ac:chgData name="Andrea Mogollon Nossa (CENIT)" userId="f6a3e592-cc27-4858-b185-ff86be206069" providerId="ADAL" clId="{7512AD08-729F-4631-AFF5-A13DAAFD1BEE}" dt="2020-07-27T23:40:17.504" v="1002" actId="478"/>
          <ac:grpSpMkLst>
            <pc:docMk/>
            <pc:sldMk cId="1108072925" sldId="2134804343"/>
            <ac:grpSpMk id="33" creationId="{D45DD21E-2EF0-4BED-9A0F-47A89A0C85EE}"/>
          </ac:grpSpMkLst>
        </pc:grpChg>
        <pc:grpChg chg="add del mod">
          <ac:chgData name="Andrea Mogollon Nossa (CENIT)" userId="f6a3e592-cc27-4858-b185-ff86be206069" providerId="ADAL" clId="{7512AD08-729F-4631-AFF5-A13DAAFD1BEE}" dt="2020-07-27T23:40:17.504" v="1002" actId="478"/>
          <ac:grpSpMkLst>
            <pc:docMk/>
            <pc:sldMk cId="1108072925" sldId="2134804343"/>
            <ac:grpSpMk id="36" creationId="{C60B5EE3-7120-4B36-B7D8-CCBA87BF1E04}"/>
          </ac:grpSpMkLst>
        </pc:grpChg>
        <pc:grpChg chg="add del mod">
          <ac:chgData name="Andrea Mogollon Nossa (CENIT)" userId="f6a3e592-cc27-4858-b185-ff86be206069" providerId="ADAL" clId="{7512AD08-729F-4631-AFF5-A13DAAFD1BEE}" dt="2020-07-27T23:40:17.504" v="1002" actId="478"/>
          <ac:grpSpMkLst>
            <pc:docMk/>
            <pc:sldMk cId="1108072925" sldId="2134804343"/>
            <ac:grpSpMk id="39" creationId="{4E327529-EF35-447B-AA66-14B0E00790E2}"/>
          </ac:grpSpMkLst>
        </pc:grpChg>
        <pc:grpChg chg="add del mod">
          <ac:chgData name="Andrea Mogollon Nossa (CENIT)" userId="f6a3e592-cc27-4858-b185-ff86be206069" providerId="ADAL" clId="{7512AD08-729F-4631-AFF5-A13DAAFD1BEE}" dt="2020-07-28T00:01:30.681" v="1182" actId="478"/>
          <ac:grpSpMkLst>
            <pc:docMk/>
            <pc:sldMk cId="1108072925" sldId="2134804343"/>
            <ac:grpSpMk id="61" creationId="{DA9EEDC4-35D6-4FFB-8907-CD1605170D71}"/>
          </ac:grpSpMkLst>
        </pc:grpChg>
        <pc:grpChg chg="add del mod">
          <ac:chgData name="Andrea Mogollon Nossa (CENIT)" userId="f6a3e592-cc27-4858-b185-ff86be206069" providerId="ADAL" clId="{7512AD08-729F-4631-AFF5-A13DAAFD1BEE}" dt="2020-07-28T00:01:30.681" v="1182" actId="478"/>
          <ac:grpSpMkLst>
            <pc:docMk/>
            <pc:sldMk cId="1108072925" sldId="2134804343"/>
            <ac:grpSpMk id="64" creationId="{EC3A8AA2-F3C5-4203-8A9C-A69307169130}"/>
          </ac:grpSpMkLst>
        </pc:grpChg>
        <pc:grpChg chg="add del mod">
          <ac:chgData name="Andrea Mogollon Nossa (CENIT)" userId="f6a3e592-cc27-4858-b185-ff86be206069" providerId="ADAL" clId="{7512AD08-729F-4631-AFF5-A13DAAFD1BEE}" dt="2020-07-28T00:01:30.681" v="1182" actId="478"/>
          <ac:grpSpMkLst>
            <pc:docMk/>
            <pc:sldMk cId="1108072925" sldId="2134804343"/>
            <ac:grpSpMk id="67" creationId="{35F7367E-79D2-4246-A2FC-165E489F942D}"/>
          </ac:grpSpMkLst>
        </pc:grpChg>
        <pc:grpChg chg="add mod">
          <ac:chgData name="Andrea Mogollon Nossa (CENIT)" userId="f6a3e592-cc27-4858-b185-ff86be206069" providerId="ADAL" clId="{7512AD08-729F-4631-AFF5-A13DAAFD1BEE}" dt="2020-07-28T00:01:39.110" v="1184" actId="1076"/>
          <ac:grpSpMkLst>
            <pc:docMk/>
            <pc:sldMk cId="1108072925" sldId="2134804343"/>
            <ac:grpSpMk id="89" creationId="{59020B7F-5C00-46D8-B954-0E8DE83F8545}"/>
          </ac:grpSpMkLst>
        </pc:grpChg>
        <pc:grpChg chg="add mod">
          <ac:chgData name="Andrea Mogollon Nossa (CENIT)" userId="f6a3e592-cc27-4858-b185-ff86be206069" providerId="ADAL" clId="{7512AD08-729F-4631-AFF5-A13DAAFD1BEE}" dt="2020-07-28T00:01:39.110" v="1184" actId="1076"/>
          <ac:grpSpMkLst>
            <pc:docMk/>
            <pc:sldMk cId="1108072925" sldId="2134804343"/>
            <ac:grpSpMk id="92" creationId="{BD6C9D72-C63D-408A-8C68-F7A4DAA4B27E}"/>
          </ac:grpSpMkLst>
        </pc:grpChg>
        <pc:grpChg chg="add mod">
          <ac:chgData name="Andrea Mogollon Nossa (CENIT)" userId="f6a3e592-cc27-4858-b185-ff86be206069" providerId="ADAL" clId="{7512AD08-729F-4631-AFF5-A13DAAFD1BEE}" dt="2020-07-28T00:01:39.110" v="1184" actId="1076"/>
          <ac:grpSpMkLst>
            <pc:docMk/>
            <pc:sldMk cId="1108072925" sldId="2134804343"/>
            <ac:grpSpMk id="95" creationId="{008F843C-7249-4CAC-877B-CFA2F16F922E}"/>
          </ac:grpSpMkLst>
        </pc:grpChg>
        <pc:grpChg chg="mod">
          <ac:chgData name="Andrea Mogollon Nossa (CENIT)" userId="f6a3e592-cc27-4858-b185-ff86be206069" providerId="ADAL" clId="{7512AD08-729F-4631-AFF5-A13DAAFD1BEE}" dt="2020-07-28T19:08:47.739" v="1460" actId="1076"/>
          <ac:grpSpMkLst>
            <pc:docMk/>
            <pc:sldMk cId="1108072925" sldId="2134804343"/>
            <ac:grpSpMk id="140" creationId="{89A29AE7-7F6C-4890-9B88-06A3EC85355F}"/>
          </ac:grpSpMkLst>
        </pc:grpChg>
        <pc:grpChg chg="mod">
          <ac:chgData name="Andrea Mogollon Nossa (CENIT)" userId="f6a3e592-cc27-4858-b185-ff86be206069" providerId="ADAL" clId="{7512AD08-729F-4631-AFF5-A13DAAFD1BEE}" dt="2020-07-28T17:06:16.042" v="1442" actId="1076"/>
          <ac:grpSpMkLst>
            <pc:docMk/>
            <pc:sldMk cId="1108072925" sldId="2134804343"/>
            <ac:grpSpMk id="143" creationId="{5AD05D54-864C-480F-B3BE-8EDE665F45C1}"/>
          </ac:grpSpMkLst>
        </pc:grpChg>
        <pc:grpChg chg="mod">
          <ac:chgData name="Andrea Mogollon Nossa (CENIT)" userId="f6a3e592-cc27-4858-b185-ff86be206069" providerId="ADAL" clId="{7512AD08-729F-4631-AFF5-A13DAAFD1BEE}" dt="2020-07-28T17:06:16.042" v="1442" actId="1076"/>
          <ac:grpSpMkLst>
            <pc:docMk/>
            <pc:sldMk cId="1108072925" sldId="2134804343"/>
            <ac:grpSpMk id="146" creationId="{A770A3D7-E6A7-47E9-ABA9-593F59AC6696}"/>
          </ac:grpSpMkLst>
        </pc:grpChg>
        <pc:grpChg chg="mod">
          <ac:chgData name="Andrea Mogollon Nossa (CENIT)" userId="f6a3e592-cc27-4858-b185-ff86be206069" providerId="ADAL" clId="{7512AD08-729F-4631-AFF5-A13DAAFD1BEE}" dt="2020-07-28T17:06:16.042" v="1442" actId="1076"/>
          <ac:grpSpMkLst>
            <pc:docMk/>
            <pc:sldMk cId="1108072925" sldId="2134804343"/>
            <ac:grpSpMk id="149" creationId="{9D223151-F879-4232-A05F-7E3EB49AD541}"/>
          </ac:grpSpMkLst>
        </pc:grpChg>
        <pc:grpChg chg="mod">
          <ac:chgData name="Andrea Mogollon Nossa (CENIT)" userId="f6a3e592-cc27-4858-b185-ff86be206069" providerId="ADAL" clId="{7512AD08-729F-4631-AFF5-A13DAAFD1BEE}" dt="2020-07-28T17:06:16.042" v="1442" actId="1076"/>
          <ac:grpSpMkLst>
            <pc:docMk/>
            <pc:sldMk cId="1108072925" sldId="2134804343"/>
            <ac:grpSpMk id="152" creationId="{24001A25-A388-439B-8076-320B9AA91D13}"/>
          </ac:grpSpMkLst>
        </pc:grpChg>
        <pc:grpChg chg="mod">
          <ac:chgData name="Andrea Mogollon Nossa (CENIT)" userId="f6a3e592-cc27-4858-b185-ff86be206069" providerId="ADAL" clId="{7512AD08-729F-4631-AFF5-A13DAAFD1BEE}" dt="2020-07-28T19:08:56.011" v="1462" actId="1076"/>
          <ac:grpSpMkLst>
            <pc:docMk/>
            <pc:sldMk cId="1108072925" sldId="2134804343"/>
            <ac:grpSpMk id="155" creationId="{178061AA-E9DE-4A6D-B70F-AE54A2672D81}"/>
          </ac:grpSpMkLst>
        </pc:grpChg>
        <pc:grpChg chg="del">
          <ac:chgData name="Andrea Mogollon Nossa (CENIT)" userId="f6a3e592-cc27-4858-b185-ff86be206069" providerId="ADAL" clId="{7512AD08-729F-4631-AFF5-A13DAAFD1BEE}" dt="2020-07-28T17:05:51.844" v="1439" actId="478"/>
          <ac:grpSpMkLst>
            <pc:docMk/>
            <pc:sldMk cId="1108072925" sldId="2134804343"/>
            <ac:grpSpMk id="158" creationId="{5FF04808-F2E0-485D-B717-9A6F1A111139}"/>
          </ac:grpSpMkLst>
        </pc:grpChg>
        <pc:grpChg chg="del mod">
          <ac:chgData name="Andrea Mogollon Nossa (CENIT)" userId="f6a3e592-cc27-4858-b185-ff86be206069" providerId="ADAL" clId="{7512AD08-729F-4631-AFF5-A13DAAFD1BEE}" dt="2020-07-28T19:08:28.237" v="1454" actId="478"/>
          <ac:grpSpMkLst>
            <pc:docMk/>
            <pc:sldMk cId="1108072925" sldId="2134804343"/>
            <ac:grpSpMk id="161" creationId="{44C5581E-E63E-497F-9C23-347DD876B469}"/>
          </ac:grpSpMkLst>
        </pc:grpChg>
        <pc:grpChg chg="mod">
          <ac:chgData name="Andrea Mogollon Nossa (CENIT)" userId="f6a3e592-cc27-4858-b185-ff86be206069" providerId="ADAL" clId="{7512AD08-729F-4631-AFF5-A13DAAFD1BEE}" dt="2020-07-28T17:06:16.042" v="1442" actId="1076"/>
          <ac:grpSpMkLst>
            <pc:docMk/>
            <pc:sldMk cId="1108072925" sldId="2134804343"/>
            <ac:grpSpMk id="164" creationId="{8B37E1FD-7126-44DA-952C-66C1412536A2}"/>
          </ac:grpSpMkLst>
        </pc:grpChg>
        <pc:grpChg chg="mod">
          <ac:chgData name="Andrea Mogollon Nossa (CENIT)" userId="f6a3e592-cc27-4858-b185-ff86be206069" providerId="ADAL" clId="{7512AD08-729F-4631-AFF5-A13DAAFD1BEE}" dt="2020-07-28T19:08:53.787" v="1461" actId="1076"/>
          <ac:grpSpMkLst>
            <pc:docMk/>
            <pc:sldMk cId="1108072925" sldId="2134804343"/>
            <ac:grpSpMk id="167" creationId="{20C5926F-D7AF-40E1-8377-6A9B462E8907}"/>
          </ac:grpSpMkLst>
        </pc:grpChg>
      </pc:sldChg>
      <pc:sldChg chg="addSp delSp modSp mod">
        <pc:chgData name="Andrea Mogollon Nossa (CENIT)" userId="f6a3e592-cc27-4858-b185-ff86be206069" providerId="ADAL" clId="{7512AD08-729F-4631-AFF5-A13DAAFD1BEE}" dt="2020-07-28T17:06:35.941" v="1449"/>
        <pc:sldMkLst>
          <pc:docMk/>
          <pc:sldMk cId="1734415321" sldId="2134804344"/>
        </pc:sldMkLst>
        <pc:spChg chg="mod">
          <ac:chgData name="Andrea Mogollon Nossa (CENIT)" userId="f6a3e592-cc27-4858-b185-ff86be206069" providerId="ADAL" clId="{7512AD08-729F-4631-AFF5-A13DAAFD1BEE}" dt="2020-07-27T22:56:39.852" v="745" actId="1076"/>
          <ac:spMkLst>
            <pc:docMk/>
            <pc:sldMk cId="1734415321" sldId="2134804344"/>
            <ac:spMk id="2" creationId="{3A93B487-116E-4767-AA0D-CAE2A460FBE4}"/>
          </ac:spMkLst>
        </pc:spChg>
        <pc:spChg chg="mod">
          <ac:chgData name="Andrea Mogollon Nossa (CENIT)" userId="f6a3e592-cc27-4858-b185-ff86be206069" providerId="ADAL" clId="{7512AD08-729F-4631-AFF5-A13DAAFD1BEE}" dt="2020-07-27T22:53:03.084" v="670" actId="1076"/>
          <ac:spMkLst>
            <pc:docMk/>
            <pc:sldMk cId="1734415321" sldId="2134804344"/>
            <ac:spMk id="3" creationId="{815B10B7-60B3-4C63-8431-70CC556387C9}"/>
          </ac:spMkLst>
        </pc:spChg>
        <pc:spChg chg="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11" creationId="{772CA61D-742C-45F0-BAFA-0F3B90176E98}"/>
          </ac:spMkLst>
        </pc:spChg>
        <pc:spChg chg="mod">
          <ac:chgData name="Andrea Mogollon Nossa (CENIT)" userId="f6a3e592-cc27-4858-b185-ff86be206069" providerId="ADAL" clId="{7512AD08-729F-4631-AFF5-A13DAAFD1BEE}" dt="2020-07-27T22:51:37.115" v="656" actId="1076"/>
          <ac:spMkLst>
            <pc:docMk/>
            <pc:sldMk cId="1734415321" sldId="2134804344"/>
            <ac:spMk id="12" creationId="{7F3CEC4C-7588-4B74-823D-9CF22E2DAD79}"/>
          </ac:spMkLst>
        </pc:spChg>
        <pc:spChg chg="del">
          <ac:chgData name="Andrea Mogollon Nossa (CENIT)" userId="f6a3e592-cc27-4858-b185-ff86be206069" providerId="ADAL" clId="{7512AD08-729F-4631-AFF5-A13DAAFD1BEE}" dt="2020-07-28T15:26:02.400" v="1327" actId="478"/>
          <ac:spMkLst>
            <pc:docMk/>
            <pc:sldMk cId="1734415321" sldId="2134804344"/>
            <ac:spMk id="15" creationId="{2344D56D-6203-47F9-98E9-EC7D6783C459}"/>
          </ac:spMkLst>
        </pc:spChg>
        <pc:spChg chg="mod">
          <ac:chgData name="Andrea Mogollon Nossa (CENIT)" userId="f6a3e592-cc27-4858-b185-ff86be206069" providerId="ADAL" clId="{7512AD08-729F-4631-AFF5-A13DAAFD1BEE}" dt="2020-07-27T23:38:16.591" v="988" actId="208"/>
          <ac:spMkLst>
            <pc:docMk/>
            <pc:sldMk cId="1734415321" sldId="2134804344"/>
            <ac:spMk id="22" creationId="{53E538FE-3283-40FB-A5F0-3E57246B6EFA}"/>
          </ac:spMkLst>
        </pc:spChg>
        <pc:spChg chg="mod">
          <ac:chgData name="Andrea Mogollon Nossa (CENIT)" userId="f6a3e592-cc27-4858-b185-ff86be206069" providerId="ADAL" clId="{7512AD08-729F-4631-AFF5-A13DAAFD1BEE}" dt="2020-07-27T21:01:55.378" v="187" actId="6549"/>
          <ac:spMkLst>
            <pc:docMk/>
            <pc:sldMk cId="1734415321" sldId="2134804344"/>
            <ac:spMk id="27" creationId="{910DCB24-1C9B-45BE-9592-B8EC86E558A4}"/>
          </ac:spMkLst>
        </pc:spChg>
        <pc:spChg chg="mod">
          <ac:chgData name="Andrea Mogollon Nossa (CENIT)" userId="f6a3e592-cc27-4858-b185-ff86be206069" providerId="ADAL" clId="{7512AD08-729F-4631-AFF5-A13DAAFD1BEE}" dt="2020-07-27T23:38:20.790" v="989" actId="208"/>
          <ac:spMkLst>
            <pc:docMk/>
            <pc:sldMk cId="1734415321" sldId="2134804344"/>
            <ac:spMk id="28" creationId="{4A0F0E28-A961-4260-8BB9-16809CE2E13A}"/>
          </ac:spMkLst>
        </pc:spChg>
        <pc:spChg chg="mod">
          <ac:chgData name="Andrea Mogollon Nossa (CENIT)" userId="f6a3e592-cc27-4858-b185-ff86be206069" providerId="ADAL" clId="{7512AD08-729F-4631-AFF5-A13DAAFD1BEE}" dt="2020-07-27T22:51:37.115" v="656" actId="1076"/>
          <ac:spMkLst>
            <pc:docMk/>
            <pc:sldMk cId="1734415321" sldId="2134804344"/>
            <ac:spMk id="29" creationId="{46F67329-EAA2-4B09-AD5B-91FE70391A81}"/>
          </ac:spMkLst>
        </pc:spChg>
        <pc:spChg chg="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30" creationId="{5BF08848-45AE-451C-A99D-7322CF796742}"/>
          </ac:spMkLst>
        </pc:spChg>
        <pc:spChg chg="mod">
          <ac:chgData name="Andrea Mogollon Nossa (CENIT)" userId="f6a3e592-cc27-4858-b185-ff86be206069" providerId="ADAL" clId="{7512AD08-729F-4631-AFF5-A13DAAFD1BEE}" dt="2020-07-27T23:39:16.598" v="995" actId="208"/>
          <ac:spMkLst>
            <pc:docMk/>
            <pc:sldMk cId="1734415321" sldId="2134804344"/>
            <ac:spMk id="32" creationId="{112CF6BB-B57E-4E30-BDB8-A663AA382E62}"/>
          </ac:spMkLst>
        </pc:spChg>
        <pc:spChg chg="mod">
          <ac:chgData name="Andrea Mogollon Nossa (CENIT)" userId="f6a3e592-cc27-4858-b185-ff86be206069" providerId="ADAL" clId="{7512AD08-729F-4631-AFF5-A13DAAFD1BEE}" dt="2020-07-27T21:02:50.216" v="211" actId="1076"/>
          <ac:spMkLst>
            <pc:docMk/>
            <pc:sldMk cId="1734415321" sldId="2134804344"/>
            <ac:spMk id="33" creationId="{99A98136-5ADE-4ACF-97B1-9869591C8748}"/>
          </ac:spMkLst>
        </pc:spChg>
        <pc:spChg chg="mod">
          <ac:chgData name="Andrea Mogollon Nossa (CENIT)" userId="f6a3e592-cc27-4858-b185-ff86be206069" providerId="ADAL" clId="{7512AD08-729F-4631-AFF5-A13DAAFD1BEE}" dt="2020-07-27T22:52:07.004" v="661" actId="1076"/>
          <ac:spMkLst>
            <pc:docMk/>
            <pc:sldMk cId="1734415321" sldId="2134804344"/>
            <ac:spMk id="34" creationId="{2858742F-5FD0-4B7E-9334-0D1DB2CF525E}"/>
          </ac:spMkLst>
        </pc:spChg>
        <pc:spChg chg="mod">
          <ac:chgData name="Andrea Mogollon Nossa (CENIT)" userId="f6a3e592-cc27-4858-b185-ff86be206069" providerId="ADAL" clId="{7512AD08-729F-4631-AFF5-A13DAAFD1BEE}" dt="2020-07-27T23:39:11.063" v="994" actId="208"/>
          <ac:spMkLst>
            <pc:docMk/>
            <pc:sldMk cId="1734415321" sldId="2134804344"/>
            <ac:spMk id="35" creationId="{5F2982C9-1317-4114-BC67-9EA6763899B8}"/>
          </ac:spMkLst>
        </pc:spChg>
        <pc:spChg chg="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36" creationId="{80930BAD-CC8E-47DD-9473-5B8864A2680A}"/>
          </ac:spMkLst>
        </pc:spChg>
        <pc:spChg chg="mod">
          <ac:chgData name="Andrea Mogollon Nossa (CENIT)" userId="f6a3e592-cc27-4858-b185-ff86be206069" providerId="ADAL" clId="{7512AD08-729F-4631-AFF5-A13DAAFD1BEE}" dt="2020-07-27T21:21:36.354" v="517" actId="20577"/>
          <ac:spMkLst>
            <pc:docMk/>
            <pc:sldMk cId="1734415321" sldId="2134804344"/>
            <ac:spMk id="38" creationId="{A70D06D3-12BC-4CDA-B9D7-EEF1588242C9}"/>
          </ac:spMkLst>
        </pc:spChg>
        <pc:spChg chg="mod">
          <ac:chgData name="Andrea Mogollon Nossa (CENIT)" userId="f6a3e592-cc27-4858-b185-ff86be206069" providerId="ADAL" clId="{7512AD08-729F-4631-AFF5-A13DAAFD1BEE}" dt="2020-07-27T21:00:48.708" v="113" actId="20577"/>
          <ac:spMkLst>
            <pc:docMk/>
            <pc:sldMk cId="1734415321" sldId="2134804344"/>
            <ac:spMk id="39" creationId="{5FAD9D39-0163-48A2-AB90-B7B2E4C2CCC8}"/>
          </ac:spMkLst>
        </pc:spChg>
        <pc:spChg chg="mod ord">
          <ac:chgData name="Andrea Mogollon Nossa (CENIT)" userId="f6a3e592-cc27-4858-b185-ff86be206069" providerId="ADAL" clId="{7512AD08-729F-4631-AFF5-A13DAAFD1BEE}" dt="2020-07-27T22:53:26.793" v="673" actId="166"/>
          <ac:spMkLst>
            <pc:docMk/>
            <pc:sldMk cId="1734415321" sldId="2134804344"/>
            <ac:spMk id="40" creationId="{F9005A44-E530-4972-BBE0-B3ED015A6ED4}"/>
          </ac:spMkLst>
        </pc:spChg>
        <pc:spChg chg="add 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41" creationId="{A6323A01-8860-4B1B-BDAF-6B75ABC06BEC}"/>
          </ac:spMkLst>
        </pc:spChg>
        <pc:spChg chg="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42" creationId="{4101169F-B3FD-425D-90F0-D9CCBE1BF3D2}"/>
          </ac:spMkLst>
        </pc:spChg>
        <pc:spChg chg="mod">
          <ac:chgData name="Andrea Mogollon Nossa (CENIT)" userId="f6a3e592-cc27-4858-b185-ff86be206069" providerId="ADAL" clId="{7512AD08-729F-4631-AFF5-A13DAAFD1BEE}" dt="2020-07-27T22:53:51.659" v="675" actId="1076"/>
          <ac:spMkLst>
            <pc:docMk/>
            <pc:sldMk cId="1734415321" sldId="2134804344"/>
            <ac:spMk id="43" creationId="{34452114-CA9E-44D1-9755-DF275F1BF2A9}"/>
          </ac:spMkLst>
        </pc:spChg>
        <pc:spChg chg="add del mod">
          <ac:chgData name="Andrea Mogollon Nossa (CENIT)" userId="f6a3e592-cc27-4858-b185-ff86be206069" providerId="ADAL" clId="{7512AD08-729F-4631-AFF5-A13DAAFD1BEE}" dt="2020-07-27T21:04:04.254" v="228" actId="478"/>
          <ac:spMkLst>
            <pc:docMk/>
            <pc:sldMk cId="1734415321" sldId="2134804344"/>
            <ac:spMk id="44" creationId="{16282632-D57A-4CD4-B850-BA0183193B67}"/>
          </ac:spMkLst>
        </pc:spChg>
        <pc:spChg chg="add mod">
          <ac:chgData name="Andrea Mogollon Nossa (CENIT)" userId="f6a3e592-cc27-4858-b185-ff86be206069" providerId="ADAL" clId="{7512AD08-729F-4631-AFF5-A13DAAFD1BEE}" dt="2020-07-27T23:08:18.891" v="983" actId="208"/>
          <ac:spMkLst>
            <pc:docMk/>
            <pc:sldMk cId="1734415321" sldId="2134804344"/>
            <ac:spMk id="45" creationId="{476FBBD3-1877-4B8E-A2BA-965C36FBD73D}"/>
          </ac:spMkLst>
        </pc:spChg>
        <pc:spChg chg="add mod">
          <ac:chgData name="Andrea Mogollon Nossa (CENIT)" userId="f6a3e592-cc27-4858-b185-ff86be206069" providerId="ADAL" clId="{7512AD08-729F-4631-AFF5-A13DAAFD1BEE}" dt="2020-07-27T23:37:15.594" v="984" actId="208"/>
          <ac:spMkLst>
            <pc:docMk/>
            <pc:sldMk cId="1734415321" sldId="2134804344"/>
            <ac:spMk id="46" creationId="{BA5C247C-3C05-46FC-95C2-E68EAA1029EF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47" creationId="{D222A558-E5A3-43A6-B640-1B3D767D7C70}"/>
          </ac:spMkLst>
        </pc:spChg>
        <pc:spChg chg="add mod">
          <ac:chgData name="Andrea Mogollon Nossa (CENIT)" userId="f6a3e592-cc27-4858-b185-ff86be206069" providerId="ADAL" clId="{7512AD08-729F-4631-AFF5-A13DAAFD1BEE}" dt="2020-07-27T23:08:15.517" v="982" actId="208"/>
          <ac:spMkLst>
            <pc:docMk/>
            <pc:sldMk cId="1734415321" sldId="2134804344"/>
            <ac:spMk id="48" creationId="{F926AC88-2103-4B74-A485-8F98AF37FABE}"/>
          </ac:spMkLst>
        </pc:spChg>
        <pc:spChg chg="add del">
          <ac:chgData name="Andrea Mogollon Nossa (CENIT)" userId="f6a3e592-cc27-4858-b185-ff86be206069" providerId="ADAL" clId="{7512AD08-729F-4631-AFF5-A13DAAFD1BEE}" dt="2020-07-27T21:05:48.079" v="282" actId="478"/>
          <ac:spMkLst>
            <pc:docMk/>
            <pc:sldMk cId="1734415321" sldId="2134804344"/>
            <ac:spMk id="49" creationId="{4114BB5A-E573-4CB9-B93D-B020A356DD64}"/>
          </ac:spMkLst>
        </pc:spChg>
        <pc:spChg chg="del">
          <ac:chgData name="Andrea Mogollon Nossa (CENIT)" userId="f6a3e592-cc27-4858-b185-ff86be206069" providerId="ADAL" clId="{7512AD08-729F-4631-AFF5-A13DAAFD1BEE}" dt="2020-07-27T21:06:18.548" v="310" actId="478"/>
          <ac:spMkLst>
            <pc:docMk/>
            <pc:sldMk cId="1734415321" sldId="2134804344"/>
            <ac:spMk id="50" creationId="{EFEDA77C-7665-4725-A074-A36D4F4400A8}"/>
          </ac:spMkLst>
        </pc:spChg>
        <pc:spChg chg="add mod">
          <ac:chgData name="Andrea Mogollon Nossa (CENIT)" userId="f6a3e592-cc27-4858-b185-ff86be206069" providerId="ADAL" clId="{7512AD08-729F-4631-AFF5-A13DAAFD1BEE}" dt="2020-07-27T23:38:36.751" v="991" actId="208"/>
          <ac:spMkLst>
            <pc:docMk/>
            <pc:sldMk cId="1734415321" sldId="2134804344"/>
            <ac:spMk id="51" creationId="{4BD00AB8-6F7E-42D4-B8A4-B81C5CA9035A}"/>
          </ac:spMkLst>
        </pc:spChg>
        <pc:spChg chg="add mod">
          <ac:chgData name="Andrea Mogollon Nossa (CENIT)" userId="f6a3e592-cc27-4858-b185-ff86be206069" providerId="ADAL" clId="{7512AD08-729F-4631-AFF5-A13DAAFD1BEE}" dt="2020-07-28T17:06:33.603" v="1447" actId="20577"/>
          <ac:spMkLst>
            <pc:docMk/>
            <pc:sldMk cId="1734415321" sldId="2134804344"/>
            <ac:spMk id="52" creationId="{611E23A2-0A02-4674-AE45-5CFC346B8303}"/>
          </ac:spMkLst>
        </pc:spChg>
        <pc:spChg chg="add mod">
          <ac:chgData name="Andrea Mogollon Nossa (CENIT)" userId="f6a3e592-cc27-4858-b185-ff86be206069" providerId="ADAL" clId="{7512AD08-729F-4631-AFF5-A13DAAFD1BEE}" dt="2020-07-27T23:38:33.964" v="990" actId="208"/>
          <ac:spMkLst>
            <pc:docMk/>
            <pc:sldMk cId="1734415321" sldId="2134804344"/>
            <ac:spMk id="53" creationId="{436F7F2A-D56C-4686-B82F-7A2F944056CC}"/>
          </ac:spMkLst>
        </pc:spChg>
        <pc:spChg chg="del">
          <ac:chgData name="Andrea Mogollon Nossa (CENIT)" userId="f6a3e592-cc27-4858-b185-ff86be206069" providerId="ADAL" clId="{7512AD08-729F-4631-AFF5-A13DAAFD1BEE}" dt="2020-07-27T21:05:03.463" v="272" actId="478"/>
          <ac:spMkLst>
            <pc:docMk/>
            <pc:sldMk cId="1734415321" sldId="2134804344"/>
            <ac:spMk id="54" creationId="{2A6509E3-0893-4B3A-9781-02B5F5938070}"/>
          </ac:spMkLst>
        </pc:spChg>
        <pc:spChg chg="add 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55" creationId="{1546B975-3205-4120-A98D-4F899F2673F9}"/>
          </ac:spMkLst>
        </pc:spChg>
        <pc:spChg chg="add mod">
          <ac:chgData name="Andrea Mogollon Nossa (CENIT)" userId="f6a3e592-cc27-4858-b185-ff86be206069" providerId="ADAL" clId="{7512AD08-729F-4631-AFF5-A13DAAFD1BEE}" dt="2020-07-27T23:39:34.816" v="996" actId="208"/>
          <ac:spMkLst>
            <pc:docMk/>
            <pc:sldMk cId="1734415321" sldId="2134804344"/>
            <ac:spMk id="56" creationId="{82D32ECE-5CE8-4D30-8F1A-35940B0E5DDC}"/>
          </ac:spMkLst>
        </pc:spChg>
        <pc:spChg chg="add mod">
          <ac:chgData name="Andrea Mogollon Nossa (CENIT)" userId="f6a3e592-cc27-4858-b185-ff86be206069" providerId="ADAL" clId="{7512AD08-729F-4631-AFF5-A13DAAFD1BEE}" dt="2020-07-28T15:26:58.596" v="1336" actId="108"/>
          <ac:spMkLst>
            <pc:docMk/>
            <pc:sldMk cId="1734415321" sldId="2134804344"/>
            <ac:spMk id="57" creationId="{CFA918CB-0C7A-44FC-87D2-055F0DB1CDD9}"/>
          </ac:spMkLst>
        </pc:spChg>
        <pc:spChg chg="add mod">
          <ac:chgData name="Andrea Mogollon Nossa (CENIT)" userId="f6a3e592-cc27-4858-b185-ff86be206069" providerId="ADAL" clId="{7512AD08-729F-4631-AFF5-A13DAAFD1BEE}" dt="2020-07-27T22:51:54.787" v="660" actId="14100"/>
          <ac:spMkLst>
            <pc:docMk/>
            <pc:sldMk cId="1734415321" sldId="2134804344"/>
            <ac:spMk id="58" creationId="{6E03E4D5-20E7-48D3-98B7-8550F62788A9}"/>
          </ac:spMkLst>
        </pc:spChg>
        <pc:spChg chg="add 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59" creationId="{B329FB9A-BB66-4CA1-9AB8-4B6B45E56072}"/>
          </ac:spMkLst>
        </pc:spChg>
        <pc:spChg chg="add mod">
          <ac:chgData name="Andrea Mogollon Nossa (CENIT)" userId="f6a3e592-cc27-4858-b185-ff86be206069" providerId="ADAL" clId="{7512AD08-729F-4631-AFF5-A13DAAFD1BEE}" dt="2020-07-28T15:26:22.173" v="1330" actId="208"/>
          <ac:spMkLst>
            <pc:docMk/>
            <pc:sldMk cId="1734415321" sldId="2134804344"/>
            <ac:spMk id="60" creationId="{FC98CCA7-DE6B-4116-84B8-A8982F08BE33}"/>
          </ac:spMkLst>
        </pc:spChg>
        <pc:spChg chg="add del mod">
          <ac:chgData name="Andrea Mogollon Nossa (CENIT)" userId="f6a3e592-cc27-4858-b185-ff86be206069" providerId="ADAL" clId="{7512AD08-729F-4631-AFF5-A13DAAFD1BEE}" dt="2020-07-27T21:09:46.074" v="366" actId="478"/>
          <ac:spMkLst>
            <pc:docMk/>
            <pc:sldMk cId="1734415321" sldId="2134804344"/>
            <ac:spMk id="61" creationId="{849651E2-3CEE-4A81-A1F8-9A63AFD47F33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62" creationId="{506BC446-5A02-4152-97D7-89C60F968551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63" creationId="{6D9EC6A6-1FA2-4F30-BA9C-2B821CC4A84E}"/>
          </ac:spMkLst>
        </pc:spChg>
        <pc:spChg chg="add del mod">
          <ac:chgData name="Andrea Mogollon Nossa (CENIT)" userId="f6a3e592-cc27-4858-b185-ff86be206069" providerId="ADAL" clId="{7512AD08-729F-4631-AFF5-A13DAAFD1BEE}" dt="2020-07-27T21:10:38.106" v="410" actId="478"/>
          <ac:spMkLst>
            <pc:docMk/>
            <pc:sldMk cId="1734415321" sldId="2134804344"/>
            <ac:spMk id="64" creationId="{03839115-7088-4CB9-842F-F7E5F58A3B9A}"/>
          </ac:spMkLst>
        </pc:spChg>
        <pc:spChg chg="add mod">
          <ac:chgData name="Andrea Mogollon Nossa (CENIT)" userId="f6a3e592-cc27-4858-b185-ff86be206069" providerId="ADAL" clId="{7512AD08-729F-4631-AFF5-A13DAAFD1BEE}" dt="2020-07-27T22:53:43.720" v="674" actId="1076"/>
          <ac:spMkLst>
            <pc:docMk/>
            <pc:sldMk cId="1734415321" sldId="2134804344"/>
            <ac:spMk id="65" creationId="{E9C72F17-5D8F-41F6-8661-3E5DE2A9E040}"/>
          </ac:spMkLst>
        </pc:spChg>
        <pc:spChg chg="add mod">
          <ac:chgData name="Andrea Mogollon Nossa (CENIT)" userId="f6a3e592-cc27-4858-b185-ff86be206069" providerId="ADAL" clId="{7512AD08-729F-4631-AFF5-A13DAAFD1BEE}" dt="2020-07-28T15:26:24.435" v="1331" actId="208"/>
          <ac:spMkLst>
            <pc:docMk/>
            <pc:sldMk cId="1734415321" sldId="2134804344"/>
            <ac:spMk id="66" creationId="{DB75697E-BD6D-4004-8F4B-2171046FC128}"/>
          </ac:spMkLst>
        </pc:spChg>
        <pc:spChg chg="add del mod">
          <ac:chgData name="Andrea Mogollon Nossa (CENIT)" userId="f6a3e592-cc27-4858-b185-ff86be206069" providerId="ADAL" clId="{7512AD08-729F-4631-AFF5-A13DAAFD1BEE}" dt="2020-07-27T23:37:39.559" v="986" actId="208"/>
          <ac:spMkLst>
            <pc:docMk/>
            <pc:sldMk cId="1734415321" sldId="2134804344"/>
            <ac:spMk id="67" creationId="{A77EC91D-C757-4362-A9C3-20B454FDE061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68" creationId="{EF92D747-175E-4B05-B6C3-800CF871AECC}"/>
          </ac:spMkLst>
        </pc:spChg>
        <pc:spChg chg="add mod">
          <ac:chgData name="Andrea Mogollon Nossa (CENIT)" userId="f6a3e592-cc27-4858-b185-ff86be206069" providerId="ADAL" clId="{7512AD08-729F-4631-AFF5-A13DAAFD1BEE}" dt="2020-07-27T23:37:35.615" v="985" actId="208"/>
          <ac:spMkLst>
            <pc:docMk/>
            <pc:sldMk cId="1734415321" sldId="2134804344"/>
            <ac:spMk id="69" creationId="{42876D3F-F05B-4B3C-9DCB-629A3FE41134}"/>
          </ac:spMkLst>
        </pc:spChg>
        <pc:spChg chg="add mod">
          <ac:chgData name="Andrea Mogollon Nossa (CENIT)" userId="f6a3e592-cc27-4858-b185-ff86be206069" providerId="ADAL" clId="{7512AD08-729F-4631-AFF5-A13DAAFD1BEE}" dt="2020-07-28T15:26:26.988" v="1332" actId="208"/>
          <ac:spMkLst>
            <pc:docMk/>
            <pc:sldMk cId="1734415321" sldId="2134804344"/>
            <ac:spMk id="70" creationId="{F9D75CA7-6C16-4058-92CF-BCCF9664CBC8}"/>
          </ac:spMkLst>
        </pc:spChg>
        <pc:spChg chg="add mod">
          <ac:chgData name="Andrea Mogollon Nossa (CENIT)" userId="f6a3e592-cc27-4858-b185-ff86be206069" providerId="ADAL" clId="{7512AD08-729F-4631-AFF5-A13DAAFD1BEE}" dt="2020-07-27T23:37:44.494" v="987" actId="208"/>
          <ac:spMkLst>
            <pc:docMk/>
            <pc:sldMk cId="1734415321" sldId="2134804344"/>
            <ac:spMk id="71" creationId="{63CA118B-4517-4A8E-85F9-65AF0995F5E4}"/>
          </ac:spMkLst>
        </pc:spChg>
        <pc:spChg chg="add 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72" creationId="{F0A9C2F1-1FA1-4C6D-980F-C42B048458E9}"/>
          </ac:spMkLst>
        </pc:spChg>
        <pc:spChg chg="add mod">
          <ac:chgData name="Andrea Mogollon Nossa (CENIT)" userId="f6a3e592-cc27-4858-b185-ff86be206069" providerId="ADAL" clId="{7512AD08-729F-4631-AFF5-A13DAAFD1BEE}" dt="2020-07-27T22:52:47.805" v="668" actId="1076"/>
          <ac:spMkLst>
            <pc:docMk/>
            <pc:sldMk cId="1734415321" sldId="2134804344"/>
            <ac:spMk id="73" creationId="{504B0AB9-46DB-479D-A0DE-430E1C84357C}"/>
          </ac:spMkLst>
        </pc:spChg>
        <pc:spChg chg="add mod">
          <ac:chgData name="Andrea Mogollon Nossa (CENIT)" userId="f6a3e592-cc27-4858-b185-ff86be206069" providerId="ADAL" clId="{7512AD08-729F-4631-AFF5-A13DAAFD1BEE}" dt="2020-07-27T23:00:06.370" v="854" actId="255"/>
          <ac:spMkLst>
            <pc:docMk/>
            <pc:sldMk cId="1734415321" sldId="2134804344"/>
            <ac:spMk id="74" creationId="{823F8528-F51D-40E1-BBFF-56F5317E9268}"/>
          </ac:spMkLst>
        </pc:spChg>
        <pc:spChg chg="add del">
          <ac:chgData name="Andrea Mogollon Nossa (CENIT)" userId="f6a3e592-cc27-4858-b185-ff86be206069" providerId="ADAL" clId="{7512AD08-729F-4631-AFF5-A13DAAFD1BEE}" dt="2020-07-27T21:25:22.858" v="537" actId="478"/>
          <ac:spMkLst>
            <pc:docMk/>
            <pc:sldMk cId="1734415321" sldId="2134804344"/>
            <ac:spMk id="75" creationId="{44005FCD-F043-4E77-83DE-063AEF2B3B8E}"/>
          </ac:spMkLst>
        </pc:spChg>
        <pc:spChg chg="add mod">
          <ac:chgData name="Andrea Mogollon Nossa (CENIT)" userId="f6a3e592-cc27-4858-b185-ff86be206069" providerId="ADAL" clId="{7512AD08-729F-4631-AFF5-A13DAAFD1BEE}" dt="2020-07-27T23:39:03.574" v="993" actId="208"/>
          <ac:spMkLst>
            <pc:docMk/>
            <pc:sldMk cId="1734415321" sldId="2134804344"/>
            <ac:spMk id="76" creationId="{6EFB90FC-5137-4335-BAA6-1A3BFA176C3C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77" creationId="{F622E621-DEC2-4514-B5D9-8A187B645B0F}"/>
          </ac:spMkLst>
        </pc:spChg>
        <pc:spChg chg="add mod">
          <ac:chgData name="Andrea Mogollon Nossa (CENIT)" userId="f6a3e592-cc27-4858-b185-ff86be206069" providerId="ADAL" clId="{7512AD08-729F-4631-AFF5-A13DAAFD1BEE}" dt="2020-07-27T23:39:43.024" v="997" actId="208"/>
          <ac:spMkLst>
            <pc:docMk/>
            <pc:sldMk cId="1734415321" sldId="2134804344"/>
            <ac:spMk id="78" creationId="{257C9C2D-7860-44A8-95DB-27F452F82CF2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79" creationId="{2F67B6BF-C36B-40CA-9E2B-C013EE1EC192}"/>
          </ac:spMkLst>
        </pc:spChg>
        <pc:spChg chg="add del mod">
          <ac:chgData name="Andrea Mogollon Nossa (CENIT)" userId="f6a3e592-cc27-4858-b185-ff86be206069" providerId="ADAL" clId="{7512AD08-729F-4631-AFF5-A13DAAFD1BEE}" dt="2020-07-27T23:03:24.875" v="873" actId="478"/>
          <ac:spMkLst>
            <pc:docMk/>
            <pc:sldMk cId="1734415321" sldId="2134804344"/>
            <ac:spMk id="80" creationId="{96AB8046-2E99-4630-8FD8-053B44BBA7B0}"/>
          </ac:spMkLst>
        </pc:spChg>
        <pc:spChg chg="add mod">
          <ac:chgData name="Andrea Mogollon Nossa (CENIT)" userId="f6a3e592-cc27-4858-b185-ff86be206069" providerId="ADAL" clId="{7512AD08-729F-4631-AFF5-A13DAAFD1BEE}" dt="2020-07-27T22:54:14.940" v="689" actId="20577"/>
          <ac:spMkLst>
            <pc:docMk/>
            <pc:sldMk cId="1734415321" sldId="2134804344"/>
            <ac:spMk id="81" creationId="{9EAEECC0-C607-4346-A4F1-115AAD4C7633}"/>
          </ac:spMkLst>
        </pc:spChg>
        <pc:spChg chg="add mod">
          <ac:chgData name="Andrea Mogollon Nossa (CENIT)" userId="f6a3e592-cc27-4858-b185-ff86be206069" providerId="ADAL" clId="{7512AD08-729F-4631-AFF5-A13DAAFD1BEE}" dt="2020-07-27T22:54:17.017" v="691" actId="20577"/>
          <ac:spMkLst>
            <pc:docMk/>
            <pc:sldMk cId="1734415321" sldId="2134804344"/>
            <ac:spMk id="82" creationId="{AE9FA5CC-5AF8-4A39-808A-A55759A10785}"/>
          </ac:spMkLst>
        </pc:spChg>
        <pc:spChg chg="add mod">
          <ac:chgData name="Andrea Mogollon Nossa (CENIT)" userId="f6a3e592-cc27-4858-b185-ff86be206069" providerId="ADAL" clId="{7512AD08-729F-4631-AFF5-A13DAAFD1BEE}" dt="2020-07-27T22:54:20.068" v="693" actId="20577"/>
          <ac:spMkLst>
            <pc:docMk/>
            <pc:sldMk cId="1734415321" sldId="2134804344"/>
            <ac:spMk id="83" creationId="{697AE0C9-8E3D-47A0-B88B-51F62D5E5F80}"/>
          </ac:spMkLst>
        </pc:spChg>
        <pc:spChg chg="del mod">
          <ac:chgData name="Andrea Mogollon Nossa (CENIT)" userId="f6a3e592-cc27-4858-b185-ff86be206069" providerId="ADAL" clId="{7512AD08-729F-4631-AFF5-A13DAAFD1BEE}" dt="2020-07-28T17:06:28.016" v="1444" actId="478"/>
          <ac:spMkLst>
            <pc:docMk/>
            <pc:sldMk cId="1734415321" sldId="2134804344"/>
            <ac:spMk id="84" creationId="{293DBAF3-3942-4C58-8A63-D4484E215E20}"/>
          </ac:spMkLst>
        </pc:spChg>
        <pc:spChg chg="add mod">
          <ac:chgData name="Andrea Mogollon Nossa (CENIT)" userId="f6a3e592-cc27-4858-b185-ff86be206069" providerId="ADAL" clId="{7512AD08-729F-4631-AFF5-A13DAAFD1BEE}" dt="2020-07-27T22:54:22.579" v="695" actId="20577"/>
          <ac:spMkLst>
            <pc:docMk/>
            <pc:sldMk cId="1734415321" sldId="2134804344"/>
            <ac:spMk id="85" creationId="{0AEECF97-B04A-4741-8EAF-E1C19707EC79}"/>
          </ac:spMkLst>
        </pc:spChg>
        <pc:spChg chg="del mod">
          <ac:chgData name="Andrea Mogollon Nossa (CENIT)" userId="f6a3e592-cc27-4858-b185-ff86be206069" providerId="ADAL" clId="{7512AD08-729F-4631-AFF5-A13DAAFD1BEE}" dt="2020-07-28T17:06:30.140" v="1445" actId="478"/>
          <ac:spMkLst>
            <pc:docMk/>
            <pc:sldMk cId="1734415321" sldId="2134804344"/>
            <ac:spMk id="86" creationId="{7696A978-4362-4DE3-8C58-0F58608C4AA6}"/>
          </ac:spMkLst>
        </pc:spChg>
        <pc:spChg chg="add mod">
          <ac:chgData name="Andrea Mogollon Nossa (CENIT)" userId="f6a3e592-cc27-4858-b185-ff86be206069" providerId="ADAL" clId="{7512AD08-729F-4631-AFF5-A13DAAFD1BEE}" dt="2020-07-27T22:54:49.444" v="704" actId="1076"/>
          <ac:spMkLst>
            <pc:docMk/>
            <pc:sldMk cId="1734415321" sldId="2134804344"/>
            <ac:spMk id="87" creationId="{269CF6B1-0EA3-4FE9-9DEC-9330E4CB8B2F}"/>
          </ac:spMkLst>
        </pc:spChg>
        <pc:spChg chg="add del mod">
          <ac:chgData name="Andrea Mogollon Nossa (CENIT)" userId="f6a3e592-cc27-4858-b185-ff86be206069" providerId="ADAL" clId="{7512AD08-729F-4631-AFF5-A13DAAFD1BEE}" dt="2020-07-27T22:54:53.354" v="705" actId="478"/>
          <ac:spMkLst>
            <pc:docMk/>
            <pc:sldMk cId="1734415321" sldId="2134804344"/>
            <ac:spMk id="88" creationId="{B25719B3-AAEF-4C4C-8829-5D037BA83129}"/>
          </ac:spMkLst>
        </pc:spChg>
        <pc:spChg chg="add mod">
          <ac:chgData name="Andrea Mogollon Nossa (CENIT)" userId="f6a3e592-cc27-4858-b185-ff86be206069" providerId="ADAL" clId="{7512AD08-729F-4631-AFF5-A13DAAFD1BEE}" dt="2020-07-27T22:55:00.644" v="709" actId="20577"/>
          <ac:spMkLst>
            <pc:docMk/>
            <pc:sldMk cId="1734415321" sldId="2134804344"/>
            <ac:spMk id="89" creationId="{5465872D-E414-4B84-A080-1F2F5C27B615}"/>
          </ac:spMkLst>
        </pc:spChg>
        <pc:spChg chg="add mod">
          <ac:chgData name="Andrea Mogollon Nossa (CENIT)" userId="f6a3e592-cc27-4858-b185-ff86be206069" providerId="ADAL" clId="{7512AD08-729F-4631-AFF5-A13DAAFD1BEE}" dt="2020-07-27T23:38:54.400" v="992" actId="208"/>
          <ac:spMkLst>
            <pc:docMk/>
            <pc:sldMk cId="1734415321" sldId="2134804344"/>
            <ac:spMk id="90" creationId="{B9160EF2-B7C0-4E67-93D1-72B561F4C522}"/>
          </ac:spMkLst>
        </pc:spChg>
        <pc:spChg chg="add del mod">
          <ac:chgData name="Andrea Mogollon Nossa (CENIT)" userId="f6a3e592-cc27-4858-b185-ff86be206069" providerId="ADAL" clId="{7512AD08-729F-4631-AFF5-A13DAAFD1BEE}" dt="2020-07-27T23:05:11.089" v="884" actId="478"/>
          <ac:spMkLst>
            <pc:docMk/>
            <pc:sldMk cId="1734415321" sldId="2134804344"/>
            <ac:spMk id="91" creationId="{B4065A05-7788-4BC5-B51A-1B5E6A701A9B}"/>
          </ac:spMkLst>
        </pc:spChg>
        <pc:spChg chg="add mod">
          <ac:chgData name="Andrea Mogollon Nossa (CENIT)" userId="f6a3e592-cc27-4858-b185-ff86be206069" providerId="ADAL" clId="{7512AD08-729F-4631-AFF5-A13DAAFD1BEE}" dt="2020-07-27T23:40:03.321" v="999" actId="208"/>
          <ac:spMkLst>
            <pc:docMk/>
            <pc:sldMk cId="1734415321" sldId="2134804344"/>
            <ac:spMk id="92" creationId="{BA5DCEF1-A51C-4DC1-A9B1-7C59485A7090}"/>
          </ac:spMkLst>
        </pc:spChg>
        <pc:spChg chg="add mod">
          <ac:chgData name="Andrea Mogollon Nossa (CENIT)" userId="f6a3e592-cc27-4858-b185-ff86be206069" providerId="ADAL" clId="{7512AD08-729F-4631-AFF5-A13DAAFD1BEE}" dt="2020-07-27T23:05:57.539" v="959" actId="1076"/>
          <ac:spMkLst>
            <pc:docMk/>
            <pc:sldMk cId="1734415321" sldId="2134804344"/>
            <ac:spMk id="93" creationId="{25FE90EB-9812-4D21-B0BA-73B6896B2EC9}"/>
          </ac:spMkLst>
        </pc:spChg>
        <pc:spChg chg="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97" creationId="{99300021-C267-43BD-A0F5-B3ECE622345E}"/>
          </ac:spMkLst>
        </pc:spChg>
        <pc:spChg chg="add mod">
          <ac:chgData name="Andrea Mogollon Nossa (CENIT)" userId="f6a3e592-cc27-4858-b185-ff86be206069" providerId="ADAL" clId="{7512AD08-729F-4631-AFF5-A13DAAFD1BEE}" dt="2020-07-28T15:26:06.476" v="1329" actId="1076"/>
          <ac:spMkLst>
            <pc:docMk/>
            <pc:sldMk cId="1734415321" sldId="2134804344"/>
            <ac:spMk id="98" creationId="{11F602EB-6CFD-4843-A675-A9D9AB24E0FE}"/>
          </ac:spMkLst>
        </pc:spChg>
        <pc:spChg chg="add 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99" creationId="{3F37526A-888E-4B3B-9EF1-1D4F51094B16}"/>
          </ac:spMkLst>
        </pc:spChg>
        <pc:spChg chg="add 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0" creationId="{35A556C0-08BB-4065-827F-E54CA0A57E33}"/>
          </ac:spMkLst>
        </pc:spChg>
        <pc:spChg chg="add 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1" creationId="{0F95C10F-4505-43A2-9FE4-A5D8FBED5E9D}"/>
          </ac:spMkLst>
        </pc:spChg>
        <pc:spChg chg="add 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2" creationId="{375A91BF-D241-42F1-A4B3-D3F3EA721080}"/>
          </ac:spMkLst>
        </pc:spChg>
        <pc:spChg chg="add 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3" creationId="{9CCA22EE-9CE4-456C-B76B-098E81A697E4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5" creationId="{2EE95322-BDB4-4CF7-973B-E5DBC6D1C53E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6" creationId="{3B211658-9448-4823-8F15-5D1C5843CE46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8" creationId="{3D010BAD-F539-4116-8687-AD686D4C2E0F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9" creationId="{BB252E27-19CB-42F0-A5CE-473B62340627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11" creationId="{A4F32EC4-3805-4E33-8575-58E53F91EAD7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12" creationId="{5A8CEDC8-152E-46F9-90EC-5ECDB2223440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14" creationId="{01327C6F-65CD-4FAA-83F4-7A5B78A2AF92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15" creationId="{B6C93DFC-9133-43F1-A9CD-453821AD6C04}"/>
          </ac:spMkLst>
        </pc:spChg>
        <pc:spChg chg="del mod">
          <ac:chgData name="Andrea Mogollon Nossa (CENIT)" userId="f6a3e592-cc27-4858-b185-ff86be206069" providerId="ADAL" clId="{7512AD08-729F-4631-AFF5-A13DAAFD1BEE}" dt="2020-07-28T17:06:31.984" v="1446" actId="478"/>
          <ac:spMkLst>
            <pc:docMk/>
            <pc:sldMk cId="1734415321" sldId="2134804344"/>
            <ac:spMk id="117" creationId="{8960734A-1053-42D2-BD72-6674DCCE6A97}"/>
          </ac:spMkLst>
        </pc:spChg>
        <pc:spChg chg="del mod">
          <ac:chgData name="Andrea Mogollon Nossa (CENIT)" userId="f6a3e592-cc27-4858-b185-ff86be206069" providerId="ADAL" clId="{7512AD08-729F-4631-AFF5-A13DAAFD1BEE}" dt="2020-07-28T17:06:31.984" v="1446" actId="478"/>
          <ac:spMkLst>
            <pc:docMk/>
            <pc:sldMk cId="1734415321" sldId="2134804344"/>
            <ac:spMk id="118" creationId="{C77431EE-A761-4323-B75F-692D4CAEC462}"/>
          </ac:spMkLst>
        </pc:spChg>
        <pc:spChg chg="del mod">
          <ac:chgData name="Andrea Mogollon Nossa (CENIT)" userId="f6a3e592-cc27-4858-b185-ff86be206069" providerId="ADAL" clId="{7512AD08-729F-4631-AFF5-A13DAAFD1BEE}" dt="2020-07-28T17:06:31.984" v="1446" actId="478"/>
          <ac:spMkLst>
            <pc:docMk/>
            <pc:sldMk cId="1734415321" sldId="2134804344"/>
            <ac:spMk id="119" creationId="{A66DDFF6-8990-4632-9B16-3852035C81BA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0" creationId="{E889347F-DCDE-40C9-922E-53BDFFE1C4DD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1" creationId="{2E311C97-6862-47DD-92C1-3BEF5D8F8865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3" creationId="{AC01D00A-18C0-4091-AEAE-B1FC32478B03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4" creationId="{4FCAC517-DC3C-4BB1-BF4A-8CBAA615873F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6" creationId="{AF9C6261-00C2-4E0E-B330-D49A2044F3DE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7" creationId="{501B1D27-37DD-4D11-80FF-526C8083A6B5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9" creationId="{1EB544C0-7E97-4405-8241-DDF32C21875D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30" creationId="{DA95F683-0481-491C-9E12-C20E9C8D4CB2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32" creationId="{BEABA088-2E0C-4758-B80F-FCC9E0461845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33" creationId="{47934E67-218B-4801-BC20-A86CE79D44A9}"/>
          </ac:spMkLst>
        </pc:spChg>
        <pc:spChg chg="mod">
          <ac:chgData name="Andrea Mogollon Nossa (CENIT)" userId="f6a3e592-cc27-4858-b185-ff86be206069" providerId="ADAL" clId="{7512AD08-729F-4631-AFF5-A13DAAFD1BEE}" dt="2020-07-27T22:52:54.924" v="669" actId="1076"/>
          <ac:spMkLst>
            <pc:docMk/>
            <pc:sldMk cId="1734415321" sldId="2134804344"/>
            <ac:spMk id="135" creationId="{C1823568-A421-4254-9106-BAEB76F16B72}"/>
          </ac:spMkLst>
        </pc:s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6" creationId="{57633FC3-8ECB-41C1-ACEF-59A15EE6A029}"/>
          </ac:grpSpMkLst>
        </pc:gr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7" creationId="{7089E4A7-F564-4BFC-BE70-0BCE0187790F}"/>
          </ac:grpSpMkLst>
        </pc:gr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8" creationId="{B7E6EBFA-7B93-4A7B-8D4B-0FDC667C5573}"/>
          </ac:grpSpMkLst>
        </pc:gr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9" creationId="{A784003E-43C3-4425-8885-B764ECECF401}"/>
          </ac:grpSpMkLst>
        </pc:gr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10" creationId="{CD3D57A0-B151-4451-AAF5-AB1985DBF547}"/>
          </ac:grpSpMkLst>
        </pc:gr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13" creationId="{48CC5081-B4C2-4F95-8CDE-C807CEB67E2C}"/>
          </ac:grpSpMkLst>
        </pc:grpChg>
        <pc:grpChg chg="del">
          <ac:chgData name="Andrea Mogollon Nossa (CENIT)" userId="f6a3e592-cc27-4858-b185-ff86be206069" providerId="ADAL" clId="{7512AD08-729F-4631-AFF5-A13DAAFD1BEE}" dt="2020-07-28T17:06:34.351" v="1448" actId="478"/>
          <ac:grpSpMkLst>
            <pc:docMk/>
            <pc:sldMk cId="1734415321" sldId="2134804344"/>
            <ac:grpSpMk id="14" creationId="{B35D5631-62C0-44DA-BEB9-F6D1D4614CD6}"/>
          </ac:grpSpMkLst>
        </pc:grpChg>
        <pc:grpChg chg="del mod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26" creationId="{5B1CDA9C-37CE-441A-94E7-5A5F38503613}"/>
          </ac:grpSpMkLst>
        </pc:grpChg>
        <pc:grpChg chg="del mod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31" creationId="{A0B07E6C-42EA-42D4-BF18-74CF8467911A}"/>
          </ac:grpSpMkLst>
        </pc:grpChg>
        <pc:grpChg chg="del mod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37" creationId="{33A4F641-6F0E-462A-898E-0641B151AA65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04" creationId="{59DCCC75-910D-4156-B5D2-8F3A5AA4C455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07" creationId="{E3576795-9E27-4D88-8404-00A3C7526AF7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10" creationId="{D7D0C9A1-025C-4450-87B1-36C6FF8DEABD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13" creationId="{6B581FBB-D989-4E17-A065-E7971E49DBDA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16" creationId="{E70D78CB-6FAA-4B85-BF4A-5A9BF1BD33DE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22" creationId="{A6FEA521-C468-4ED3-872F-BE324F3DBB8B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25" creationId="{9BCEE625-51DE-48C5-A3B4-C0734FAEDADC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28" creationId="{9D1AB67C-D2EF-416D-818A-29CE159D0987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31" creationId="{8D896094-5CAE-4A34-8F54-B3EBEBD435A6}"/>
          </ac:grpSpMkLst>
        </pc:grpChg>
      </pc:sldChg>
      <pc:sldChg chg="modSp mod">
        <pc:chgData name="Andrea Mogollon Nossa (CENIT)" userId="f6a3e592-cc27-4858-b185-ff86be206069" providerId="ADAL" clId="{7512AD08-729F-4631-AFF5-A13DAAFD1BEE}" dt="2020-07-28T15:36:20.601" v="1428" actId="20577"/>
        <pc:sldMkLst>
          <pc:docMk/>
          <pc:sldMk cId="3225245280" sldId="2134804347"/>
        </pc:sldMkLst>
        <pc:spChg chg="mod">
          <ac:chgData name="Andrea Mogollon Nossa (CENIT)" userId="f6a3e592-cc27-4858-b185-ff86be206069" providerId="ADAL" clId="{7512AD08-729F-4631-AFF5-A13DAAFD1BEE}" dt="2020-07-28T15:36:20.601" v="1428" actId="20577"/>
          <ac:spMkLst>
            <pc:docMk/>
            <pc:sldMk cId="3225245280" sldId="2134804347"/>
            <ac:spMk id="36" creationId="{80930BAD-CC8E-47DD-9473-5B8864A2680A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15:14:57.296" v="1313" actId="108"/>
        <pc:sldMkLst>
          <pc:docMk/>
          <pc:sldMk cId="335391689" sldId="2134804348"/>
        </pc:sldMkLst>
        <pc:spChg chg="mod">
          <ac:chgData name="Andrea Mogollon Nossa (CENIT)" userId="f6a3e592-cc27-4858-b185-ff86be206069" providerId="ADAL" clId="{7512AD08-729F-4631-AFF5-A13DAAFD1BEE}" dt="2020-07-28T15:14:04.062" v="1310" actId="208"/>
          <ac:spMkLst>
            <pc:docMk/>
            <pc:sldMk cId="335391689" sldId="2134804348"/>
            <ac:spMk id="15" creationId="{EC155108-24C9-41BB-AFB7-1D8B4E0A3839}"/>
          </ac:spMkLst>
        </pc:spChg>
        <pc:spChg chg="mod">
          <ac:chgData name="Andrea Mogollon Nossa (CENIT)" userId="f6a3e592-cc27-4858-b185-ff86be206069" providerId="ADAL" clId="{7512AD08-729F-4631-AFF5-A13DAAFD1BEE}" dt="2020-07-28T15:13:10.140" v="1297" actId="108"/>
          <ac:spMkLst>
            <pc:docMk/>
            <pc:sldMk cId="335391689" sldId="2134804348"/>
            <ac:spMk id="27" creationId="{7F32EAE5-7D23-41BF-B948-664D0797EFC2}"/>
          </ac:spMkLst>
        </pc:spChg>
        <pc:spChg chg="mod">
          <ac:chgData name="Andrea Mogollon Nossa (CENIT)" userId="f6a3e592-cc27-4858-b185-ff86be206069" providerId="ADAL" clId="{7512AD08-729F-4631-AFF5-A13DAAFD1BEE}" dt="2020-07-28T15:13:45.739" v="1307" actId="108"/>
          <ac:spMkLst>
            <pc:docMk/>
            <pc:sldMk cId="335391689" sldId="2134804348"/>
            <ac:spMk id="33" creationId="{930E8CEC-501E-450A-8333-EE9FBB1D92FE}"/>
          </ac:spMkLst>
        </pc:spChg>
        <pc:spChg chg="mod">
          <ac:chgData name="Andrea Mogollon Nossa (CENIT)" userId="f6a3e592-cc27-4858-b185-ff86be206069" providerId="ADAL" clId="{7512AD08-729F-4631-AFF5-A13DAAFD1BEE}" dt="2020-07-28T15:13:00.618" v="1295" actId="108"/>
          <ac:spMkLst>
            <pc:docMk/>
            <pc:sldMk cId="335391689" sldId="2134804348"/>
            <ac:spMk id="36" creationId="{80930BAD-CC8E-47DD-9473-5B8864A2680A}"/>
          </ac:spMkLst>
        </pc:spChg>
        <pc:spChg chg="mod">
          <ac:chgData name="Andrea Mogollon Nossa (CENIT)" userId="f6a3e592-cc27-4858-b185-ff86be206069" providerId="ADAL" clId="{7512AD08-729F-4631-AFF5-A13DAAFD1BEE}" dt="2020-07-28T15:12:24.955" v="1288" actId="208"/>
          <ac:spMkLst>
            <pc:docMk/>
            <pc:sldMk cId="335391689" sldId="2134804348"/>
            <ac:spMk id="52" creationId="{D9D4C4FD-C516-42D8-9705-F75D5FE24DFE}"/>
          </ac:spMkLst>
        </pc:spChg>
        <pc:spChg chg="mod">
          <ac:chgData name="Andrea Mogollon Nossa (CENIT)" userId="f6a3e592-cc27-4858-b185-ff86be206069" providerId="ADAL" clId="{7512AD08-729F-4631-AFF5-A13DAAFD1BEE}" dt="2020-07-28T15:12:26.638" v="1289" actId="208"/>
          <ac:spMkLst>
            <pc:docMk/>
            <pc:sldMk cId="335391689" sldId="2134804348"/>
            <ac:spMk id="53" creationId="{8593FFF2-44E4-496E-BE2E-AF43086D7402}"/>
          </ac:spMkLst>
        </pc:spChg>
        <pc:spChg chg="mod">
          <ac:chgData name="Andrea Mogollon Nossa (CENIT)" userId="f6a3e592-cc27-4858-b185-ff86be206069" providerId="ADAL" clId="{7512AD08-729F-4631-AFF5-A13DAAFD1BEE}" dt="2020-07-28T15:14:57.296" v="1313" actId="108"/>
          <ac:spMkLst>
            <pc:docMk/>
            <pc:sldMk cId="335391689" sldId="2134804348"/>
            <ac:spMk id="69" creationId="{38D18292-C467-4CD3-890E-670905EDE7F1}"/>
          </ac:spMkLst>
        </pc:spChg>
        <pc:spChg chg="mod">
          <ac:chgData name="Andrea Mogollon Nossa (CENIT)" userId="f6a3e592-cc27-4858-b185-ff86be206069" providerId="ADAL" clId="{7512AD08-729F-4631-AFF5-A13DAAFD1BEE}" dt="2020-07-28T15:14:05.957" v="1311" actId="208"/>
          <ac:spMkLst>
            <pc:docMk/>
            <pc:sldMk cId="335391689" sldId="2134804348"/>
            <ac:spMk id="74" creationId="{D5140A26-6B24-4EF8-BA11-E02E558E1609}"/>
          </ac:spMkLst>
        </pc:spChg>
        <pc:spChg chg="mod">
          <ac:chgData name="Andrea Mogollon Nossa (CENIT)" userId="f6a3e592-cc27-4858-b185-ff86be206069" providerId="ADAL" clId="{7512AD08-729F-4631-AFF5-A13DAAFD1BEE}" dt="2020-07-28T15:14:13.732" v="1312" actId="208"/>
          <ac:spMkLst>
            <pc:docMk/>
            <pc:sldMk cId="335391689" sldId="2134804348"/>
            <ac:spMk id="94" creationId="{4DE4A526-D337-4C45-B9BF-7953B17E4C8C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20:57:47.840" v="2833" actId="1076"/>
        <pc:sldMkLst>
          <pc:docMk/>
          <pc:sldMk cId="1733347535" sldId="2134804349"/>
        </pc:sldMkLst>
        <pc:spChg chg="mod">
          <ac:chgData name="Andrea Mogollon Nossa (CENIT)" userId="f6a3e592-cc27-4858-b185-ff86be206069" providerId="ADAL" clId="{7512AD08-729F-4631-AFF5-A13DAAFD1BEE}" dt="2020-07-28T20:46:41.240" v="2782" actId="1076"/>
          <ac:spMkLst>
            <pc:docMk/>
            <pc:sldMk cId="1733347535" sldId="2134804349"/>
            <ac:spMk id="49" creationId="{5A708229-9B28-490D-903F-5AB937B8DCCB}"/>
          </ac:spMkLst>
        </pc:spChg>
        <pc:spChg chg="mod">
          <ac:chgData name="Andrea Mogollon Nossa (CENIT)" userId="f6a3e592-cc27-4858-b185-ff86be206069" providerId="ADAL" clId="{7512AD08-729F-4631-AFF5-A13DAAFD1BEE}" dt="2020-07-28T20:46:36.908" v="2781" actId="1076"/>
          <ac:spMkLst>
            <pc:docMk/>
            <pc:sldMk cId="1733347535" sldId="2134804349"/>
            <ac:spMk id="51" creationId="{350F2DB1-0F66-4C61-809B-C437241509A5}"/>
          </ac:spMkLst>
        </pc:spChg>
        <pc:spChg chg="mod">
          <ac:chgData name="Andrea Mogollon Nossa (CENIT)" userId="f6a3e592-cc27-4858-b185-ff86be206069" providerId="ADAL" clId="{7512AD08-729F-4631-AFF5-A13DAAFD1BEE}" dt="2020-07-28T20:46:33.568" v="2780" actId="1076"/>
          <ac:spMkLst>
            <pc:docMk/>
            <pc:sldMk cId="1733347535" sldId="2134804349"/>
            <ac:spMk id="52" creationId="{4407EECE-98B4-40AB-96BB-77D7A61DA8B5}"/>
          </ac:spMkLst>
        </pc:spChg>
        <pc:spChg chg="mod">
          <ac:chgData name="Andrea Mogollon Nossa (CENIT)" userId="f6a3e592-cc27-4858-b185-ff86be206069" providerId="ADAL" clId="{7512AD08-729F-4631-AFF5-A13DAAFD1BEE}" dt="2020-07-28T20:46:45.312" v="2783" actId="1076"/>
          <ac:spMkLst>
            <pc:docMk/>
            <pc:sldMk cId="1733347535" sldId="2134804349"/>
            <ac:spMk id="54" creationId="{1DF61A54-2AFD-421C-81E7-70B64E75F3D8}"/>
          </ac:spMkLst>
        </pc:spChg>
        <pc:spChg chg="mod">
          <ac:chgData name="Andrea Mogollon Nossa (CENIT)" userId="f6a3e592-cc27-4858-b185-ff86be206069" providerId="ADAL" clId="{7512AD08-729F-4631-AFF5-A13DAAFD1BEE}" dt="2020-07-28T20:47:15.896" v="2789" actId="1076"/>
          <ac:spMkLst>
            <pc:docMk/>
            <pc:sldMk cId="1733347535" sldId="2134804349"/>
            <ac:spMk id="57" creationId="{E424978D-3298-4D61-9C24-342DF5218E94}"/>
          </ac:spMkLst>
        </pc:spChg>
        <pc:spChg chg="mod">
          <ac:chgData name="Andrea Mogollon Nossa (CENIT)" userId="f6a3e592-cc27-4858-b185-ff86be206069" providerId="ADAL" clId="{7512AD08-729F-4631-AFF5-A13DAAFD1BEE}" dt="2020-07-28T20:47:24.467" v="2791" actId="1076"/>
          <ac:spMkLst>
            <pc:docMk/>
            <pc:sldMk cId="1733347535" sldId="2134804349"/>
            <ac:spMk id="59" creationId="{CA0293E5-6CDE-4F7F-B7BB-01753F923E25}"/>
          </ac:spMkLst>
        </pc:spChg>
        <pc:spChg chg="mod">
          <ac:chgData name="Andrea Mogollon Nossa (CENIT)" userId="f6a3e592-cc27-4858-b185-ff86be206069" providerId="ADAL" clId="{7512AD08-729F-4631-AFF5-A13DAAFD1BEE}" dt="2020-07-28T20:47:11.883" v="2788" actId="1076"/>
          <ac:spMkLst>
            <pc:docMk/>
            <pc:sldMk cId="1733347535" sldId="2134804349"/>
            <ac:spMk id="60" creationId="{AAE09F5F-0A44-413D-B46E-3708871A0C92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61" creationId="{FDAFCC60-7C16-48C3-839A-2546E8A9832C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63" creationId="{183A3FB7-4D5F-4E25-954E-1CB39C43D36A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64" creationId="{3B1A5D6F-8203-4E15-B30A-BAAAAB00FBDB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65" creationId="{D3761158-1427-4892-A593-EFA9206EAC44}"/>
          </ac:spMkLst>
        </pc:spChg>
        <pc:spChg chg="mod">
          <ac:chgData name="Andrea Mogollon Nossa (CENIT)" userId="f6a3e592-cc27-4858-b185-ff86be206069" providerId="ADAL" clId="{7512AD08-729F-4631-AFF5-A13DAAFD1BEE}" dt="2020-07-28T20:47:02.520" v="2785" actId="1076"/>
          <ac:spMkLst>
            <pc:docMk/>
            <pc:sldMk cId="1733347535" sldId="2134804349"/>
            <ac:spMk id="66" creationId="{66C4A00A-4D64-4945-9A1E-1FBEC3B1F06D}"/>
          </ac:spMkLst>
        </pc:spChg>
        <pc:spChg chg="mod">
          <ac:chgData name="Andrea Mogollon Nossa (CENIT)" userId="f6a3e592-cc27-4858-b185-ff86be206069" providerId="ADAL" clId="{7512AD08-729F-4631-AFF5-A13DAAFD1BEE}" dt="2020-07-28T20:47:05.184" v="2786" actId="1076"/>
          <ac:spMkLst>
            <pc:docMk/>
            <pc:sldMk cId="1733347535" sldId="2134804349"/>
            <ac:spMk id="67" creationId="{3E63B4EF-B0E9-4C7F-817D-51259CFEBAB3}"/>
          </ac:spMkLst>
        </pc:spChg>
        <pc:spChg chg="mod">
          <ac:chgData name="Andrea Mogollon Nossa (CENIT)" userId="f6a3e592-cc27-4858-b185-ff86be206069" providerId="ADAL" clId="{7512AD08-729F-4631-AFF5-A13DAAFD1BEE}" dt="2020-07-28T20:47:08.487" v="2787" actId="1076"/>
          <ac:spMkLst>
            <pc:docMk/>
            <pc:sldMk cId="1733347535" sldId="2134804349"/>
            <ac:spMk id="68" creationId="{EC4A468B-7CE8-45B5-96D6-08A54CE27F1D}"/>
          </ac:spMkLst>
        </pc:spChg>
        <pc:spChg chg="mod">
          <ac:chgData name="Andrea Mogollon Nossa (CENIT)" userId="f6a3e592-cc27-4858-b185-ff86be206069" providerId="ADAL" clId="{7512AD08-729F-4631-AFF5-A13DAAFD1BEE}" dt="2020-07-28T20:57:39.277" v="2832" actId="14100"/>
          <ac:spMkLst>
            <pc:docMk/>
            <pc:sldMk cId="1733347535" sldId="2134804349"/>
            <ac:spMk id="75" creationId="{2661451E-D5D5-4E61-ACCE-D44BDCEFB3E1}"/>
          </ac:spMkLst>
        </pc:spChg>
        <pc:spChg chg="mod">
          <ac:chgData name="Andrea Mogollon Nossa (CENIT)" userId="f6a3e592-cc27-4858-b185-ff86be206069" providerId="ADAL" clId="{7512AD08-729F-4631-AFF5-A13DAAFD1BEE}" dt="2020-07-28T20:48:29.007" v="2799" actId="208"/>
          <ac:spMkLst>
            <pc:docMk/>
            <pc:sldMk cId="1733347535" sldId="2134804349"/>
            <ac:spMk id="77" creationId="{19024DAF-FA7E-4978-AEF2-0968B2C95CEF}"/>
          </ac:spMkLst>
        </pc:spChg>
        <pc:spChg chg="mod">
          <ac:chgData name="Andrea Mogollon Nossa (CENIT)" userId="f6a3e592-cc27-4858-b185-ff86be206069" providerId="ADAL" clId="{7512AD08-729F-4631-AFF5-A13DAAFD1BEE}" dt="2020-07-28T20:48:32.457" v="2800" actId="108"/>
          <ac:spMkLst>
            <pc:docMk/>
            <pc:sldMk cId="1733347535" sldId="2134804349"/>
            <ac:spMk id="79" creationId="{760F56BD-3709-40D0-B01B-5BB74DB2FB5A}"/>
          </ac:spMkLst>
        </pc:spChg>
        <pc:spChg chg="mod">
          <ac:chgData name="Andrea Mogollon Nossa (CENIT)" userId="f6a3e592-cc27-4858-b185-ff86be206069" providerId="ADAL" clId="{7512AD08-729F-4631-AFF5-A13DAAFD1BEE}" dt="2020-07-28T20:48:34.950" v="2801" actId="108"/>
          <ac:spMkLst>
            <pc:docMk/>
            <pc:sldMk cId="1733347535" sldId="2134804349"/>
            <ac:spMk id="80" creationId="{69A65156-BB61-4872-83C3-69BE7DB70071}"/>
          </ac:spMkLst>
        </pc:spChg>
        <pc:spChg chg="mod">
          <ac:chgData name="Andrea Mogollon Nossa (CENIT)" userId="f6a3e592-cc27-4858-b185-ff86be206069" providerId="ADAL" clId="{7512AD08-729F-4631-AFF5-A13DAAFD1BEE}" dt="2020-07-28T20:48:37.078" v="2802" actId="108"/>
          <ac:spMkLst>
            <pc:docMk/>
            <pc:sldMk cId="1733347535" sldId="2134804349"/>
            <ac:spMk id="81" creationId="{9C01BBC6-8784-4E73-A8BF-AE202025C6D8}"/>
          </ac:spMkLst>
        </pc:spChg>
        <pc:spChg chg="mod">
          <ac:chgData name="Andrea Mogollon Nossa (CENIT)" userId="f6a3e592-cc27-4858-b185-ff86be206069" providerId="ADAL" clId="{7512AD08-729F-4631-AFF5-A13DAAFD1BEE}" dt="2020-07-28T20:57:47.840" v="2833" actId="1076"/>
          <ac:spMkLst>
            <pc:docMk/>
            <pc:sldMk cId="1733347535" sldId="2134804349"/>
            <ac:spMk id="84" creationId="{293DBAF3-3942-4C58-8A63-D4484E215E20}"/>
          </ac:spMkLst>
        </pc:spChg>
        <pc:spChg chg="mod">
          <ac:chgData name="Andrea Mogollon Nossa (CENIT)" userId="f6a3e592-cc27-4858-b185-ff86be206069" providerId="ADAL" clId="{7512AD08-729F-4631-AFF5-A13DAAFD1BEE}" dt="2020-07-28T20:57:47.840" v="2833" actId="1076"/>
          <ac:spMkLst>
            <pc:docMk/>
            <pc:sldMk cId="1733347535" sldId="2134804349"/>
            <ac:spMk id="86" creationId="{7696A978-4362-4DE3-8C58-0F58608C4AA6}"/>
          </ac:spMkLst>
        </pc:spChg>
        <pc:spChg chg="mod">
          <ac:chgData name="Andrea Mogollon Nossa (CENIT)" userId="f6a3e592-cc27-4858-b185-ff86be206069" providerId="ADAL" clId="{7512AD08-729F-4631-AFF5-A13DAAFD1BEE}" dt="2020-07-28T20:48:39.776" v="2803" actId="108"/>
          <ac:spMkLst>
            <pc:docMk/>
            <pc:sldMk cId="1733347535" sldId="2134804349"/>
            <ac:spMk id="87" creationId="{F991C183-F691-42BB-986A-1D4B3D0103EB}"/>
          </ac:spMkLst>
        </pc:spChg>
        <pc:spChg chg="mod">
          <ac:chgData name="Andrea Mogollon Nossa (CENIT)" userId="f6a3e592-cc27-4858-b185-ff86be206069" providerId="ADAL" clId="{7512AD08-729F-4631-AFF5-A13DAAFD1BEE}" dt="2020-07-28T20:48:43.802" v="2804" actId="108"/>
          <ac:spMkLst>
            <pc:docMk/>
            <pc:sldMk cId="1733347535" sldId="2134804349"/>
            <ac:spMk id="91" creationId="{18F9C7D0-B217-4434-8D0C-695D97120E3B}"/>
          </ac:spMkLst>
        </pc:spChg>
        <pc:spChg chg="mod">
          <ac:chgData name="Andrea Mogollon Nossa (CENIT)" userId="f6a3e592-cc27-4858-b185-ff86be206069" providerId="ADAL" clId="{7512AD08-729F-4631-AFF5-A13DAAFD1BEE}" dt="2020-07-28T20:48:45.913" v="2805" actId="108"/>
          <ac:spMkLst>
            <pc:docMk/>
            <pc:sldMk cId="1733347535" sldId="2134804349"/>
            <ac:spMk id="98" creationId="{D7FEAE21-9F37-4A63-909A-1A7AC2BC0417}"/>
          </ac:spMkLst>
        </pc:spChg>
        <pc:spChg chg="mod">
          <ac:chgData name="Andrea Mogollon Nossa (CENIT)" userId="f6a3e592-cc27-4858-b185-ff86be206069" providerId="ADAL" clId="{7512AD08-729F-4631-AFF5-A13DAAFD1BEE}" dt="2020-07-28T20:48:51.011" v="2806" actId="108"/>
          <ac:spMkLst>
            <pc:docMk/>
            <pc:sldMk cId="1733347535" sldId="2134804349"/>
            <ac:spMk id="101" creationId="{79B59DCD-FE2A-4CB0-A0BF-16552D365CC8}"/>
          </ac:spMkLst>
        </pc:spChg>
        <pc:spChg chg="mod">
          <ac:chgData name="Andrea Mogollon Nossa (CENIT)" userId="f6a3e592-cc27-4858-b185-ff86be206069" providerId="ADAL" clId="{7512AD08-729F-4631-AFF5-A13DAAFD1BEE}" dt="2020-07-28T20:48:53.666" v="2807" actId="108"/>
          <ac:spMkLst>
            <pc:docMk/>
            <pc:sldMk cId="1733347535" sldId="2134804349"/>
            <ac:spMk id="107" creationId="{DCDB75E1-F08D-48E6-BD8F-C8C43CF0E9E4}"/>
          </ac:spMkLst>
        </pc:spChg>
        <pc:spChg chg="mod">
          <ac:chgData name="Andrea Mogollon Nossa (CENIT)" userId="f6a3e592-cc27-4858-b185-ff86be206069" providerId="ADAL" clId="{7512AD08-729F-4631-AFF5-A13DAAFD1BEE}" dt="2020-07-28T20:48:56.075" v="2808" actId="108"/>
          <ac:spMkLst>
            <pc:docMk/>
            <pc:sldMk cId="1733347535" sldId="2134804349"/>
            <ac:spMk id="112" creationId="{D3449E55-D9E7-48E9-9077-F060D307C218}"/>
          </ac:spMkLst>
        </pc:spChg>
        <pc:spChg chg="mod">
          <ac:chgData name="Andrea Mogollon Nossa (CENIT)" userId="f6a3e592-cc27-4858-b185-ff86be206069" providerId="ADAL" clId="{7512AD08-729F-4631-AFF5-A13DAAFD1BEE}" dt="2020-07-28T20:48:58.468" v="2809" actId="108"/>
          <ac:spMkLst>
            <pc:docMk/>
            <pc:sldMk cId="1733347535" sldId="2134804349"/>
            <ac:spMk id="113" creationId="{F23ED729-3677-42FF-A4D9-F74AADEEAC49}"/>
          </ac:spMkLst>
        </pc:spChg>
        <pc:spChg chg="mod">
          <ac:chgData name="Andrea Mogollon Nossa (CENIT)" userId="f6a3e592-cc27-4858-b185-ff86be206069" providerId="ADAL" clId="{7512AD08-729F-4631-AFF5-A13DAAFD1BEE}" dt="2020-07-28T20:49:14.555" v="2814" actId="108"/>
          <ac:spMkLst>
            <pc:docMk/>
            <pc:sldMk cId="1733347535" sldId="2134804349"/>
            <ac:spMk id="114" creationId="{DAB2F9B5-A408-483C-BB0C-541C04A64603}"/>
          </ac:spMkLst>
        </pc:spChg>
        <pc:spChg chg="mod">
          <ac:chgData name="Andrea Mogollon Nossa (CENIT)" userId="f6a3e592-cc27-4858-b185-ff86be206069" providerId="ADAL" clId="{7512AD08-729F-4631-AFF5-A13DAAFD1BEE}" dt="2020-07-28T20:57:47.840" v="2833" actId="1076"/>
          <ac:spMkLst>
            <pc:docMk/>
            <pc:sldMk cId="1733347535" sldId="2134804349"/>
            <ac:spMk id="117" creationId="{8960734A-1053-42D2-BD72-6674DCCE6A97}"/>
          </ac:spMkLst>
        </pc:spChg>
        <pc:spChg chg="mod">
          <ac:chgData name="Andrea Mogollon Nossa (CENIT)" userId="f6a3e592-cc27-4858-b185-ff86be206069" providerId="ADAL" clId="{7512AD08-729F-4631-AFF5-A13DAAFD1BEE}" dt="2020-07-28T20:57:47.840" v="2833" actId="1076"/>
          <ac:spMkLst>
            <pc:docMk/>
            <pc:sldMk cId="1733347535" sldId="2134804349"/>
            <ac:spMk id="118" creationId="{C77431EE-A761-4323-B75F-692D4CAEC462}"/>
          </ac:spMkLst>
        </pc:spChg>
        <pc:spChg chg="mod">
          <ac:chgData name="Andrea Mogollon Nossa (CENIT)" userId="f6a3e592-cc27-4858-b185-ff86be206069" providerId="ADAL" clId="{7512AD08-729F-4631-AFF5-A13DAAFD1BEE}" dt="2020-07-28T20:57:47.840" v="2833" actId="1076"/>
          <ac:spMkLst>
            <pc:docMk/>
            <pc:sldMk cId="1733347535" sldId="2134804349"/>
            <ac:spMk id="119" creationId="{A66DDFF6-8990-4632-9B16-3852035C81BA}"/>
          </ac:spMkLst>
        </pc:spChg>
        <pc:spChg chg="mod">
          <ac:chgData name="Andrea Mogollon Nossa (CENIT)" userId="f6a3e592-cc27-4858-b185-ff86be206069" providerId="ADAL" clId="{7512AD08-729F-4631-AFF5-A13DAAFD1BEE}" dt="2020-07-28T20:49:16.621" v="2815" actId="108"/>
          <ac:spMkLst>
            <pc:docMk/>
            <pc:sldMk cId="1733347535" sldId="2134804349"/>
            <ac:spMk id="121" creationId="{DCD85B41-E0F2-49DE-BE7E-2285DCE4306F}"/>
          </ac:spMkLst>
        </pc:spChg>
        <pc:spChg chg="mod">
          <ac:chgData name="Andrea Mogollon Nossa (CENIT)" userId="f6a3e592-cc27-4858-b185-ff86be206069" providerId="ADAL" clId="{7512AD08-729F-4631-AFF5-A13DAAFD1BEE}" dt="2020-07-28T20:49:11.415" v="2813" actId="108"/>
          <ac:spMkLst>
            <pc:docMk/>
            <pc:sldMk cId="1733347535" sldId="2134804349"/>
            <ac:spMk id="123" creationId="{96309232-3CEA-4DD6-AFA6-EB7949BDC5D2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128" creationId="{8C357E4C-4A5B-4328-8E90-B9521B819DA8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129" creationId="{24CA492A-FC13-4941-B289-964D9D2C0595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131" creationId="{659F8239-3772-4B5D-84D9-B6820973AB7D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139" creationId="{9F2C6947-6656-4F12-920F-7F25FE0E0A75}"/>
          </ac:spMkLst>
        </pc:spChg>
        <pc:spChg chg="mod">
          <ac:chgData name="Andrea Mogollon Nossa (CENIT)" userId="f6a3e592-cc27-4858-b185-ff86be206069" providerId="ADAL" clId="{7512AD08-729F-4631-AFF5-A13DAAFD1BEE}" dt="2020-07-28T20:49:02.767" v="2810" actId="108"/>
          <ac:spMkLst>
            <pc:docMk/>
            <pc:sldMk cId="1733347535" sldId="2134804349"/>
            <ac:spMk id="141" creationId="{B4C15846-F4C9-4548-B734-938F5E1AC7DD}"/>
          </ac:spMkLst>
        </pc:spChg>
        <pc:spChg chg="mod">
          <ac:chgData name="Andrea Mogollon Nossa (CENIT)" userId="f6a3e592-cc27-4858-b185-ff86be206069" providerId="ADAL" clId="{7512AD08-729F-4631-AFF5-A13DAAFD1BEE}" dt="2020-07-28T20:49:06.617" v="2811" actId="108"/>
          <ac:spMkLst>
            <pc:docMk/>
            <pc:sldMk cId="1733347535" sldId="2134804349"/>
            <ac:spMk id="143" creationId="{D6B161C2-FF96-468A-8368-81C555D3426A}"/>
          </ac:spMkLst>
        </pc:spChg>
        <pc:spChg chg="mod">
          <ac:chgData name="Andrea Mogollon Nossa (CENIT)" userId="f6a3e592-cc27-4858-b185-ff86be206069" providerId="ADAL" clId="{7512AD08-729F-4631-AFF5-A13DAAFD1BEE}" dt="2020-07-28T20:49:08.651" v="2812" actId="108"/>
          <ac:spMkLst>
            <pc:docMk/>
            <pc:sldMk cId="1733347535" sldId="2134804349"/>
            <ac:spMk id="150" creationId="{C28A80CF-1701-4EF2-8A2B-1130DC0D68B0}"/>
          </ac:spMkLst>
        </pc:spChg>
        <pc:spChg chg="mod">
          <ac:chgData name="Andrea Mogollon Nossa (CENIT)" userId="f6a3e592-cc27-4858-b185-ff86be206069" providerId="ADAL" clId="{7512AD08-729F-4631-AFF5-A13DAAFD1BEE}" dt="2020-07-28T20:39:32.835" v="2763" actId="14100"/>
          <ac:spMkLst>
            <pc:docMk/>
            <pc:sldMk cId="1733347535" sldId="2134804349"/>
            <ac:spMk id="180" creationId="{0117387A-7B68-42A3-92C5-25DEBE10BBDC}"/>
          </ac:spMkLst>
        </pc:s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22" creationId="{2B98B6A7-7227-4CB8-80CE-DF246B94E3DA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26" creationId="{5B1CDA9C-37CE-441A-94E7-5A5F38503613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31" creationId="{A0B07E6C-42EA-42D4-BF18-74CF8467911A}"/>
          </ac:grpSpMkLst>
        </pc:grpChg>
        <pc:grpChg chg="mod">
          <ac:chgData name="Andrea Mogollon Nossa (CENIT)" userId="f6a3e592-cc27-4858-b185-ff86be206069" providerId="ADAL" clId="{7512AD08-729F-4631-AFF5-A13DAAFD1BEE}" dt="2020-07-28T20:46:15.816" v="2776" actId="1076"/>
          <ac:grpSpMkLst>
            <pc:docMk/>
            <pc:sldMk cId="1733347535" sldId="2134804349"/>
            <ac:grpSpMk id="42" creationId="{C86E4A92-2D9B-4D15-AFAF-2C673F30F819}"/>
          </ac:grpSpMkLst>
        </pc:grpChg>
        <pc:grpChg chg="mod">
          <ac:chgData name="Andrea Mogollon Nossa (CENIT)" userId="f6a3e592-cc27-4858-b185-ff86be206069" providerId="ADAL" clId="{7512AD08-729F-4631-AFF5-A13DAAFD1BEE}" dt="2020-07-28T20:46:19.575" v="2777" actId="1076"/>
          <ac:grpSpMkLst>
            <pc:docMk/>
            <pc:sldMk cId="1733347535" sldId="2134804349"/>
            <ac:grpSpMk id="45" creationId="{EF7C10BB-35CE-43C5-B743-38C4E6BD74F1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53" creationId="{3873BDF9-02E9-44FD-9510-89955A3B3E89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67" creationId="{63AEDB8E-9F96-4691-A9CB-A70EAAEF70B8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74" creationId="{C6C04382-85B7-4D3F-B803-EA4D1267F0BA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78" creationId="{E673AC4C-B912-4B00-A07E-F353630C7D29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81" creationId="{F41557D1-2FC7-4DE5-8691-EAF2A4C637E1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86" creationId="{16DA9333-7032-45CE-9E3A-01409C1E6A05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91" creationId="{FA20B0AB-4006-4C51-82AE-68A90BD76171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200" creationId="{5EC7640D-CC76-46E2-91FB-5BC2A36E2B7B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210" creationId="{F31D1FA4-2A54-44F7-BB5E-B6B753EC0E14}"/>
          </ac:grpSpMkLst>
        </pc:grpChg>
      </pc:sldChg>
      <pc:sldChg chg="modSp mod">
        <pc:chgData name="Andrea Mogollon Nossa (CENIT)" userId="f6a3e592-cc27-4858-b185-ff86be206069" providerId="ADAL" clId="{7512AD08-729F-4631-AFF5-A13DAAFD1BEE}" dt="2020-07-28T20:54:31.244" v="2821" actId="693"/>
        <pc:sldMkLst>
          <pc:docMk/>
          <pc:sldMk cId="4149911555" sldId="2134804350"/>
        </pc:sldMkLst>
        <pc:spChg chg="mod">
          <ac:chgData name="Andrea Mogollon Nossa (CENIT)" userId="f6a3e592-cc27-4858-b185-ff86be206069" providerId="ADAL" clId="{7512AD08-729F-4631-AFF5-A13DAAFD1BEE}" dt="2020-07-28T20:54:31.244" v="2821" actId="693"/>
          <ac:spMkLst>
            <pc:docMk/>
            <pc:sldMk cId="4149911555" sldId="2134804350"/>
            <ac:spMk id="97" creationId="{99300021-C267-43BD-A0F5-B3ECE622345E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20:59:54.897" v="2853" actId="693"/>
        <pc:sldMkLst>
          <pc:docMk/>
          <pc:sldMk cId="2519932516" sldId="2134804351"/>
        </pc:sldMkLst>
        <pc:spChg chg="mod">
          <ac:chgData name="Andrea Mogollon Nossa (CENIT)" userId="f6a3e592-cc27-4858-b185-ff86be206069" providerId="ADAL" clId="{7512AD08-729F-4631-AFF5-A13DAAFD1BEE}" dt="2020-07-28T20:59:08.080" v="2840" actId="108"/>
          <ac:spMkLst>
            <pc:docMk/>
            <pc:sldMk cId="2519932516" sldId="2134804351"/>
            <ac:spMk id="7" creationId="{8AF3B524-5EF0-4D16-B04B-B95BDA57F430}"/>
          </ac:spMkLst>
        </pc:spChg>
        <pc:spChg chg="mod">
          <ac:chgData name="Andrea Mogollon Nossa (CENIT)" userId="f6a3e592-cc27-4858-b185-ff86be206069" providerId="ADAL" clId="{7512AD08-729F-4631-AFF5-A13DAAFD1BEE}" dt="2020-07-28T20:55:38.642" v="2825" actId="255"/>
          <ac:spMkLst>
            <pc:docMk/>
            <pc:sldMk cId="2519932516" sldId="2134804351"/>
            <ac:spMk id="8" creationId="{B5A4B02A-4AA2-46C5-BDD1-63C4860CAD01}"/>
          </ac:spMkLst>
        </pc:spChg>
        <pc:spChg chg="mod">
          <ac:chgData name="Andrea Mogollon Nossa (CENIT)" userId="f6a3e592-cc27-4858-b185-ff86be206069" providerId="ADAL" clId="{7512AD08-729F-4631-AFF5-A13DAAFD1BEE}" dt="2020-07-28T20:58:57.287" v="2837" actId="208"/>
          <ac:spMkLst>
            <pc:docMk/>
            <pc:sldMk cId="2519932516" sldId="2134804351"/>
            <ac:spMk id="10" creationId="{354C1A81-D85E-40D4-9432-F14195AA0783}"/>
          </ac:spMkLst>
        </pc:spChg>
        <pc:spChg chg="mod">
          <ac:chgData name="Andrea Mogollon Nossa (CENIT)" userId="f6a3e592-cc27-4858-b185-ff86be206069" providerId="ADAL" clId="{7512AD08-729F-4631-AFF5-A13DAAFD1BEE}" dt="2020-07-28T20:59:00.617" v="2838" actId="108"/>
          <ac:spMkLst>
            <pc:docMk/>
            <pc:sldMk cId="2519932516" sldId="2134804351"/>
            <ac:spMk id="11" creationId="{E6765BEB-6062-4FF5-991F-74E9591E7BE0}"/>
          </ac:spMkLst>
        </pc:spChg>
        <pc:spChg chg="mod">
          <ac:chgData name="Andrea Mogollon Nossa (CENIT)" userId="f6a3e592-cc27-4858-b185-ff86be206069" providerId="ADAL" clId="{7512AD08-729F-4631-AFF5-A13DAAFD1BEE}" dt="2020-07-28T20:59:03.096" v="2839" actId="108"/>
          <ac:spMkLst>
            <pc:docMk/>
            <pc:sldMk cId="2519932516" sldId="2134804351"/>
            <ac:spMk id="12" creationId="{C841B24C-61AF-41C0-8A4D-6D9D7A8B8383}"/>
          </ac:spMkLst>
        </pc:spChg>
        <pc:spChg chg="mod">
          <ac:chgData name="Andrea Mogollon Nossa (CENIT)" userId="f6a3e592-cc27-4858-b185-ff86be206069" providerId="ADAL" clId="{7512AD08-729F-4631-AFF5-A13DAAFD1BEE}" dt="2020-07-28T20:58:26.624" v="2835" actId="208"/>
          <ac:spMkLst>
            <pc:docMk/>
            <pc:sldMk cId="2519932516" sldId="2134804351"/>
            <ac:spMk id="13" creationId="{0D9D9488-940D-433C-A4EA-92B78BED58F5}"/>
          </ac:spMkLst>
        </pc:spChg>
        <pc:spChg chg="mod">
          <ac:chgData name="Andrea Mogollon Nossa (CENIT)" userId="f6a3e592-cc27-4858-b185-ff86be206069" providerId="ADAL" clId="{7512AD08-729F-4631-AFF5-A13DAAFD1BEE}" dt="2020-07-28T20:59:10.695" v="2841" actId="108"/>
          <ac:spMkLst>
            <pc:docMk/>
            <pc:sldMk cId="2519932516" sldId="2134804351"/>
            <ac:spMk id="14" creationId="{2614B80C-5E9C-4C43-9417-CE8F857DE0FE}"/>
          </ac:spMkLst>
        </pc:spChg>
        <pc:spChg chg="mod">
          <ac:chgData name="Andrea Mogollon Nossa (CENIT)" userId="f6a3e592-cc27-4858-b185-ff86be206069" providerId="ADAL" clId="{7512AD08-729F-4631-AFF5-A13DAAFD1BEE}" dt="2020-07-28T20:59:13.824" v="2842" actId="108"/>
          <ac:spMkLst>
            <pc:docMk/>
            <pc:sldMk cId="2519932516" sldId="2134804351"/>
            <ac:spMk id="15" creationId="{E4A5D75D-0A3C-49F0-B736-F7C27D60B3A3}"/>
          </ac:spMkLst>
        </pc:spChg>
        <pc:spChg chg="mod">
          <ac:chgData name="Andrea Mogollon Nossa (CENIT)" userId="f6a3e592-cc27-4858-b185-ff86be206069" providerId="ADAL" clId="{7512AD08-729F-4631-AFF5-A13DAAFD1BEE}" dt="2020-07-28T20:59:17.223" v="2843" actId="108"/>
          <ac:spMkLst>
            <pc:docMk/>
            <pc:sldMk cId="2519932516" sldId="2134804351"/>
            <ac:spMk id="16" creationId="{65995084-D3B4-451E-9E40-025A2D90EDC8}"/>
          </ac:spMkLst>
        </pc:spChg>
        <pc:spChg chg="mod">
          <ac:chgData name="Andrea Mogollon Nossa (CENIT)" userId="f6a3e592-cc27-4858-b185-ff86be206069" providerId="ADAL" clId="{7512AD08-729F-4631-AFF5-A13DAAFD1BEE}" dt="2020-07-28T20:59:19.460" v="2844" actId="108"/>
          <ac:spMkLst>
            <pc:docMk/>
            <pc:sldMk cId="2519932516" sldId="2134804351"/>
            <ac:spMk id="56" creationId="{A1361919-71D6-4D71-9DC2-E64FDAB3BEB6}"/>
          </ac:spMkLst>
        </pc:spChg>
        <pc:spChg chg="mod">
          <ac:chgData name="Andrea Mogollon Nossa (CENIT)" userId="f6a3e592-cc27-4858-b185-ff86be206069" providerId="ADAL" clId="{7512AD08-729F-4631-AFF5-A13DAAFD1BEE}" dt="2020-07-28T20:56:16.826" v="2828" actId="108"/>
          <ac:spMkLst>
            <pc:docMk/>
            <pc:sldMk cId="2519932516" sldId="2134804351"/>
            <ac:spMk id="68" creationId="{E0BD316C-FAB2-49B3-90CF-8E3FEB823472}"/>
          </ac:spMkLst>
        </pc:spChg>
        <pc:spChg chg="mod">
          <ac:chgData name="Andrea Mogollon Nossa (CENIT)" userId="f6a3e592-cc27-4858-b185-ff86be206069" providerId="ADAL" clId="{7512AD08-729F-4631-AFF5-A13DAAFD1BEE}" dt="2020-07-28T20:59:22.453" v="2845" actId="108"/>
          <ac:spMkLst>
            <pc:docMk/>
            <pc:sldMk cId="2519932516" sldId="2134804351"/>
            <ac:spMk id="72" creationId="{0271D3F6-9B51-4788-A19E-573ECB9F7EDE}"/>
          </ac:spMkLst>
        </pc:spChg>
        <pc:spChg chg="mod">
          <ac:chgData name="Andrea Mogollon Nossa (CENIT)" userId="f6a3e592-cc27-4858-b185-ff86be206069" providerId="ADAL" clId="{7512AD08-729F-4631-AFF5-A13DAAFD1BEE}" dt="2020-07-28T20:59:28.027" v="2846" actId="108"/>
          <ac:spMkLst>
            <pc:docMk/>
            <pc:sldMk cId="2519932516" sldId="2134804351"/>
            <ac:spMk id="76" creationId="{B3A8BA81-8E35-42BE-AF9A-7071C157828E}"/>
          </ac:spMkLst>
        </pc:spChg>
        <pc:spChg chg="mod">
          <ac:chgData name="Andrea Mogollon Nossa (CENIT)" userId="f6a3e592-cc27-4858-b185-ff86be206069" providerId="ADAL" clId="{7512AD08-729F-4631-AFF5-A13DAAFD1BEE}" dt="2020-07-28T20:59:30.655" v="2847" actId="108"/>
          <ac:spMkLst>
            <pc:docMk/>
            <pc:sldMk cId="2519932516" sldId="2134804351"/>
            <ac:spMk id="80" creationId="{FFBE6AE1-2056-45BA-BCF6-ED97C1554D36}"/>
          </ac:spMkLst>
        </pc:spChg>
        <pc:spChg chg="mod">
          <ac:chgData name="Andrea Mogollon Nossa (CENIT)" userId="f6a3e592-cc27-4858-b185-ff86be206069" providerId="ADAL" clId="{7512AD08-729F-4631-AFF5-A13DAAFD1BEE}" dt="2020-07-28T20:59:34.085" v="2848" actId="108"/>
          <ac:spMkLst>
            <pc:docMk/>
            <pc:sldMk cId="2519932516" sldId="2134804351"/>
            <ac:spMk id="88" creationId="{560BB30A-7A6C-4DCB-ADB4-99EE32EEA5AD}"/>
          </ac:spMkLst>
        </pc:spChg>
        <pc:spChg chg="mod">
          <ac:chgData name="Andrea Mogollon Nossa (CENIT)" userId="f6a3e592-cc27-4858-b185-ff86be206069" providerId="ADAL" clId="{7512AD08-729F-4631-AFF5-A13DAAFD1BEE}" dt="2020-07-28T20:56:25.767" v="2829" actId="108"/>
          <ac:spMkLst>
            <pc:docMk/>
            <pc:sldMk cId="2519932516" sldId="2134804351"/>
            <ac:spMk id="96" creationId="{09E6990B-CBC6-4766-92A4-C07ABAFB1D59}"/>
          </ac:spMkLst>
        </pc:spChg>
        <pc:spChg chg="mod">
          <ac:chgData name="Andrea Mogollon Nossa (CENIT)" userId="f6a3e592-cc27-4858-b185-ff86be206069" providerId="ADAL" clId="{7512AD08-729F-4631-AFF5-A13DAAFD1BEE}" dt="2020-07-28T20:59:38.508" v="2849" actId="108"/>
          <ac:spMkLst>
            <pc:docMk/>
            <pc:sldMk cId="2519932516" sldId="2134804351"/>
            <ac:spMk id="102" creationId="{357A9AB8-D778-4FF7-B653-9D3E0395B1F2}"/>
          </ac:spMkLst>
        </pc:spChg>
        <pc:spChg chg="mod">
          <ac:chgData name="Andrea Mogollon Nossa (CENIT)" userId="f6a3e592-cc27-4858-b185-ff86be206069" providerId="ADAL" clId="{7512AD08-729F-4631-AFF5-A13DAAFD1BEE}" dt="2020-07-28T20:59:40.271" v="2850" actId="108"/>
          <ac:spMkLst>
            <pc:docMk/>
            <pc:sldMk cId="2519932516" sldId="2134804351"/>
            <ac:spMk id="126" creationId="{F3345E9D-3CDC-4990-8CC7-89A023557472}"/>
          </ac:spMkLst>
        </pc:spChg>
        <pc:spChg chg="mod">
          <ac:chgData name="Andrea Mogollon Nossa (CENIT)" userId="f6a3e592-cc27-4858-b185-ff86be206069" providerId="ADAL" clId="{7512AD08-729F-4631-AFF5-A13DAAFD1BEE}" dt="2020-07-28T20:59:42.555" v="2851" actId="108"/>
          <ac:spMkLst>
            <pc:docMk/>
            <pc:sldMk cId="2519932516" sldId="2134804351"/>
            <ac:spMk id="140" creationId="{EA2D8879-FCAB-4E6C-84E9-57818C0A0FF5}"/>
          </ac:spMkLst>
        </pc:spChg>
        <pc:spChg chg="mod">
          <ac:chgData name="Andrea Mogollon Nossa (CENIT)" userId="f6a3e592-cc27-4858-b185-ff86be206069" providerId="ADAL" clId="{7512AD08-729F-4631-AFF5-A13DAAFD1BEE}" dt="2020-07-28T20:59:54.897" v="2853" actId="693"/>
          <ac:spMkLst>
            <pc:docMk/>
            <pc:sldMk cId="2519932516" sldId="2134804351"/>
            <ac:spMk id="144" creationId="{081CE15D-52C6-4E61-BAAC-9650B1662861}"/>
          </ac:spMkLst>
        </pc:spChg>
      </pc:sldChg>
      <pc:sldChg chg="del">
        <pc:chgData name="Andrea Mogollon Nossa (CENIT)" userId="f6a3e592-cc27-4858-b185-ff86be206069" providerId="ADAL" clId="{7512AD08-729F-4631-AFF5-A13DAAFD1BEE}" dt="2020-07-28T19:29:44.762" v="1557" actId="47"/>
        <pc:sldMkLst>
          <pc:docMk/>
          <pc:sldMk cId="2075344503" sldId="2134804352"/>
        </pc:sldMkLst>
      </pc:sldChg>
      <pc:sldChg chg="del">
        <pc:chgData name="Andrea Mogollon Nossa (CENIT)" userId="f6a3e592-cc27-4858-b185-ff86be206069" providerId="ADAL" clId="{7512AD08-729F-4631-AFF5-A13DAAFD1BEE}" dt="2020-07-28T21:01:29.237" v="2854" actId="47"/>
        <pc:sldMkLst>
          <pc:docMk/>
          <pc:sldMk cId="4009905532" sldId="2134804353"/>
        </pc:sldMkLst>
      </pc:sldChg>
      <pc:sldChg chg="del">
        <pc:chgData name="Andrea Mogollon Nossa (CENIT)" userId="f6a3e592-cc27-4858-b185-ff86be206069" providerId="ADAL" clId="{7512AD08-729F-4631-AFF5-A13DAAFD1BEE}" dt="2020-07-28T19:26:37.098" v="1546" actId="47"/>
        <pc:sldMkLst>
          <pc:docMk/>
          <pc:sldMk cId="797326216" sldId="2134804354"/>
        </pc:sldMkLst>
      </pc:sldChg>
      <pc:sldChg chg="addSp new mod">
        <pc:chgData name="Andrea Mogollon Nossa (CENIT)" userId="f6a3e592-cc27-4858-b185-ff86be206069" providerId="ADAL" clId="{7512AD08-729F-4631-AFF5-A13DAAFD1BEE}" dt="2020-07-28T15:10:57.612" v="1248" actId="22"/>
        <pc:sldMkLst>
          <pc:docMk/>
          <pc:sldMk cId="1132069796" sldId="2134804355"/>
        </pc:sldMkLst>
        <pc:spChg chg="add">
          <ac:chgData name="Andrea Mogollon Nossa (CENIT)" userId="f6a3e592-cc27-4858-b185-ff86be206069" providerId="ADAL" clId="{7512AD08-729F-4631-AFF5-A13DAAFD1BEE}" dt="2020-07-28T15:10:57.612" v="1248" actId="22"/>
          <ac:spMkLst>
            <pc:docMk/>
            <pc:sldMk cId="1132069796" sldId="2134804355"/>
            <ac:spMk id="5" creationId="{0628D255-AFF9-450B-9CB8-3C9C33F5960F}"/>
          </ac:spMkLst>
        </pc:spChg>
      </pc:sldChg>
    </pc:docChg>
  </pc:docChgLst>
  <pc:docChgLst>
    <pc:chgData name="Mariam Daniela Tristancho Pineda (PTA SAS)" userId="a45a17f7-7950-4cb5-bfab-f5c894f959a9" providerId="ADAL" clId="{7E0461DD-625F-4FFD-8EB3-FFF62574CF0B}"/>
    <pc:docChg chg="undo custSel addSld delSld modSld">
      <pc:chgData name="Mariam Daniela Tristancho Pineda (PTA SAS)" userId="a45a17f7-7950-4cb5-bfab-f5c894f959a9" providerId="ADAL" clId="{7E0461DD-625F-4FFD-8EB3-FFF62574CF0B}" dt="2020-10-20T14:37:12.739" v="494" actId="1076"/>
      <pc:docMkLst>
        <pc:docMk/>
      </pc:docMkLst>
      <pc:sldChg chg="del">
        <pc:chgData name="Mariam Daniela Tristancho Pineda (PTA SAS)" userId="a45a17f7-7950-4cb5-bfab-f5c894f959a9" providerId="ADAL" clId="{7E0461DD-625F-4FFD-8EB3-FFF62574CF0B}" dt="2020-10-20T12:45:06.468" v="454" actId="47"/>
        <pc:sldMkLst>
          <pc:docMk/>
          <pc:sldMk cId="3844388932" sldId="264"/>
        </pc:sldMkLst>
      </pc:sldChg>
      <pc:sldChg chg="modSp mod">
        <pc:chgData name="Mariam Daniela Tristancho Pineda (PTA SAS)" userId="a45a17f7-7950-4cb5-bfab-f5c894f959a9" providerId="ADAL" clId="{7E0461DD-625F-4FFD-8EB3-FFF62574CF0B}" dt="2020-10-19T22:23:52.104" v="446" actId="14100"/>
        <pc:sldMkLst>
          <pc:docMk/>
          <pc:sldMk cId="1046801049" sldId="288"/>
        </pc:sldMkLst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20" creationId="{BA71CAB1-059A-4682-B7CE-73D93DC727F2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42" creationId="{8C6C9463-38E0-44BF-A606-AD2FAE25F4EF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48" creationId="{3D5B9A0C-A094-44A4-8CD7-BD8B7612947C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50" creationId="{A92FB6B2-22A2-4568-A9CA-7C97419CC0A1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54" creationId="{CD2E0FE5-7403-40BC-BD69-19937EDD1C27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60" creationId="{63D96A83-7AC3-44B6-B68B-2AB5BFE50843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91" creationId="{07CBC177-9FC6-C343-A97F-7D9FD1AD4A40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93" creationId="{821B7FB2-45AC-7943-9211-8C5A56B0B1D0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94" creationId="{4B1C927A-9904-0645-BCA2-25CA2CAF52C5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99" creationId="{F7274B33-B192-4347-A044-6DC3E078F83D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106" creationId="{88C01678-B2F7-1045-90CD-53A08DDEB55A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109" creationId="{DC6FE364-503B-7946-8E38-C2A6F34B3F59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110" creationId="{86D16295-E7AA-AD4A-BBAC-9BD05EEA09B8}"/>
          </ac:spMkLst>
        </pc:spChg>
        <pc:spChg chg="mod">
          <ac:chgData name="Mariam Daniela Tristancho Pineda (PTA SAS)" userId="a45a17f7-7950-4cb5-bfab-f5c894f959a9" providerId="ADAL" clId="{7E0461DD-625F-4FFD-8EB3-FFF62574CF0B}" dt="2020-10-19T22:23:52.104" v="446" actId="14100"/>
          <ac:spMkLst>
            <pc:docMk/>
            <pc:sldMk cId="1046801049" sldId="288"/>
            <ac:spMk id="111" creationId="{C9BEE47A-869F-5147-B51D-BCF46C0AE4A1}"/>
          </ac:spMkLst>
        </pc:spChg>
        <pc:picChg chg="mod">
          <ac:chgData name="Mariam Daniela Tristancho Pineda (PTA SAS)" userId="a45a17f7-7950-4cb5-bfab-f5c894f959a9" providerId="ADAL" clId="{7E0461DD-625F-4FFD-8EB3-FFF62574CF0B}" dt="2020-10-19T22:23:52.104" v="446" actId="14100"/>
          <ac:picMkLst>
            <pc:docMk/>
            <pc:sldMk cId="1046801049" sldId="288"/>
            <ac:picMk id="33" creationId="{52F0AC2F-4F50-514E-BAC5-40FB8FFE3B9F}"/>
          </ac:picMkLst>
        </pc:picChg>
        <pc:picChg chg="mod">
          <ac:chgData name="Mariam Daniela Tristancho Pineda (PTA SAS)" userId="a45a17f7-7950-4cb5-bfab-f5c894f959a9" providerId="ADAL" clId="{7E0461DD-625F-4FFD-8EB3-FFF62574CF0B}" dt="2020-10-19T22:23:52.104" v="446" actId="14100"/>
          <ac:picMkLst>
            <pc:docMk/>
            <pc:sldMk cId="1046801049" sldId="288"/>
            <ac:picMk id="101" creationId="{D30FAB84-6765-4EA7-8B2C-0B76621F31E4}"/>
          </ac:picMkLst>
        </pc:picChg>
        <pc:picChg chg="mod">
          <ac:chgData name="Mariam Daniela Tristancho Pineda (PTA SAS)" userId="a45a17f7-7950-4cb5-bfab-f5c894f959a9" providerId="ADAL" clId="{7E0461DD-625F-4FFD-8EB3-FFF62574CF0B}" dt="2020-10-19T22:23:52.104" v="446" actId="14100"/>
          <ac:picMkLst>
            <pc:docMk/>
            <pc:sldMk cId="1046801049" sldId="288"/>
            <ac:picMk id="103" creationId="{7C64DD4C-B66D-4C04-B15D-EDBF75D4827D}"/>
          </ac:picMkLst>
        </pc:picChg>
        <pc:picChg chg="mod">
          <ac:chgData name="Mariam Daniela Tristancho Pineda (PTA SAS)" userId="a45a17f7-7950-4cb5-bfab-f5c894f959a9" providerId="ADAL" clId="{7E0461DD-625F-4FFD-8EB3-FFF62574CF0B}" dt="2020-10-19T22:23:52.104" v="446" actId="14100"/>
          <ac:picMkLst>
            <pc:docMk/>
            <pc:sldMk cId="1046801049" sldId="288"/>
            <ac:picMk id="105" creationId="{D28A723D-BE5C-4CCD-BB55-26CC0939C143}"/>
          </ac:picMkLst>
        </pc:picChg>
        <pc:picChg chg="mod">
          <ac:chgData name="Mariam Daniela Tristancho Pineda (PTA SAS)" userId="a45a17f7-7950-4cb5-bfab-f5c894f959a9" providerId="ADAL" clId="{7E0461DD-625F-4FFD-8EB3-FFF62574CF0B}" dt="2020-10-19T22:23:52.104" v="446" actId="14100"/>
          <ac:picMkLst>
            <pc:docMk/>
            <pc:sldMk cId="1046801049" sldId="288"/>
            <ac:picMk id="107" creationId="{DDDCB467-82D2-4906-8E14-265CD169797B}"/>
          </ac:picMkLst>
        </pc:picChg>
        <pc:picChg chg="mod">
          <ac:chgData name="Mariam Daniela Tristancho Pineda (PTA SAS)" userId="a45a17f7-7950-4cb5-bfab-f5c894f959a9" providerId="ADAL" clId="{7E0461DD-625F-4FFD-8EB3-FFF62574CF0B}" dt="2020-10-19T22:23:52.104" v="446" actId="14100"/>
          <ac:picMkLst>
            <pc:docMk/>
            <pc:sldMk cId="1046801049" sldId="288"/>
            <ac:picMk id="135" creationId="{4E16E3A8-711F-4172-B56E-43B025F29A3E}"/>
          </ac:picMkLst>
        </pc:picChg>
      </pc:sldChg>
      <pc:sldChg chg="modSp mod">
        <pc:chgData name="Mariam Daniela Tristancho Pineda (PTA SAS)" userId="a45a17f7-7950-4cb5-bfab-f5c894f959a9" providerId="ADAL" clId="{7E0461DD-625F-4FFD-8EB3-FFF62574CF0B}" dt="2020-10-19T22:03:52.888" v="22" actId="114"/>
        <pc:sldMkLst>
          <pc:docMk/>
          <pc:sldMk cId="676461558" sldId="291"/>
        </pc:sldMkLst>
        <pc:spChg chg="mod">
          <ac:chgData name="Mariam Daniela Tristancho Pineda (PTA SAS)" userId="a45a17f7-7950-4cb5-bfab-f5c894f959a9" providerId="ADAL" clId="{7E0461DD-625F-4FFD-8EB3-FFF62574CF0B}" dt="2020-10-19T22:03:52.888" v="22" actId="114"/>
          <ac:spMkLst>
            <pc:docMk/>
            <pc:sldMk cId="676461558" sldId="291"/>
            <ac:spMk id="120" creationId="{D1B62530-57CE-4A21-A7E2-B81C22F47BB8}"/>
          </ac:spMkLst>
        </pc:spChg>
      </pc:sldChg>
      <pc:sldChg chg="modSp mod">
        <pc:chgData name="Mariam Daniela Tristancho Pineda (PTA SAS)" userId="a45a17f7-7950-4cb5-bfab-f5c894f959a9" providerId="ADAL" clId="{7E0461DD-625F-4FFD-8EB3-FFF62574CF0B}" dt="2020-10-19T22:03:49.505" v="21" actId="20577"/>
        <pc:sldMkLst>
          <pc:docMk/>
          <pc:sldMk cId="3639736222" sldId="2134803689"/>
        </pc:sldMkLst>
        <pc:spChg chg="mod">
          <ac:chgData name="Mariam Daniela Tristancho Pineda (PTA SAS)" userId="a45a17f7-7950-4cb5-bfab-f5c894f959a9" providerId="ADAL" clId="{7E0461DD-625F-4FFD-8EB3-FFF62574CF0B}" dt="2020-10-19T22:03:49.505" v="21" actId="20577"/>
          <ac:spMkLst>
            <pc:docMk/>
            <pc:sldMk cId="3639736222" sldId="2134803689"/>
            <ac:spMk id="4" creationId="{4D5F0815-E5B4-4E74-8145-A182522C6A3D}"/>
          </ac:spMkLst>
        </pc:spChg>
      </pc:sldChg>
      <pc:sldChg chg="addSp modSp del mod">
        <pc:chgData name="Mariam Daniela Tristancho Pineda (PTA SAS)" userId="a45a17f7-7950-4cb5-bfab-f5c894f959a9" providerId="ADAL" clId="{7E0461DD-625F-4FFD-8EB3-FFF62574CF0B}" dt="2020-10-20T12:45:07.772" v="456" actId="47"/>
        <pc:sldMkLst>
          <pc:docMk/>
          <pc:sldMk cId="3848763952" sldId="2134803904"/>
        </pc:sldMkLst>
        <pc:spChg chg="add mod">
          <ac:chgData name="Mariam Daniela Tristancho Pineda (PTA SAS)" userId="a45a17f7-7950-4cb5-bfab-f5c894f959a9" providerId="ADAL" clId="{7E0461DD-625F-4FFD-8EB3-FFF62574CF0B}" dt="2020-10-19T22:04:15.943" v="36" actId="1076"/>
          <ac:spMkLst>
            <pc:docMk/>
            <pc:sldMk cId="3848763952" sldId="2134803904"/>
            <ac:spMk id="2" creationId="{009B7576-F563-4C71-A314-38111E5C933F}"/>
          </ac:spMkLst>
        </pc:spChg>
      </pc:sldChg>
      <pc:sldChg chg="del">
        <pc:chgData name="Mariam Daniela Tristancho Pineda (PTA SAS)" userId="a45a17f7-7950-4cb5-bfab-f5c894f959a9" providerId="ADAL" clId="{7E0461DD-625F-4FFD-8EB3-FFF62574CF0B}" dt="2020-10-20T12:45:05.838" v="453" actId="47"/>
        <pc:sldMkLst>
          <pc:docMk/>
          <pc:sldMk cId="1040105421" sldId="2134804100"/>
        </pc:sldMkLst>
      </pc:sldChg>
      <pc:sldChg chg="add del">
        <pc:chgData name="Mariam Daniela Tristancho Pineda (PTA SAS)" userId="a45a17f7-7950-4cb5-bfab-f5c894f959a9" providerId="ADAL" clId="{7E0461DD-625F-4FFD-8EB3-FFF62574CF0B}" dt="2020-10-20T12:45:01.846" v="452"/>
        <pc:sldMkLst>
          <pc:docMk/>
          <pc:sldMk cId="1072953454" sldId="2134804124"/>
        </pc:sldMkLst>
      </pc:sldChg>
      <pc:sldChg chg="del">
        <pc:chgData name="Mariam Daniela Tristancho Pineda (PTA SAS)" userId="a45a17f7-7950-4cb5-bfab-f5c894f959a9" providerId="ADAL" clId="{7E0461DD-625F-4FFD-8EB3-FFF62574CF0B}" dt="2020-10-20T12:45:07.255" v="455" actId="47"/>
        <pc:sldMkLst>
          <pc:docMk/>
          <pc:sldMk cId="3258791362" sldId="2134804198"/>
        </pc:sldMkLst>
      </pc:sldChg>
      <pc:sldChg chg="add del">
        <pc:chgData name="Mariam Daniela Tristancho Pineda (PTA SAS)" userId="a45a17f7-7950-4cb5-bfab-f5c894f959a9" providerId="ADAL" clId="{7E0461DD-625F-4FFD-8EB3-FFF62574CF0B}" dt="2020-10-20T12:45:01.846" v="452"/>
        <pc:sldMkLst>
          <pc:docMk/>
          <pc:sldMk cId="3710465496" sldId="2134804241"/>
        </pc:sldMkLst>
      </pc:sldChg>
      <pc:sldChg chg="add del">
        <pc:chgData name="Mariam Daniela Tristancho Pineda (PTA SAS)" userId="a45a17f7-7950-4cb5-bfab-f5c894f959a9" providerId="ADAL" clId="{7E0461DD-625F-4FFD-8EB3-FFF62574CF0B}" dt="2020-10-20T12:45:01.846" v="452"/>
        <pc:sldMkLst>
          <pc:docMk/>
          <pc:sldMk cId="1120597878" sldId="2134804243"/>
        </pc:sldMkLst>
      </pc:sldChg>
      <pc:sldChg chg="add del">
        <pc:chgData name="Mariam Daniela Tristancho Pineda (PTA SAS)" userId="a45a17f7-7950-4cb5-bfab-f5c894f959a9" providerId="ADAL" clId="{7E0461DD-625F-4FFD-8EB3-FFF62574CF0B}" dt="2020-10-20T12:45:01.846" v="452"/>
        <pc:sldMkLst>
          <pc:docMk/>
          <pc:sldMk cId="1810729596" sldId="2134804244"/>
        </pc:sldMkLst>
      </pc:sldChg>
      <pc:sldChg chg="addSp delSp modSp add mod">
        <pc:chgData name="Mariam Daniela Tristancho Pineda (PTA SAS)" userId="a45a17f7-7950-4cb5-bfab-f5c894f959a9" providerId="ADAL" clId="{7E0461DD-625F-4FFD-8EB3-FFF62574CF0B}" dt="2020-10-19T22:24:35.855" v="449" actId="403"/>
        <pc:sldMkLst>
          <pc:docMk/>
          <pc:sldMk cId="685398324" sldId="2134804277"/>
        </pc:sldMkLst>
        <pc:spChg chg="add mod">
          <ac:chgData name="Mariam Daniela Tristancho Pineda (PTA SAS)" userId="a45a17f7-7950-4cb5-bfab-f5c894f959a9" providerId="ADAL" clId="{7E0461DD-625F-4FFD-8EB3-FFF62574CF0B}" dt="2020-10-19T22:24:35.855" v="449" actId="403"/>
          <ac:spMkLst>
            <pc:docMk/>
            <pc:sldMk cId="685398324" sldId="2134804277"/>
            <ac:spMk id="2" creationId="{9D9E597F-A0E4-4678-B725-3E9102EA2CF7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15.616" v="321" actId="1037"/>
          <ac:spMkLst>
            <pc:docMk/>
            <pc:sldMk cId="685398324" sldId="2134804277"/>
            <ac:spMk id="6" creationId="{6F097E8B-274A-49AC-8761-8119E3C5B68F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15.616" v="321" actId="1037"/>
          <ac:spMkLst>
            <pc:docMk/>
            <pc:sldMk cId="685398324" sldId="2134804277"/>
            <ac:spMk id="40" creationId="{2631D492-951C-4EB3-926A-C7A33457A10A}"/>
          </ac:spMkLst>
        </pc:spChg>
        <pc:spChg chg="mod">
          <ac:chgData name="Mariam Daniela Tristancho Pineda (PTA SAS)" userId="a45a17f7-7950-4cb5-bfab-f5c894f959a9" providerId="ADAL" clId="{7E0461DD-625F-4FFD-8EB3-FFF62574CF0B}" dt="2020-10-19T22:10:12.782" v="228" actId="14100"/>
          <ac:spMkLst>
            <pc:docMk/>
            <pc:sldMk cId="685398324" sldId="2134804277"/>
            <ac:spMk id="51" creationId="{D1BBB9FD-BBB2-4DBE-B91B-1ABE54C48C86}"/>
          </ac:spMkLst>
        </pc:spChg>
        <pc:spChg chg="mod">
          <ac:chgData name="Mariam Daniela Tristancho Pineda (PTA SAS)" userId="a45a17f7-7950-4cb5-bfab-f5c894f959a9" providerId="ADAL" clId="{7E0461DD-625F-4FFD-8EB3-FFF62574CF0B}" dt="2020-10-19T22:10:18.175" v="230" actId="1076"/>
          <ac:spMkLst>
            <pc:docMk/>
            <pc:sldMk cId="685398324" sldId="2134804277"/>
            <ac:spMk id="52" creationId="{7B36949A-E22B-4AD5-9F62-88623E4F7646}"/>
          </ac:spMkLst>
        </pc:spChg>
        <pc:spChg chg="del">
          <ac:chgData name="Mariam Daniela Tristancho Pineda (PTA SAS)" userId="a45a17f7-7950-4cb5-bfab-f5c894f959a9" providerId="ADAL" clId="{7E0461DD-625F-4FFD-8EB3-FFF62574CF0B}" dt="2020-10-19T22:05:41.196" v="65" actId="478"/>
          <ac:spMkLst>
            <pc:docMk/>
            <pc:sldMk cId="685398324" sldId="2134804277"/>
            <ac:spMk id="53" creationId="{F9C857D3-C5F6-4D00-8D9C-646D1DA60918}"/>
          </ac:spMkLst>
        </pc:spChg>
        <pc:spChg chg="del">
          <ac:chgData name="Mariam Daniela Tristancho Pineda (PTA SAS)" userId="a45a17f7-7950-4cb5-bfab-f5c894f959a9" providerId="ADAL" clId="{7E0461DD-625F-4FFD-8EB3-FFF62574CF0B}" dt="2020-10-19T22:12:22.837" v="322" actId="478"/>
          <ac:spMkLst>
            <pc:docMk/>
            <pc:sldMk cId="685398324" sldId="2134804277"/>
            <ac:spMk id="54" creationId="{C38A9719-1AF0-4D7F-AF9E-714FBC133573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46.768" v="328" actId="1037"/>
          <ac:spMkLst>
            <pc:docMk/>
            <pc:sldMk cId="685398324" sldId="2134804277"/>
            <ac:spMk id="74" creationId="{B33AE336-9430-49D7-A74B-E3F446F53353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15.616" v="321" actId="1037"/>
          <ac:spMkLst>
            <pc:docMk/>
            <pc:sldMk cId="685398324" sldId="2134804277"/>
            <ac:spMk id="75" creationId="{10CA6977-1DFC-403C-A45F-5C7F8E4CD4C3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1.519" v="329" actId="1037"/>
          <ac:spMkLst>
            <pc:docMk/>
            <pc:sldMk cId="685398324" sldId="2134804277"/>
            <ac:spMk id="76" creationId="{F6C39026-16E8-46B2-BBB2-C363EF966425}"/>
          </ac:spMkLst>
        </pc:spChg>
        <pc:spChg chg="mod">
          <ac:chgData name="Mariam Daniela Tristancho Pineda (PTA SAS)" userId="a45a17f7-7950-4cb5-bfab-f5c894f959a9" providerId="ADAL" clId="{7E0461DD-625F-4FFD-8EB3-FFF62574CF0B}" dt="2020-10-19T22:10:33.876" v="263" actId="1038"/>
          <ac:spMkLst>
            <pc:docMk/>
            <pc:sldMk cId="685398324" sldId="2134804277"/>
            <ac:spMk id="77" creationId="{250DDC32-7399-472D-8369-461782ED2483}"/>
          </ac:spMkLst>
        </pc:spChg>
        <pc:spChg chg="mod">
          <ac:chgData name="Mariam Daniela Tristancho Pineda (PTA SAS)" userId="a45a17f7-7950-4cb5-bfab-f5c894f959a9" providerId="ADAL" clId="{7E0461DD-625F-4FFD-8EB3-FFF62574CF0B}" dt="2020-10-19T22:10:15.094" v="229" actId="1076"/>
          <ac:spMkLst>
            <pc:docMk/>
            <pc:sldMk cId="685398324" sldId="2134804277"/>
            <ac:spMk id="78" creationId="{9207C83B-D9D1-4EF5-A6BA-47A0F83FCE5C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46.768" v="328" actId="1037"/>
          <ac:spMkLst>
            <pc:docMk/>
            <pc:sldMk cId="685398324" sldId="2134804277"/>
            <ac:spMk id="80" creationId="{EECEA763-7F2B-4DAF-B4D2-08130142AA14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15.616" v="321" actId="1037"/>
          <ac:spMkLst>
            <pc:docMk/>
            <pc:sldMk cId="685398324" sldId="2134804277"/>
            <ac:spMk id="81" creationId="{C631E4FA-DE7B-421C-942A-141780DC78A4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15.616" v="321" actId="1037"/>
          <ac:spMkLst>
            <pc:docMk/>
            <pc:sldMk cId="685398324" sldId="2134804277"/>
            <ac:spMk id="82" creationId="{A365855A-28E1-4840-82FA-0C3F7779753F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1.519" v="329" actId="1037"/>
          <ac:spMkLst>
            <pc:docMk/>
            <pc:sldMk cId="685398324" sldId="2134804277"/>
            <ac:spMk id="96" creationId="{1DFEF71A-A80A-4597-AAC9-DB256058084B}"/>
          </ac:spMkLst>
        </pc:spChg>
        <pc:spChg chg="mod">
          <ac:chgData name="Mariam Daniela Tristancho Pineda (PTA SAS)" userId="a45a17f7-7950-4cb5-bfab-f5c894f959a9" providerId="ADAL" clId="{7E0461DD-625F-4FFD-8EB3-FFF62574CF0B}" dt="2020-10-19T22:11:42.360" v="272" actId="14100"/>
          <ac:spMkLst>
            <pc:docMk/>
            <pc:sldMk cId="685398324" sldId="2134804277"/>
            <ac:spMk id="99" creationId="{90CC82AC-D82E-4F89-AC67-093894759099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15.616" v="321" actId="1037"/>
          <ac:spMkLst>
            <pc:docMk/>
            <pc:sldMk cId="685398324" sldId="2134804277"/>
            <ac:spMk id="100" creationId="{1835F856-5B59-4AFF-86DE-2F0968B76CF7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46.768" v="328" actId="1037"/>
          <ac:spMkLst>
            <pc:docMk/>
            <pc:sldMk cId="685398324" sldId="2134804277"/>
            <ac:spMk id="102" creationId="{101F3273-AA10-47F1-9872-07AD50130DF5}"/>
          </ac:spMkLst>
        </pc:spChg>
        <pc:spChg chg="mod">
          <ac:chgData name="Mariam Daniela Tristancho Pineda (PTA SAS)" userId="a45a17f7-7950-4cb5-bfab-f5c894f959a9" providerId="ADAL" clId="{7E0461DD-625F-4FFD-8EB3-FFF62574CF0B}" dt="2020-10-19T22:10:12.782" v="228" actId="14100"/>
          <ac:spMkLst>
            <pc:docMk/>
            <pc:sldMk cId="685398324" sldId="2134804277"/>
            <ac:spMk id="103" creationId="{BDBCDC72-F935-45A4-AE31-C045019965AF}"/>
          </ac:spMkLst>
        </pc:spChg>
        <pc:spChg chg="mod">
          <ac:chgData name="Mariam Daniela Tristancho Pineda (PTA SAS)" userId="a45a17f7-7950-4cb5-bfab-f5c894f959a9" providerId="ADAL" clId="{7E0461DD-625F-4FFD-8EB3-FFF62574CF0B}" dt="2020-10-19T22:11:45.465" v="280" actId="1038"/>
          <ac:spMkLst>
            <pc:docMk/>
            <pc:sldMk cId="685398324" sldId="2134804277"/>
            <ac:spMk id="104" creationId="{0326A105-08B6-409E-9596-07BD7645DEAE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15.616" v="321" actId="1037"/>
          <ac:spMkLst>
            <pc:docMk/>
            <pc:sldMk cId="685398324" sldId="2134804277"/>
            <ac:spMk id="105" creationId="{DC633C75-4D21-4E37-ABEB-B69D06C0A224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46.768" v="328" actId="1037"/>
          <ac:spMkLst>
            <pc:docMk/>
            <pc:sldMk cId="685398324" sldId="2134804277"/>
            <ac:spMk id="106" creationId="{8BF155F6-9EE4-4410-BB22-DEE4B18E9FEF}"/>
          </ac:spMkLst>
        </pc:spChg>
        <pc:spChg chg="mod">
          <ac:chgData name="Mariam Daniela Tristancho Pineda (PTA SAS)" userId="a45a17f7-7950-4cb5-bfab-f5c894f959a9" providerId="ADAL" clId="{7E0461DD-625F-4FFD-8EB3-FFF62574CF0B}" dt="2020-10-19T22:10:23.366" v="247" actId="1037"/>
          <ac:spMkLst>
            <pc:docMk/>
            <pc:sldMk cId="685398324" sldId="2134804277"/>
            <ac:spMk id="108" creationId="{E7417F2C-4445-4433-AA31-1B1D9A1C89B3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13" creationId="{441FAA60-63AD-4CC5-AD45-5D9BA9F5B68B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14" creationId="{D4928E43-184C-4F89-A5DB-B6007137710D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15" creationId="{E26055A8-02B1-4ECA-9E20-4089928DF9EB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16" creationId="{879B225E-11CB-48BD-B073-6718F5FD2747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21" creationId="{B090BFCE-20D4-4C2E-AB13-0B67385FA7AD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22" creationId="{86903DE0-ADCA-4DC8-9E6D-E9AED1F442A0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23" creationId="{EA803C8F-BBB1-4354-90E8-720062F397E0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24" creationId="{E0A25213-98A0-4D9C-B905-69EC0D854861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25" creationId="{6EEE8AFC-471F-4452-9936-7BAF0D8C6B67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26" creationId="{B3717873-697F-451F-BA49-9F0AB4550A45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27" creationId="{21108AA1-2B9D-4188-BBCC-74BBBE9302C7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28" creationId="{DCF3D11F-3DD2-486A-8119-9C38A5A436D5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29" creationId="{AF127B43-599C-4DF7-9C76-8EFCDD84F269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30" creationId="{4EFB3025-4C2C-44FD-B2C8-39B360082221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31" creationId="{865EADF7-6A89-4769-AC5C-AA4FA77A6660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32" creationId="{FC03C305-04BA-46AF-B7D7-D94598B2FE83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33" creationId="{310CB3A5-C87B-4760-B9D3-E7FEB278DACA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34" creationId="{B2D44EE1-B15C-4463-8E05-2A1954C1E647}"/>
          </ac:spMkLst>
        </pc:spChg>
        <pc:spChg chg="mod">
          <ac:chgData name="Mariam Daniela Tristancho Pineda (PTA SAS)" userId="a45a17f7-7950-4cb5-bfab-f5c894f959a9" providerId="ADAL" clId="{7E0461DD-625F-4FFD-8EB3-FFF62574CF0B}" dt="2020-10-19T22:11:42.360" v="272" actId="14100"/>
          <ac:spMkLst>
            <pc:docMk/>
            <pc:sldMk cId="685398324" sldId="2134804277"/>
            <ac:spMk id="141" creationId="{6DFBB2A7-5F2D-4D91-9156-98CB032BD858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1.519" v="329" actId="1037"/>
          <ac:spMkLst>
            <pc:docMk/>
            <pc:sldMk cId="685398324" sldId="2134804277"/>
            <ac:spMk id="142" creationId="{9660C67C-C249-4C29-87B1-2E22B67DE74F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15.616" v="321" actId="1037"/>
          <ac:spMkLst>
            <pc:docMk/>
            <pc:sldMk cId="685398324" sldId="2134804277"/>
            <ac:spMk id="144" creationId="{25AF8D90-7CF9-4004-AFE7-8FD9BCD562C6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15.616" v="321" actId="1037"/>
          <ac:spMkLst>
            <pc:docMk/>
            <pc:sldMk cId="685398324" sldId="2134804277"/>
            <ac:spMk id="145" creationId="{1FACAF7C-6304-4959-827F-E5EC80E0E805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46.768" v="328" actId="1037"/>
          <ac:spMkLst>
            <pc:docMk/>
            <pc:sldMk cId="685398324" sldId="2134804277"/>
            <ac:spMk id="146" creationId="{D86974CC-32BF-439F-A6E2-D1E82520294D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46.768" v="328" actId="1037"/>
          <ac:spMkLst>
            <pc:docMk/>
            <pc:sldMk cId="685398324" sldId="2134804277"/>
            <ac:spMk id="147" creationId="{58F0CDC2-9414-439E-A3CB-C4B6F7ADCE1B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49" creationId="{7DD301E2-FD8B-473E-AC06-7B1BEE6BC359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51" creationId="{6759F741-D2BA-47AD-9BE9-B5F911C114F3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54" creationId="{7CCA0A5A-A0E7-4CFD-87B3-1917D7D6D482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55" creationId="{35F89E97-6F48-4EEF-A953-195B7A0A5828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57" creationId="{1F1CC25B-2BA4-4BD5-BA03-F2FA6AE36939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65" creationId="{5ECB6BAB-01A4-4031-AFF5-666CA1F7C303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66" creationId="{D622807D-0029-496D-9FF0-3E3E825043ED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67" creationId="{775B6AE0-CB44-4723-A497-8EAECD1943BD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9.150" v="330" actId="1076"/>
          <ac:spMkLst>
            <pc:docMk/>
            <pc:sldMk cId="685398324" sldId="2134804277"/>
            <ac:spMk id="168" creationId="{27CE3CF4-8552-4668-8C92-72492F9C7EDE}"/>
          </ac:spMkLst>
        </pc:spChg>
        <pc:spChg chg="mod">
          <ac:chgData name="Mariam Daniela Tristancho Pineda (PTA SAS)" userId="a45a17f7-7950-4cb5-bfab-f5c894f959a9" providerId="ADAL" clId="{7E0461DD-625F-4FFD-8EB3-FFF62574CF0B}" dt="2020-10-19T22:12:51.519" v="329" actId="1037"/>
          <ac:spMkLst>
            <pc:docMk/>
            <pc:sldMk cId="685398324" sldId="2134804277"/>
            <ac:spMk id="176" creationId="{B0F58865-93CC-435C-AAD7-8207773D551B}"/>
          </ac:spMkLst>
        </pc:spChg>
      </pc:sldChg>
      <pc:sldChg chg="addSp delSp modSp add mod">
        <pc:chgData name="Mariam Daniela Tristancho Pineda (PTA SAS)" userId="a45a17f7-7950-4cb5-bfab-f5c894f959a9" providerId="ADAL" clId="{7E0461DD-625F-4FFD-8EB3-FFF62574CF0B}" dt="2020-10-19T22:22:39.819" v="427" actId="1037"/>
        <pc:sldMkLst>
          <pc:docMk/>
          <pc:sldMk cId="3831308622" sldId="2134804279"/>
        </pc:sldMkLst>
        <pc:spChg chg="mod">
          <ac:chgData name="Mariam Daniela Tristancho Pineda (PTA SAS)" userId="a45a17f7-7950-4cb5-bfab-f5c894f959a9" providerId="ADAL" clId="{7E0461DD-625F-4FFD-8EB3-FFF62574CF0B}" dt="2020-10-19T22:16:14.616" v="421" actId="1076"/>
          <ac:spMkLst>
            <pc:docMk/>
            <pc:sldMk cId="3831308622" sldId="2134804279"/>
            <ac:spMk id="3" creationId="{E0EBDA24-5DF4-4E0C-BF25-069E22B9B239}"/>
          </ac:spMkLst>
        </pc:spChg>
        <pc:spChg chg="add mod">
          <ac:chgData name="Mariam Daniela Tristancho Pineda (PTA SAS)" userId="a45a17f7-7950-4cb5-bfab-f5c894f959a9" providerId="ADAL" clId="{7E0461DD-625F-4FFD-8EB3-FFF62574CF0B}" dt="2020-10-19T22:22:39.819" v="427" actId="1037"/>
          <ac:spMkLst>
            <pc:docMk/>
            <pc:sldMk cId="3831308622" sldId="2134804279"/>
            <ac:spMk id="6" creationId="{76750B43-B56D-4350-8519-11EF5FE0EE13}"/>
          </ac:spMkLst>
        </pc:spChg>
        <pc:spChg chg="mod">
          <ac:chgData name="Mariam Daniela Tristancho Pineda (PTA SAS)" userId="a45a17f7-7950-4cb5-bfab-f5c894f959a9" providerId="ADAL" clId="{7E0461DD-625F-4FFD-8EB3-FFF62574CF0B}" dt="2020-10-19T22:15:44.321" v="383" actId="20577"/>
          <ac:spMkLst>
            <pc:docMk/>
            <pc:sldMk cId="3831308622" sldId="2134804279"/>
            <ac:spMk id="8" creationId="{E1D3488A-08B6-49AA-A393-579F2EBB08DA}"/>
          </ac:spMkLst>
        </pc:spChg>
        <pc:spChg chg="mod">
          <ac:chgData name="Mariam Daniela Tristancho Pineda (PTA SAS)" userId="a45a17f7-7950-4cb5-bfab-f5c894f959a9" providerId="ADAL" clId="{7E0461DD-625F-4FFD-8EB3-FFF62574CF0B}" dt="2020-10-19T22:15:38.945" v="380" actId="208"/>
          <ac:spMkLst>
            <pc:docMk/>
            <pc:sldMk cId="3831308622" sldId="2134804279"/>
            <ac:spMk id="14" creationId="{B16B2FAC-B20E-4A14-9B33-3B759C960A1E}"/>
          </ac:spMkLst>
        </pc:spChg>
        <pc:spChg chg="mod">
          <ac:chgData name="Mariam Daniela Tristancho Pineda (PTA SAS)" userId="a45a17f7-7950-4cb5-bfab-f5c894f959a9" providerId="ADAL" clId="{7E0461DD-625F-4FFD-8EB3-FFF62574CF0B}" dt="2020-10-19T22:15:26.014" v="379" actId="1076"/>
          <ac:spMkLst>
            <pc:docMk/>
            <pc:sldMk cId="3831308622" sldId="2134804279"/>
            <ac:spMk id="29" creationId="{5E8189E1-D7BC-4F4A-993D-EDC8B0EBCF1A}"/>
          </ac:spMkLst>
        </pc:spChg>
        <pc:spChg chg="mod">
          <ac:chgData name="Mariam Daniela Tristancho Pineda (PTA SAS)" userId="a45a17f7-7950-4cb5-bfab-f5c894f959a9" providerId="ADAL" clId="{7E0461DD-625F-4FFD-8EB3-FFF62574CF0B}" dt="2020-10-19T22:14:38.183" v="368" actId="14100"/>
          <ac:spMkLst>
            <pc:docMk/>
            <pc:sldMk cId="3831308622" sldId="2134804279"/>
            <ac:spMk id="46" creationId="{CB6AFB7A-C476-49E9-BE23-34092A48E218}"/>
          </ac:spMkLst>
        </pc:spChg>
        <pc:spChg chg="del">
          <ac:chgData name="Mariam Daniela Tristancho Pineda (PTA SAS)" userId="a45a17f7-7950-4cb5-bfab-f5c894f959a9" providerId="ADAL" clId="{7E0461DD-625F-4FFD-8EB3-FFF62574CF0B}" dt="2020-10-19T22:15:57.643" v="386" actId="478"/>
          <ac:spMkLst>
            <pc:docMk/>
            <pc:sldMk cId="3831308622" sldId="2134804279"/>
            <ac:spMk id="53" creationId="{F9C857D3-C5F6-4D00-8D9C-646D1DA60918}"/>
          </ac:spMkLst>
        </pc:spChg>
        <pc:spChg chg="mod">
          <ac:chgData name="Mariam Daniela Tristancho Pineda (PTA SAS)" userId="a45a17f7-7950-4cb5-bfab-f5c894f959a9" providerId="ADAL" clId="{7E0461DD-625F-4FFD-8EB3-FFF62574CF0B}" dt="2020-10-19T22:15:38.945" v="380" actId="208"/>
          <ac:spMkLst>
            <pc:docMk/>
            <pc:sldMk cId="3831308622" sldId="2134804279"/>
            <ac:spMk id="57" creationId="{847A2F3C-9402-4AD0-BF56-28ABDAE59259}"/>
          </ac:spMkLst>
        </pc:spChg>
        <pc:spChg chg="mod">
          <ac:chgData name="Mariam Daniela Tristancho Pineda (PTA SAS)" userId="a45a17f7-7950-4cb5-bfab-f5c894f959a9" providerId="ADAL" clId="{7E0461DD-625F-4FFD-8EB3-FFF62574CF0B}" dt="2020-10-19T22:15:38.945" v="380" actId="208"/>
          <ac:spMkLst>
            <pc:docMk/>
            <pc:sldMk cId="3831308622" sldId="2134804279"/>
            <ac:spMk id="58" creationId="{DAC27579-E9C2-4134-9476-72F607D7F944}"/>
          </ac:spMkLst>
        </pc:spChg>
        <pc:picChg chg="mod">
          <ac:chgData name="Mariam Daniela Tristancho Pineda (PTA SAS)" userId="a45a17f7-7950-4cb5-bfab-f5c894f959a9" providerId="ADAL" clId="{7E0461DD-625F-4FFD-8EB3-FFF62574CF0B}" dt="2020-10-19T22:15:50.616" v="385" actId="1076"/>
          <ac:picMkLst>
            <pc:docMk/>
            <pc:sldMk cId="3831308622" sldId="2134804279"/>
            <ac:picMk id="17" creationId="{53408C8D-C286-4C5B-8116-FF2B292DBE06}"/>
          </ac:picMkLst>
        </pc:picChg>
        <pc:picChg chg="mod">
          <ac:chgData name="Mariam Daniela Tristancho Pineda (PTA SAS)" userId="a45a17f7-7950-4cb5-bfab-f5c894f959a9" providerId="ADAL" clId="{7E0461DD-625F-4FFD-8EB3-FFF62574CF0B}" dt="2020-10-19T22:15:48.141" v="384" actId="1076"/>
          <ac:picMkLst>
            <pc:docMk/>
            <pc:sldMk cId="3831308622" sldId="2134804279"/>
            <ac:picMk id="18" creationId="{CFB0A51A-883E-4269-9A8D-DD4D063D8711}"/>
          </ac:picMkLst>
        </pc:picChg>
      </pc:sldChg>
      <pc:sldChg chg="del">
        <pc:chgData name="Mariam Daniela Tristancho Pineda (PTA SAS)" userId="a45a17f7-7950-4cb5-bfab-f5c894f959a9" providerId="ADAL" clId="{7E0461DD-625F-4FFD-8EB3-FFF62574CF0B}" dt="2020-10-19T22:05:39.218" v="64" actId="47"/>
        <pc:sldMkLst>
          <pc:docMk/>
          <pc:sldMk cId="838099151" sldId="2134804292"/>
        </pc:sldMkLst>
      </pc:sldChg>
      <pc:sldChg chg="del">
        <pc:chgData name="Mariam Daniela Tristancho Pineda (PTA SAS)" userId="a45a17f7-7950-4cb5-bfab-f5c894f959a9" providerId="ADAL" clId="{7E0461DD-625F-4FFD-8EB3-FFF62574CF0B}" dt="2020-10-19T22:13:35.913" v="332" actId="47"/>
        <pc:sldMkLst>
          <pc:docMk/>
          <pc:sldMk cId="1822149763" sldId="2134804293"/>
        </pc:sldMkLst>
      </pc:sldChg>
      <pc:sldChg chg="addSp delSp modSp add mod">
        <pc:chgData name="Mariam Daniela Tristancho Pineda (PTA SAS)" userId="a45a17f7-7950-4cb5-bfab-f5c894f959a9" providerId="ADAL" clId="{7E0461DD-625F-4FFD-8EB3-FFF62574CF0B}" dt="2020-10-20T14:37:12.739" v="494" actId="1076"/>
        <pc:sldMkLst>
          <pc:docMk/>
          <pc:sldMk cId="689766239" sldId="2134804294"/>
        </pc:sldMkLst>
        <pc:spChg chg="mod">
          <ac:chgData name="Mariam Daniela Tristancho Pineda (PTA SAS)" userId="a45a17f7-7950-4cb5-bfab-f5c894f959a9" providerId="ADAL" clId="{7E0461DD-625F-4FFD-8EB3-FFF62574CF0B}" dt="2020-10-19T22:08:52.263" v="180" actId="12789"/>
          <ac:spMkLst>
            <pc:docMk/>
            <pc:sldMk cId="689766239" sldId="2134804294"/>
            <ac:spMk id="3" creationId="{815B10B7-60B3-4C63-8431-70CC556387C9}"/>
          </ac:spMkLst>
        </pc:spChg>
        <pc:spChg chg="mod">
          <ac:chgData name="Mariam Daniela Tristancho Pineda (PTA SAS)" userId="a45a17f7-7950-4cb5-bfab-f5c894f959a9" providerId="ADAL" clId="{7E0461DD-625F-4FFD-8EB3-FFF62574CF0B}" dt="2020-10-20T14:37:08.299" v="493" actId="20577"/>
          <ac:spMkLst>
            <pc:docMk/>
            <pc:sldMk cId="689766239" sldId="2134804294"/>
            <ac:spMk id="6" creationId="{A9B6670C-9FA9-460C-B8DE-3379ABC12A8C}"/>
          </ac:spMkLst>
        </pc:spChg>
        <pc:spChg chg="add mod">
          <ac:chgData name="Mariam Daniela Tristancho Pineda (PTA SAS)" userId="a45a17f7-7950-4cb5-bfab-f5c894f959a9" providerId="ADAL" clId="{7E0461DD-625F-4FFD-8EB3-FFF62574CF0B}" dt="2020-10-19T22:24:32.490" v="448" actId="403"/>
          <ac:spMkLst>
            <pc:docMk/>
            <pc:sldMk cId="689766239" sldId="2134804294"/>
            <ac:spMk id="8" creationId="{2E2FFF04-E606-4311-9BE9-FAEE2FA6E0E2}"/>
          </ac:spMkLst>
        </pc:spChg>
        <pc:spChg chg="add mod">
          <ac:chgData name="Mariam Daniela Tristancho Pineda (PTA SAS)" userId="a45a17f7-7950-4cb5-bfab-f5c894f959a9" providerId="ADAL" clId="{7E0461DD-625F-4FFD-8EB3-FFF62574CF0B}" dt="2020-10-19T22:08:35.121" v="175" actId="164"/>
          <ac:spMkLst>
            <pc:docMk/>
            <pc:sldMk cId="689766239" sldId="2134804294"/>
            <ac:spMk id="9" creationId="{00908209-EB95-4225-8A4C-F1DF43BD2EF0}"/>
          </ac:spMkLst>
        </pc:spChg>
        <pc:spChg chg="add mod">
          <ac:chgData name="Mariam Daniela Tristancho Pineda (PTA SAS)" userId="a45a17f7-7950-4cb5-bfab-f5c894f959a9" providerId="ADAL" clId="{7E0461DD-625F-4FFD-8EB3-FFF62574CF0B}" dt="2020-10-19T22:08:35.121" v="175" actId="164"/>
          <ac:spMkLst>
            <pc:docMk/>
            <pc:sldMk cId="689766239" sldId="2134804294"/>
            <ac:spMk id="10" creationId="{6C86A42A-34A9-4DE2-8311-E238B95AF00F}"/>
          </ac:spMkLst>
        </pc:spChg>
        <pc:spChg chg="add mod">
          <ac:chgData name="Mariam Daniela Tristancho Pineda (PTA SAS)" userId="a45a17f7-7950-4cb5-bfab-f5c894f959a9" providerId="ADAL" clId="{7E0461DD-625F-4FFD-8EB3-FFF62574CF0B}" dt="2020-10-19T22:08:29.401" v="172" actId="164"/>
          <ac:spMkLst>
            <pc:docMk/>
            <pc:sldMk cId="689766239" sldId="2134804294"/>
            <ac:spMk id="11" creationId="{39D1BE7B-162C-4DC7-85E9-34EB7A36D6EB}"/>
          </ac:spMkLst>
        </pc:spChg>
        <pc:spChg chg="add mod">
          <ac:chgData name="Mariam Daniela Tristancho Pineda (PTA SAS)" userId="a45a17f7-7950-4cb5-bfab-f5c894f959a9" providerId="ADAL" clId="{7E0461DD-625F-4FFD-8EB3-FFF62574CF0B}" dt="2020-10-19T22:08:29.401" v="172" actId="164"/>
          <ac:spMkLst>
            <pc:docMk/>
            <pc:sldMk cId="689766239" sldId="2134804294"/>
            <ac:spMk id="12" creationId="{64870058-3057-4615-BB0D-9B3532171A30}"/>
          </ac:spMkLst>
        </pc:spChg>
        <pc:spChg chg="del">
          <ac:chgData name="Mariam Daniela Tristancho Pineda (PTA SAS)" userId="a45a17f7-7950-4cb5-bfab-f5c894f959a9" providerId="ADAL" clId="{7E0461DD-625F-4FFD-8EB3-FFF62574CF0B}" dt="2020-10-19T22:06:02.086" v="96" actId="478"/>
          <ac:spMkLst>
            <pc:docMk/>
            <pc:sldMk cId="689766239" sldId="2134804294"/>
            <ac:spMk id="53" creationId="{F9C857D3-C5F6-4D00-8D9C-646D1DA60918}"/>
          </ac:spMkLst>
        </pc:spChg>
        <pc:spChg chg="del mod">
          <ac:chgData name="Mariam Daniela Tristancho Pineda (PTA SAS)" userId="a45a17f7-7950-4cb5-bfab-f5c894f959a9" providerId="ADAL" clId="{7E0461DD-625F-4FFD-8EB3-FFF62574CF0B}" dt="2020-10-19T22:24:29.524" v="447" actId="478"/>
          <ac:spMkLst>
            <pc:docMk/>
            <pc:sldMk cId="689766239" sldId="2134804294"/>
            <ac:spMk id="54" creationId="{C38A9719-1AF0-4D7F-AF9E-714FBC133573}"/>
          </ac:spMkLst>
        </pc:spChg>
        <pc:spChg chg="mod">
          <ac:chgData name="Mariam Daniela Tristancho Pineda (PTA SAS)" userId="a45a17f7-7950-4cb5-bfab-f5c894f959a9" providerId="ADAL" clId="{7E0461DD-625F-4FFD-8EB3-FFF62574CF0B}" dt="2020-10-20T14:37:12.739" v="494" actId="1076"/>
          <ac:spMkLst>
            <pc:docMk/>
            <pc:sldMk cId="689766239" sldId="2134804294"/>
            <ac:spMk id="61" creationId="{650A9289-5CB4-4614-BEDF-A6E766DF033A}"/>
          </ac:spMkLst>
        </pc:spChg>
        <pc:spChg chg="del mod">
          <ac:chgData name="Mariam Daniela Tristancho Pineda (PTA SAS)" userId="a45a17f7-7950-4cb5-bfab-f5c894f959a9" providerId="ADAL" clId="{7E0461DD-625F-4FFD-8EB3-FFF62574CF0B}" dt="2020-10-19T22:07:27.066" v="145" actId="478"/>
          <ac:spMkLst>
            <pc:docMk/>
            <pc:sldMk cId="689766239" sldId="2134804294"/>
            <ac:spMk id="68" creationId="{A18C8550-895B-4843-A1B6-21EDC0673ACB}"/>
          </ac:spMkLst>
        </pc:spChg>
        <pc:spChg chg="del mod">
          <ac:chgData name="Mariam Daniela Tristancho Pineda (PTA SAS)" userId="a45a17f7-7950-4cb5-bfab-f5c894f959a9" providerId="ADAL" clId="{7E0461DD-625F-4FFD-8EB3-FFF62574CF0B}" dt="2020-10-19T22:07:26.403" v="144" actId="478"/>
          <ac:spMkLst>
            <pc:docMk/>
            <pc:sldMk cId="689766239" sldId="2134804294"/>
            <ac:spMk id="69" creationId="{E03EFC44-1066-4C28-BEB5-9D8B8475DA21}"/>
          </ac:spMkLst>
        </pc:spChg>
        <pc:spChg chg="del mod">
          <ac:chgData name="Mariam Daniela Tristancho Pineda (PTA SAS)" userId="a45a17f7-7950-4cb5-bfab-f5c894f959a9" providerId="ADAL" clId="{7E0461DD-625F-4FFD-8EB3-FFF62574CF0B}" dt="2020-10-19T22:07:25.650" v="143" actId="478"/>
          <ac:spMkLst>
            <pc:docMk/>
            <pc:sldMk cId="689766239" sldId="2134804294"/>
            <ac:spMk id="77" creationId="{752D6E0D-8107-4801-AA2E-BABE12D31E5A}"/>
          </ac:spMkLst>
        </pc:spChg>
        <pc:spChg chg="mod">
          <ac:chgData name="Mariam Daniela Tristancho Pineda (PTA SAS)" userId="a45a17f7-7950-4cb5-bfab-f5c894f959a9" providerId="ADAL" clId="{7E0461DD-625F-4FFD-8EB3-FFF62574CF0B}" dt="2020-10-19T22:08:36.421" v="176"/>
          <ac:spMkLst>
            <pc:docMk/>
            <pc:sldMk cId="689766239" sldId="2134804294"/>
            <ac:spMk id="102" creationId="{6EBF0531-DBB3-4306-A65F-094753E658BD}"/>
          </ac:spMkLst>
        </pc:spChg>
        <pc:spChg chg="mod">
          <ac:chgData name="Mariam Daniela Tristancho Pineda (PTA SAS)" userId="a45a17f7-7950-4cb5-bfab-f5c894f959a9" providerId="ADAL" clId="{7E0461DD-625F-4FFD-8EB3-FFF62574CF0B}" dt="2020-10-19T22:08:38.838" v="179" actId="20577"/>
          <ac:spMkLst>
            <pc:docMk/>
            <pc:sldMk cId="689766239" sldId="2134804294"/>
            <ac:spMk id="103" creationId="{8B94BBFC-F2D1-4504-A0A3-2F76E3C2B396}"/>
          </ac:spMkLst>
        </pc:spChg>
        <pc:spChg chg="mod">
          <ac:chgData name="Mariam Daniela Tristancho Pineda (PTA SAS)" userId="a45a17f7-7950-4cb5-bfab-f5c894f959a9" providerId="ADAL" clId="{7E0461DD-625F-4FFD-8EB3-FFF62574CF0B}" dt="2020-10-19T22:08:52.263" v="180" actId="12789"/>
          <ac:spMkLst>
            <pc:docMk/>
            <pc:sldMk cId="689766239" sldId="2134804294"/>
            <ac:spMk id="104" creationId="{0326A105-08B6-409E-9596-07BD7645DEAE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04.545" v="197" actId="1038"/>
          <ac:spMkLst>
            <pc:docMk/>
            <pc:sldMk cId="689766239" sldId="2134804294"/>
            <ac:spMk id="106" creationId="{8BF155F6-9EE4-4410-BB22-DEE4B18E9FEF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00.721" v="186" actId="1038"/>
          <ac:spMkLst>
            <pc:docMk/>
            <pc:sldMk cId="689766239" sldId="2134804294"/>
            <ac:spMk id="107" creationId="{4802A65C-C4BA-49C6-A107-DC404BE5C336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27" creationId="{73BEC0EA-3959-416F-A4C5-525162D5F070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29" creationId="{1B1D8368-9D03-4A1F-BB5C-FA8A693650E2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30" creationId="{EE8A6937-8934-42CF-8F04-92239A952AE7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31" creationId="{A20E4F12-875E-47FE-8A33-74B6A44D0A59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32" creationId="{4F2FD083-C369-4561-BE25-9CBDC30055F9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33" creationId="{20250544-0C4F-4167-8A78-3DE0C74007AF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34" creationId="{5B999821-E384-44A1-B7FF-A4C4ED483560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35" creationId="{CED7C5F3-B86F-4DA0-9994-24F7FD6B35F9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36" creationId="{FDB88927-277F-4AE8-8FA3-9CA1A1700B73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37" creationId="{F8F8DA14-A950-4AEB-A24B-177C3F208372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38" creationId="{BF99A66B-120F-49B2-A1CC-739047837BB6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39" creationId="{844A1674-BCC7-4A52-8278-32D0CC73CF58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41" creationId="{2623DE4E-1861-4CAA-B94A-BFAA4D5F0DB3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42" creationId="{49E740BE-8500-4117-AD0B-2E67208BD20B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43" creationId="{85DA9DFF-D70E-46DA-B2A5-4567F9D5D109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44" creationId="{1C5981FC-047F-4A69-9B6A-7E8815CED431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45" creationId="{DC519FD0-9445-4201-946D-656A5D5D6C84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47" creationId="{313853FA-2E51-4F3E-AE01-DDDAF6E96565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48" creationId="{8C87CB62-0687-409F-B127-BA52AD580580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49" creationId="{B0906DC3-598D-4F7D-A64E-183CF387ABFC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50" creationId="{41F6E8B5-9D97-4BA1-9EEB-DCFF2BD13CA4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51" creationId="{62081328-F323-4DA1-9DDE-784A46EE4A94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52" creationId="{29496DDD-4F17-477A-B207-9AA829455B4D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53" creationId="{DC0FBCC4-989D-4976-8983-34825D2D9047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54" creationId="{28C5640B-AA7B-4F00-B56A-C8EE9FA8497F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55" creationId="{454F4380-4BE4-4E21-AAAC-6B3C9286D5BB}"/>
          </ac:spMkLst>
        </pc:spChg>
        <pc:spChg chg="mod">
          <ac:chgData name="Mariam Daniela Tristancho Pineda (PTA SAS)" userId="a45a17f7-7950-4cb5-bfab-f5c894f959a9" providerId="ADAL" clId="{7E0461DD-625F-4FFD-8EB3-FFF62574CF0B}" dt="2020-10-19T22:09:23.968" v="204" actId="1076"/>
          <ac:spMkLst>
            <pc:docMk/>
            <pc:sldMk cId="689766239" sldId="2134804294"/>
            <ac:spMk id="156" creationId="{DF074B77-3C37-42D5-918A-F5C84802F788}"/>
          </ac:spMkLst>
        </pc:spChg>
        <pc:grpChg chg="add mod">
          <ac:chgData name="Mariam Daniela Tristancho Pineda (PTA SAS)" userId="a45a17f7-7950-4cb5-bfab-f5c894f959a9" providerId="ADAL" clId="{7E0461DD-625F-4FFD-8EB3-FFF62574CF0B}" dt="2020-10-19T22:09:13.292" v="203" actId="1037"/>
          <ac:grpSpMkLst>
            <pc:docMk/>
            <pc:sldMk cId="689766239" sldId="2134804294"/>
            <ac:grpSpMk id="13" creationId="{AD6D3F10-B35D-4796-8FF9-93147FBC94AC}"/>
          </ac:grpSpMkLst>
        </pc:grpChg>
        <pc:grpChg chg="add mod">
          <ac:chgData name="Mariam Daniela Tristancho Pineda (PTA SAS)" userId="a45a17f7-7950-4cb5-bfab-f5c894f959a9" providerId="ADAL" clId="{7E0461DD-625F-4FFD-8EB3-FFF62574CF0B}" dt="2020-10-19T22:09:12.089" v="202" actId="1038"/>
          <ac:grpSpMkLst>
            <pc:docMk/>
            <pc:sldMk cId="689766239" sldId="2134804294"/>
            <ac:grpSpMk id="14" creationId="{F919A4F9-0E48-4A62-B899-C4C49EFEC48A}"/>
          </ac:grpSpMkLst>
        </pc:grpChg>
        <pc:grpChg chg="add mod">
          <ac:chgData name="Mariam Daniela Tristancho Pineda (PTA SAS)" userId="a45a17f7-7950-4cb5-bfab-f5c894f959a9" providerId="ADAL" clId="{7E0461DD-625F-4FFD-8EB3-FFF62574CF0B}" dt="2020-10-19T22:08:52.263" v="180" actId="12789"/>
          <ac:grpSpMkLst>
            <pc:docMk/>
            <pc:sldMk cId="689766239" sldId="2134804294"/>
            <ac:grpSpMk id="101" creationId="{DBAA46BF-9BE8-4C15-9549-A5A0074BE9DA}"/>
          </ac:grpSpMkLst>
        </pc:grpChg>
      </pc:sldChg>
      <pc:sldChg chg="del">
        <pc:chgData name="Mariam Daniela Tristancho Pineda (PTA SAS)" userId="a45a17f7-7950-4cb5-bfab-f5c894f959a9" providerId="ADAL" clId="{7E0461DD-625F-4FFD-8EB3-FFF62574CF0B}" dt="2020-10-19T22:04:58.373" v="38" actId="47"/>
        <pc:sldMkLst>
          <pc:docMk/>
          <pc:sldMk cId="2442052892" sldId="2134804385"/>
        </pc:sldMkLst>
      </pc:sldChg>
      <pc:sldChg chg="modSp add mod">
        <pc:chgData name="Mariam Daniela Tristancho Pineda (PTA SAS)" userId="a45a17f7-7950-4cb5-bfab-f5c894f959a9" providerId="ADAL" clId="{7E0461DD-625F-4FFD-8EB3-FFF62574CF0B}" dt="2020-10-19T22:23:22.274" v="444" actId="1037"/>
        <pc:sldMkLst>
          <pc:docMk/>
          <pc:sldMk cId="2604800474" sldId="2134804418"/>
        </pc:sldMkLst>
        <pc:spChg chg="mod">
          <ac:chgData name="Mariam Daniela Tristancho Pineda (PTA SAS)" userId="a45a17f7-7950-4cb5-bfab-f5c894f959a9" providerId="ADAL" clId="{7E0461DD-625F-4FFD-8EB3-FFF62574CF0B}" dt="2020-10-19T22:23:22.274" v="444" actId="1037"/>
          <ac:spMkLst>
            <pc:docMk/>
            <pc:sldMk cId="2604800474" sldId="2134804418"/>
            <ac:spMk id="3" creationId="{F68A17DE-3ACC-4C72-8ED3-CE0F518FDBA1}"/>
          </ac:spMkLst>
        </pc:spChg>
        <pc:picChg chg="mod">
          <ac:chgData name="Mariam Daniela Tristancho Pineda (PTA SAS)" userId="a45a17f7-7950-4cb5-bfab-f5c894f959a9" providerId="ADAL" clId="{7E0461DD-625F-4FFD-8EB3-FFF62574CF0B}" dt="2020-10-19T22:23:11.019" v="436" actId="1035"/>
          <ac:picMkLst>
            <pc:docMk/>
            <pc:sldMk cId="2604800474" sldId="2134804418"/>
            <ac:picMk id="4" creationId="{4A14B48A-E094-4C8C-9B45-C83DEED522D1}"/>
          </ac:picMkLst>
        </pc:picChg>
        <pc:picChg chg="mod">
          <ac:chgData name="Mariam Daniela Tristancho Pineda (PTA SAS)" userId="a45a17f7-7950-4cb5-bfab-f5c894f959a9" providerId="ADAL" clId="{7E0461DD-625F-4FFD-8EB3-FFF62574CF0B}" dt="2020-10-19T22:23:07.336" v="434" actId="1038"/>
          <ac:picMkLst>
            <pc:docMk/>
            <pc:sldMk cId="2604800474" sldId="2134804418"/>
            <ac:picMk id="6" creationId="{928EE92B-BAE1-4046-A9B9-F982719A04C6}"/>
          </ac:picMkLst>
        </pc:picChg>
      </pc:sldChg>
      <pc:sldChg chg="add">
        <pc:chgData name="Mariam Daniela Tristancho Pineda (PTA SAS)" userId="a45a17f7-7950-4cb5-bfab-f5c894f959a9" providerId="ADAL" clId="{7E0461DD-625F-4FFD-8EB3-FFF62574CF0B}" dt="2020-10-20T12:45:01.846" v="452"/>
        <pc:sldMkLst>
          <pc:docMk/>
          <pc:sldMk cId="657455683" sldId="2134804441"/>
        </pc:sldMkLst>
      </pc:sldChg>
      <pc:sldChg chg="add del">
        <pc:chgData name="Mariam Daniela Tristancho Pineda (PTA SAS)" userId="a45a17f7-7950-4cb5-bfab-f5c894f959a9" providerId="ADAL" clId="{7E0461DD-625F-4FFD-8EB3-FFF62574CF0B}" dt="2020-10-20T12:44:57.455" v="451"/>
        <pc:sldMkLst>
          <pc:docMk/>
          <pc:sldMk cId="2647917730" sldId="2134804441"/>
        </pc:sldMkLst>
      </pc:sldChg>
    </pc:docChg>
  </pc:docChgLst>
  <pc:docChgLst>
    <pc:chgData name="Usuario invitado" userId="S::urn:spo:anon#b933a1cd6c262c2ea2de06dff5719170cc032ca5efad2f99714f796601fe0170::" providerId="AD" clId="Web-{8C6BFE43-C6C3-82F0-2C98-6053FF4C8C59}"/>
    <pc:docChg chg="modSld">
      <pc:chgData name="Usuario invitado" userId="S::urn:spo:anon#b933a1cd6c262c2ea2de06dff5719170cc032ca5efad2f99714f796601fe0170::" providerId="AD" clId="Web-{8C6BFE43-C6C3-82F0-2C98-6053FF4C8C59}" dt="2020-07-30T21:38:50.240" v="607"/>
      <pc:docMkLst>
        <pc:docMk/>
      </pc:docMkLst>
      <pc:sldChg chg="addSp modSp">
        <pc:chgData name="Usuario invitado" userId="S::urn:spo:anon#b933a1cd6c262c2ea2de06dff5719170cc032ca5efad2f99714f796601fe0170::" providerId="AD" clId="Web-{8C6BFE43-C6C3-82F0-2C98-6053FF4C8C59}" dt="2020-07-30T21:38:50.240" v="607"/>
        <pc:sldMkLst>
          <pc:docMk/>
          <pc:sldMk cId="2197550008" sldId="2134804299"/>
        </pc:sldMkLst>
        <pc:spChg chg="add mod">
          <ac:chgData name="Usuario invitado" userId="S::urn:spo:anon#b933a1cd6c262c2ea2de06dff5719170cc032ca5efad2f99714f796601fe0170::" providerId="AD" clId="Web-{8C6BFE43-C6C3-82F0-2C98-6053FF4C8C59}" dt="2020-07-30T21:38:50.240" v="607"/>
          <ac:spMkLst>
            <pc:docMk/>
            <pc:sldMk cId="2197550008" sldId="2134804299"/>
            <ac:spMk id="7" creationId="{35EEDC51-46F2-4DF0-9497-D8595E605F8C}"/>
          </ac:spMkLst>
        </pc:spChg>
      </pc:sldChg>
      <pc:sldChg chg="modSp">
        <pc:chgData name="Usuario invitado" userId="S::urn:spo:anon#b933a1cd6c262c2ea2de06dff5719170cc032ca5efad2f99714f796601fe0170::" providerId="AD" clId="Web-{8C6BFE43-C6C3-82F0-2C98-6053FF4C8C59}" dt="2020-07-30T21:29:14.694" v="0" actId="20577"/>
        <pc:sldMkLst>
          <pc:docMk/>
          <pc:sldMk cId="2351433242" sldId="2134804322"/>
        </pc:sldMkLst>
        <pc:spChg chg="mod">
          <ac:chgData name="Usuario invitado" userId="S::urn:spo:anon#b933a1cd6c262c2ea2de06dff5719170cc032ca5efad2f99714f796601fe0170::" providerId="AD" clId="Web-{8C6BFE43-C6C3-82F0-2C98-6053FF4C8C59}" dt="2020-07-30T21:29:14.694" v="0" actId="20577"/>
          <ac:spMkLst>
            <pc:docMk/>
            <pc:sldMk cId="2351433242" sldId="2134804322"/>
            <ac:spMk id="2" creationId="{6431BBCF-96E5-45A7-B7E5-D44090D06329}"/>
          </ac:spMkLst>
        </pc:spChg>
      </pc:sldChg>
      <pc:sldChg chg="addSp modSp">
        <pc:chgData name="Usuario invitado" userId="S::urn:spo:anon#b933a1cd6c262c2ea2de06dff5719170cc032ca5efad2f99714f796601fe0170::" providerId="AD" clId="Web-{8C6BFE43-C6C3-82F0-2C98-6053FF4C8C59}" dt="2020-07-30T21:31:17.713" v="298"/>
        <pc:sldMkLst>
          <pc:docMk/>
          <pc:sldMk cId="240968699" sldId="2134804330"/>
        </pc:sldMkLst>
        <pc:spChg chg="add mod">
          <ac:chgData name="Usuario invitado" userId="S::urn:spo:anon#b933a1cd6c262c2ea2de06dff5719170cc032ca5efad2f99714f796601fe0170::" providerId="AD" clId="Web-{8C6BFE43-C6C3-82F0-2C98-6053FF4C8C59}" dt="2020-07-30T21:31:17.713" v="298"/>
          <ac:spMkLst>
            <pc:docMk/>
            <pc:sldMk cId="240968699" sldId="2134804330"/>
            <ac:spMk id="6" creationId="{B29880F2-B7E7-4F8E-A212-3649A13E5172}"/>
          </ac:spMkLst>
        </pc:spChg>
      </pc:sldChg>
      <pc:sldChg chg="addSp modSp">
        <pc:chgData name="Usuario invitado" userId="S::urn:spo:anon#b933a1cd6c262c2ea2de06dff5719170cc032ca5efad2f99714f796601fe0170::" providerId="AD" clId="Web-{8C6BFE43-C6C3-82F0-2C98-6053FF4C8C59}" dt="2020-07-30T21:32:14.995" v="306" actId="20577"/>
        <pc:sldMkLst>
          <pc:docMk/>
          <pc:sldMk cId="827790441" sldId="2134804336"/>
        </pc:sldMkLst>
        <pc:spChg chg="add mod">
          <ac:chgData name="Usuario invitado" userId="S::urn:spo:anon#b933a1cd6c262c2ea2de06dff5719170cc032ca5efad2f99714f796601fe0170::" providerId="AD" clId="Web-{8C6BFE43-C6C3-82F0-2C98-6053FF4C8C59}" dt="2020-07-30T21:32:14.995" v="306" actId="20577"/>
          <ac:spMkLst>
            <pc:docMk/>
            <pc:sldMk cId="827790441" sldId="2134804336"/>
            <ac:spMk id="12" creationId="{F33F254F-6A36-4417-A405-3B7784957C92}"/>
          </ac:spMkLst>
        </pc:spChg>
      </pc:sldChg>
    </pc:docChg>
  </pc:docChgLst>
  <pc:docChgLst>
    <pc:chgData name="Usuario invitado" userId="S::urn:spo:anon#9958016e3e12af99a6c120d01775a042b81b7ac779b248bfa4c093fcc2a1c362::" providerId="AD" clId="Web-{368199D3-E0BE-B0AB-AA50-D6B577AA2A03}"/>
    <pc:docChg chg="modSld">
      <pc:chgData name="Usuario invitado" userId="S::urn:spo:anon#9958016e3e12af99a6c120d01775a042b81b7ac779b248bfa4c093fcc2a1c362::" providerId="AD" clId="Web-{368199D3-E0BE-B0AB-AA50-D6B577AA2A03}" dt="2020-06-25T22:47:30.477" v="1"/>
      <pc:docMkLst>
        <pc:docMk/>
      </pc:docMkLst>
      <pc:sldChg chg="modSp">
        <pc:chgData name="Usuario invitado" userId="S::urn:spo:anon#9958016e3e12af99a6c120d01775a042b81b7ac779b248bfa4c093fcc2a1c362::" providerId="AD" clId="Web-{368199D3-E0BE-B0AB-AA50-D6B577AA2A03}" dt="2020-06-25T22:47:30.477" v="1"/>
        <pc:sldMkLst>
          <pc:docMk/>
          <pc:sldMk cId="4094272692" sldId="2134804282"/>
        </pc:sldMkLst>
        <pc:graphicFrameChg chg="modGraphic">
          <ac:chgData name="Usuario invitado" userId="S::urn:spo:anon#9958016e3e12af99a6c120d01775a042b81b7ac779b248bfa4c093fcc2a1c362::" providerId="AD" clId="Web-{368199D3-E0BE-B0AB-AA50-D6B577AA2A03}" dt="2020-06-25T22:47:30.477" v="1"/>
          <ac:graphicFrameMkLst>
            <pc:docMk/>
            <pc:sldMk cId="4094272692" sldId="2134804282"/>
            <ac:graphicFrameMk id="8" creationId="{9EAC8BE2-E9F7-49C2-9B40-7EF667D4FE82}"/>
          </ac:graphicFrameMkLst>
        </pc:graphicFrameChg>
      </pc:sldChg>
    </pc:docChg>
  </pc:docChgLst>
  <pc:docChgLst>
    <pc:chgData name="Mariam Daniela Tristancho Pineda (MISION TEMPORAL LTDA)" userId="a45a17f7-7950-4cb5-bfab-f5c894f959a9" providerId="ADAL" clId="{15586BA0-617D-4D92-8B61-04A1723CD33C}"/>
    <pc:docChg chg="undo redo custSel addSld delSld modSld sldOrd">
      <pc:chgData name="Mariam Daniela Tristancho Pineda (MISION TEMPORAL LTDA)" userId="a45a17f7-7950-4cb5-bfab-f5c894f959a9" providerId="ADAL" clId="{15586BA0-617D-4D92-8B61-04A1723CD33C}" dt="2020-07-31T21:46:27.844" v="1074" actId="20577"/>
      <pc:docMkLst>
        <pc:docMk/>
      </pc:docMkLst>
      <pc:sldChg chg="add mod modShow">
        <pc:chgData name="Mariam Daniela Tristancho Pineda (MISION TEMPORAL LTDA)" userId="a45a17f7-7950-4cb5-bfab-f5c894f959a9" providerId="ADAL" clId="{15586BA0-617D-4D92-8B61-04A1723CD33C}" dt="2020-07-31T21:02:38.941" v="694" actId="729"/>
        <pc:sldMkLst>
          <pc:docMk/>
          <pc:sldMk cId="2985823996" sldId="1013"/>
        </pc:sldMkLst>
      </pc:sldChg>
      <pc:sldChg chg="add del">
        <pc:chgData name="Mariam Daniela Tristancho Pineda (MISION TEMPORAL LTDA)" userId="a45a17f7-7950-4cb5-bfab-f5c894f959a9" providerId="ADAL" clId="{15586BA0-617D-4D92-8B61-04A1723CD33C}" dt="2020-07-31T16:11:43.794" v="661" actId="47"/>
        <pc:sldMkLst>
          <pc:docMk/>
          <pc:sldMk cId="3462599326" sldId="2134803909"/>
        </pc:sldMkLst>
      </pc:sldChg>
      <pc:sldChg chg="addSp delSp modSp add del mod">
        <pc:chgData name="Mariam Daniela Tristancho Pineda (MISION TEMPORAL LTDA)" userId="a45a17f7-7950-4cb5-bfab-f5c894f959a9" providerId="ADAL" clId="{15586BA0-617D-4D92-8B61-04A1723CD33C}" dt="2020-07-31T16:10:43.124" v="602" actId="47"/>
        <pc:sldMkLst>
          <pc:docMk/>
          <pc:sldMk cId="3315692426" sldId="2134803910"/>
        </pc:sldMkLst>
        <pc:spChg chg="add del mod">
          <ac:chgData name="Mariam Daniela Tristancho Pineda (MISION TEMPORAL LTDA)" userId="a45a17f7-7950-4cb5-bfab-f5c894f959a9" providerId="ADAL" clId="{15586BA0-617D-4D92-8B61-04A1723CD33C}" dt="2020-07-31T16:10:16.422" v="563" actId="478"/>
          <ac:spMkLst>
            <pc:docMk/>
            <pc:sldMk cId="3315692426" sldId="2134803910"/>
            <ac:spMk id="2" creationId="{D75ABA76-67BE-4FD0-AA04-CB136CB5260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14" creationId="{F8D15426-29DE-4884-815F-5CC281E0DDF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16" creationId="{0E7296DF-2278-45D1-A5BC-4CCB6A12422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30" creationId="{F463DD21-BEDC-4535-A01C-5D48EBE9BFC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46" creationId="{FD727DAF-E119-46A8-9047-855EBB3190F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48" creationId="{3BACDA33-7D1B-4CD3-8E0C-72EEF476409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49" creationId="{C7A018C4-EAF0-4DD6-93E4-B345CA62196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52" creationId="{0D61439D-F4F7-439F-874D-6BC9F75CDB48}"/>
          </ac:spMkLst>
        </pc:spChg>
        <pc:graphicFrameChg chg="mod">
          <ac:chgData name="Mariam Daniela Tristancho Pineda (MISION TEMPORAL LTDA)" userId="a45a17f7-7950-4cb5-bfab-f5c894f959a9" providerId="ADAL" clId="{15586BA0-617D-4D92-8B61-04A1723CD33C}" dt="2020-07-31T16:10:27.875" v="599" actId="1038"/>
          <ac:graphicFrameMkLst>
            <pc:docMk/>
            <pc:sldMk cId="3315692426" sldId="2134803910"/>
            <ac:graphicFrameMk id="7" creationId="{C6F21275-9EE6-4A4B-A157-C50FC5B75F82}"/>
          </ac:graphicFrameMkLst>
        </pc:graphicFrameChg>
        <pc:graphicFrameChg chg="mod">
          <ac:chgData name="Mariam Daniela Tristancho Pineda (MISION TEMPORAL LTDA)" userId="a45a17f7-7950-4cb5-bfab-f5c894f959a9" providerId="ADAL" clId="{15586BA0-617D-4D92-8B61-04A1723CD33C}" dt="2020-07-31T16:10:27.875" v="599" actId="1038"/>
          <ac:graphicFrameMkLst>
            <pc:docMk/>
            <pc:sldMk cId="3315692426" sldId="2134803910"/>
            <ac:graphicFrameMk id="19" creationId="{CEA21B80-4DCD-4314-8EF4-BD3D1CAFE2A2}"/>
          </ac:graphicFrameMkLst>
        </pc:graphicFrameChg>
        <pc:graphicFrameChg chg="mod">
          <ac:chgData name="Mariam Daniela Tristancho Pineda (MISION TEMPORAL LTDA)" userId="a45a17f7-7950-4cb5-bfab-f5c894f959a9" providerId="ADAL" clId="{15586BA0-617D-4D92-8B61-04A1723CD33C}" dt="2020-07-31T16:10:27.875" v="599" actId="1038"/>
          <ac:graphicFrameMkLst>
            <pc:docMk/>
            <pc:sldMk cId="3315692426" sldId="2134803910"/>
            <ac:graphicFrameMk id="32" creationId="{DCA44B8C-50B5-485F-809C-4361E59B3802}"/>
          </ac:graphicFrameMkLst>
        </pc:graphicFrameChg>
        <pc:graphicFrameChg chg="mod">
          <ac:chgData name="Mariam Daniela Tristancho Pineda (MISION TEMPORAL LTDA)" userId="a45a17f7-7950-4cb5-bfab-f5c894f959a9" providerId="ADAL" clId="{15586BA0-617D-4D92-8B61-04A1723CD33C}" dt="2020-07-31T16:10:27.875" v="599" actId="1038"/>
          <ac:graphicFrameMkLst>
            <pc:docMk/>
            <pc:sldMk cId="3315692426" sldId="2134803910"/>
            <ac:graphicFrameMk id="33" creationId="{9A365877-2D7F-454C-AB52-29BB309627C8}"/>
          </ac:graphicFrameMkLst>
        </pc:graphicFrameChg>
        <pc:graphicFrameChg chg="mod">
          <ac:chgData name="Mariam Daniela Tristancho Pineda (MISION TEMPORAL LTDA)" userId="a45a17f7-7950-4cb5-bfab-f5c894f959a9" providerId="ADAL" clId="{15586BA0-617D-4D92-8B61-04A1723CD33C}" dt="2020-07-31T16:10:27.875" v="599" actId="1038"/>
          <ac:graphicFrameMkLst>
            <pc:docMk/>
            <pc:sldMk cId="3315692426" sldId="2134803910"/>
            <ac:graphicFrameMk id="34" creationId="{55D728B3-5037-47B4-AC7A-DBD73CB87333}"/>
          </ac:graphicFrameMkLst>
        </pc:graphicFrameChg>
      </pc:sldChg>
      <pc:sldChg chg="modSp mod">
        <pc:chgData name="Mariam Daniela Tristancho Pineda (MISION TEMPORAL LTDA)" userId="a45a17f7-7950-4cb5-bfab-f5c894f959a9" providerId="ADAL" clId="{15586BA0-617D-4D92-8B61-04A1723CD33C}" dt="2020-07-29T20:21:25.537" v="78"/>
        <pc:sldMkLst>
          <pc:docMk/>
          <pc:sldMk cId="692789810" sldId="2134804140"/>
        </pc:sldMkLst>
        <pc:spChg chg="mod">
          <ac:chgData name="Mariam Daniela Tristancho Pineda (MISION TEMPORAL LTDA)" userId="a45a17f7-7950-4cb5-bfab-f5c894f959a9" providerId="ADAL" clId="{15586BA0-617D-4D92-8B61-04A1723CD33C}" dt="2020-07-29T20:21:25.537" v="78"/>
          <ac:spMkLst>
            <pc:docMk/>
            <pc:sldMk cId="692789810" sldId="2134804140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14:01:21.294" v="6" actId="14100"/>
          <ac:spMkLst>
            <pc:docMk/>
            <pc:sldMk cId="692789810" sldId="2134804140"/>
            <ac:spMk id="3" creationId="{30F9CFD9-5990-468D-9B1E-2AB69F9844AA}"/>
          </ac:spMkLst>
        </pc:spChg>
      </pc:sldChg>
      <pc:sldChg chg="add">
        <pc:chgData name="Mariam Daniela Tristancho Pineda (MISION TEMPORAL LTDA)" userId="a45a17f7-7950-4cb5-bfab-f5c894f959a9" providerId="ADAL" clId="{15586BA0-617D-4D92-8B61-04A1723CD33C}" dt="2020-07-29T20:23:04.521" v="89"/>
        <pc:sldMkLst>
          <pc:docMk/>
          <pc:sldMk cId="1366824925" sldId="2134804227"/>
        </pc:sldMkLst>
      </pc:sldChg>
      <pc:sldChg chg="add">
        <pc:chgData name="Mariam Daniela Tristancho Pineda (MISION TEMPORAL LTDA)" userId="a45a17f7-7950-4cb5-bfab-f5c894f959a9" providerId="ADAL" clId="{15586BA0-617D-4D92-8B61-04A1723CD33C}" dt="2020-07-29T20:23:04.521" v="89"/>
        <pc:sldMkLst>
          <pc:docMk/>
          <pc:sldMk cId="3813439113" sldId="2134804231"/>
        </pc:sldMkLst>
      </pc:sldChg>
      <pc:sldChg chg="add">
        <pc:chgData name="Mariam Daniela Tristancho Pineda (MISION TEMPORAL LTDA)" userId="a45a17f7-7950-4cb5-bfab-f5c894f959a9" providerId="ADAL" clId="{15586BA0-617D-4D92-8B61-04A1723CD33C}" dt="2020-07-29T20:23:04.521" v="89"/>
        <pc:sldMkLst>
          <pc:docMk/>
          <pc:sldMk cId="3905861625" sldId="2134804233"/>
        </pc:sldMkLst>
      </pc:sldChg>
      <pc:sldChg chg="add">
        <pc:chgData name="Mariam Daniela Tristancho Pineda (MISION TEMPORAL LTDA)" userId="a45a17f7-7950-4cb5-bfab-f5c894f959a9" providerId="ADAL" clId="{15586BA0-617D-4D92-8B61-04A1723CD33C}" dt="2020-07-29T20:23:04.521" v="89"/>
        <pc:sldMkLst>
          <pc:docMk/>
          <pc:sldMk cId="1092498720" sldId="2134804234"/>
        </pc:sldMkLst>
      </pc:sldChg>
      <pc:sldChg chg="modSp add mod">
        <pc:chgData name="Mariam Daniela Tristancho Pineda (MISION TEMPORAL LTDA)" userId="a45a17f7-7950-4cb5-bfab-f5c894f959a9" providerId="ADAL" clId="{15586BA0-617D-4D92-8B61-04A1723CD33C}" dt="2020-07-29T20:23:17.198" v="99" actId="1035"/>
        <pc:sldMkLst>
          <pc:docMk/>
          <pc:sldMk cId="4219972769" sldId="2134804235"/>
        </pc:sldMkLst>
        <pc:spChg chg="mod">
          <ac:chgData name="Mariam Daniela Tristancho Pineda (MISION TEMPORAL LTDA)" userId="a45a17f7-7950-4cb5-bfab-f5c894f959a9" providerId="ADAL" clId="{15586BA0-617D-4D92-8B61-04A1723CD33C}" dt="2020-07-29T20:23:17.198" v="99" actId="1035"/>
          <ac:spMkLst>
            <pc:docMk/>
            <pc:sldMk cId="4219972769" sldId="2134804235"/>
            <ac:spMk id="61" creationId="{AFDFDC4A-70DA-4348-90ED-F3A50433B123}"/>
          </ac:spMkLst>
        </pc:spChg>
        <pc:grpChg chg="mod">
          <ac:chgData name="Mariam Daniela Tristancho Pineda (MISION TEMPORAL LTDA)" userId="a45a17f7-7950-4cb5-bfab-f5c894f959a9" providerId="ADAL" clId="{15586BA0-617D-4D92-8B61-04A1723CD33C}" dt="2020-07-29T20:23:17.198" v="99" actId="1035"/>
          <ac:grpSpMkLst>
            <pc:docMk/>
            <pc:sldMk cId="4219972769" sldId="2134804235"/>
            <ac:grpSpMk id="72" creationId="{DA6B941A-7FEA-429F-A8B1-E606AFB8D4A2}"/>
          </ac:grpSpMkLst>
        </pc:grpChg>
      </pc:sldChg>
      <pc:sldChg chg="addSp delSp modSp add del mod ord">
        <pc:chgData name="Mariam Daniela Tristancho Pineda (MISION TEMPORAL LTDA)" userId="a45a17f7-7950-4cb5-bfab-f5c894f959a9" providerId="ADAL" clId="{15586BA0-617D-4D92-8B61-04A1723CD33C}" dt="2020-07-31T21:46:01.195" v="1064" actId="20577"/>
        <pc:sldMkLst>
          <pc:docMk/>
          <pc:sldMk cId="1245803374" sldId="2134804241"/>
        </pc:sldMkLst>
        <pc:spChg chg="mod">
          <ac:chgData name="Mariam Daniela Tristancho Pineda (MISION TEMPORAL LTDA)" userId="a45a17f7-7950-4cb5-bfab-f5c894f959a9" providerId="ADAL" clId="{15586BA0-617D-4D92-8B61-04A1723CD33C}" dt="2020-07-31T21:46:01.195" v="1064" actId="20577"/>
          <ac:spMkLst>
            <pc:docMk/>
            <pc:sldMk cId="1245803374" sldId="2134804241"/>
            <ac:spMk id="2" creationId="{6431BBCF-96E5-45A7-B7E5-D44090D06329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29T21:10:59.565" v="180" actId="478"/>
          <ac:spMkLst>
            <pc:docMk/>
            <pc:sldMk cId="1245803374" sldId="2134804241"/>
            <ac:spMk id="3" creationId="{30F9CFD9-5990-468D-9B1E-2AB69F9844AA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29T21:11:01.007" v="181" actId="478"/>
          <ac:spMkLst>
            <pc:docMk/>
            <pc:sldMk cId="1245803374" sldId="2134804241"/>
            <ac:spMk id="5" creationId="{ECBE3066-8EFF-463C-B46F-A65BB9D7AF88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29T21:11:01.727" v="182"/>
          <ac:spMkLst>
            <pc:docMk/>
            <pc:sldMk cId="1245803374" sldId="2134804241"/>
            <ac:spMk id="6" creationId="{59FF34B5-5AC0-4230-AB43-816C2566D49D}"/>
          </ac:spMkLst>
        </pc:spChg>
      </pc:sldChg>
      <pc:sldChg chg="add del ord">
        <pc:chgData name="Mariam Daniela Tristancho Pineda (MISION TEMPORAL LTDA)" userId="a45a17f7-7950-4cb5-bfab-f5c894f959a9" providerId="ADAL" clId="{15586BA0-617D-4D92-8B61-04A1723CD33C}" dt="2020-07-31T21:45:49.794" v="1058"/>
        <pc:sldMkLst>
          <pc:docMk/>
          <pc:sldMk cId="4180204205" sldId="2134804244"/>
        </pc:sldMkLst>
      </pc:sldChg>
      <pc:sldChg chg="addSp delSp modSp add del mod ord">
        <pc:chgData name="Mariam Daniela Tristancho Pineda (MISION TEMPORAL LTDA)" userId="a45a17f7-7950-4cb5-bfab-f5c894f959a9" providerId="ADAL" clId="{15586BA0-617D-4D92-8B61-04A1723CD33C}" dt="2020-07-31T21:46:27.844" v="1074" actId="20577"/>
        <pc:sldMkLst>
          <pc:docMk/>
          <pc:sldMk cId="1980531121" sldId="2134804273"/>
        </pc:sldMkLst>
        <pc:spChg chg="mod">
          <ac:chgData name="Mariam Daniela Tristancho Pineda (MISION TEMPORAL LTDA)" userId="a45a17f7-7950-4cb5-bfab-f5c894f959a9" providerId="ADAL" clId="{15586BA0-617D-4D92-8B61-04A1723CD33C}" dt="2020-07-31T21:46:27.844" v="1074" actId="20577"/>
          <ac:spMkLst>
            <pc:docMk/>
            <pc:sldMk cId="1980531121" sldId="2134804273"/>
            <ac:spMk id="2" creationId="{6431BBCF-96E5-45A7-B7E5-D44090D06329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29T21:11:11.995" v="187" actId="478"/>
          <ac:spMkLst>
            <pc:docMk/>
            <pc:sldMk cId="1980531121" sldId="2134804273"/>
            <ac:spMk id="3" creationId="{30F9CFD9-5990-468D-9B1E-2AB69F9844AA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29T21:11:10.659" v="186"/>
          <ac:spMkLst>
            <pc:docMk/>
            <pc:sldMk cId="1980531121" sldId="2134804273"/>
            <ac:spMk id="4" creationId="{E6E021D8-A542-413B-9FE4-DE0D70989372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29T21:11:12.829" v="188" actId="478"/>
          <ac:spMkLst>
            <pc:docMk/>
            <pc:sldMk cId="1980531121" sldId="2134804273"/>
            <ac:spMk id="6" creationId="{735145E8-078B-4834-9611-C7BC051B7B38}"/>
          </ac:spMkLst>
        </pc:spChg>
      </pc:sldChg>
      <pc:sldChg chg="addSp delSp modSp add del mod">
        <pc:chgData name="Mariam Daniela Tristancho Pineda (MISION TEMPORAL LTDA)" userId="a45a17f7-7950-4cb5-bfab-f5c894f959a9" providerId="ADAL" clId="{15586BA0-617D-4D92-8B61-04A1723CD33C}" dt="2020-07-31T21:46:24.408" v="1072" actId="20577"/>
        <pc:sldMkLst>
          <pc:docMk/>
          <pc:sldMk cId="2406967117" sldId="2134804274"/>
        </pc:sldMkLst>
        <pc:spChg chg="mod">
          <ac:chgData name="Mariam Daniela Tristancho Pineda (MISION TEMPORAL LTDA)" userId="a45a17f7-7950-4cb5-bfab-f5c894f959a9" providerId="ADAL" clId="{15586BA0-617D-4D92-8B61-04A1723CD33C}" dt="2020-07-31T21:46:24.408" v="1072" actId="20577"/>
          <ac:spMkLst>
            <pc:docMk/>
            <pc:sldMk cId="2406967117" sldId="2134804274"/>
            <ac:spMk id="2" creationId="{6431BBCF-96E5-45A7-B7E5-D44090D06329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29T21:11:06.601" v="184" actId="478"/>
          <ac:spMkLst>
            <pc:docMk/>
            <pc:sldMk cId="2406967117" sldId="2134804274"/>
            <ac:spMk id="3" creationId="{30F9CFD9-5990-468D-9B1E-2AB69F9844AA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29T20:28:31.122" v="153" actId="478"/>
          <ac:spMkLst>
            <pc:docMk/>
            <pc:sldMk cId="2406967117" sldId="2134804274"/>
            <ac:spMk id="5" creationId="{7F709B4B-3EDD-41FF-AEC5-E3B140C091B3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29T21:11:04.228" v="183"/>
          <ac:spMkLst>
            <pc:docMk/>
            <pc:sldMk cId="2406967117" sldId="2134804274"/>
            <ac:spMk id="6" creationId="{0A34A61E-F181-43D2-A1DF-B5AAE9974B02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29T21:11:07.930" v="185" actId="478"/>
          <ac:spMkLst>
            <pc:docMk/>
            <pc:sldMk cId="2406967117" sldId="2134804274"/>
            <ac:spMk id="7" creationId="{3E7B464E-8758-4A82-9CC7-6D4AD0892AD6}"/>
          </ac:spMkLst>
        </pc:spChg>
      </pc:sldChg>
      <pc:sldChg chg="add del ord">
        <pc:chgData name="Mariam Daniela Tristancho Pineda (MISION TEMPORAL LTDA)" userId="a45a17f7-7950-4cb5-bfab-f5c894f959a9" providerId="ADAL" clId="{15586BA0-617D-4D92-8B61-04A1723CD33C}" dt="2020-07-31T21:46:05.783" v="1066"/>
        <pc:sldMkLst>
          <pc:docMk/>
          <pc:sldMk cId="383958496" sldId="2134804281"/>
        </pc:sldMkLst>
      </pc:sldChg>
      <pc:sldChg chg="add del">
        <pc:chgData name="Mariam Daniela Tristancho Pineda (MISION TEMPORAL LTDA)" userId="a45a17f7-7950-4cb5-bfab-f5c894f959a9" providerId="ADAL" clId="{15586BA0-617D-4D92-8B61-04A1723CD33C}" dt="2020-07-31T21:45:05.261" v="1054" actId="47"/>
        <pc:sldMkLst>
          <pc:docMk/>
          <pc:sldMk cId="2275827461" sldId="2134804285"/>
        </pc:sldMkLst>
      </pc:sldChg>
      <pc:sldChg chg="modSp add del mod">
        <pc:chgData name="Mariam Daniela Tristancho Pineda (MISION TEMPORAL LTDA)" userId="a45a17f7-7950-4cb5-bfab-f5c894f959a9" providerId="ADAL" clId="{15586BA0-617D-4D92-8B61-04A1723CD33C}" dt="2020-07-31T15:59:48.552" v="552" actId="14100"/>
        <pc:sldMkLst>
          <pc:docMk/>
          <pc:sldMk cId="838099151" sldId="2134804292"/>
        </pc:sldMkLst>
        <pc:cxnChg chg="mod">
          <ac:chgData name="Mariam Daniela Tristancho Pineda (MISION TEMPORAL LTDA)" userId="a45a17f7-7950-4cb5-bfab-f5c894f959a9" providerId="ADAL" clId="{15586BA0-617D-4D92-8B61-04A1723CD33C}" dt="2020-07-31T15:59:48.552" v="552" actId="14100"/>
          <ac:cxnSpMkLst>
            <pc:docMk/>
            <pc:sldMk cId="838099151" sldId="2134804292"/>
            <ac:cxnSpMk id="95" creationId="{992CCE25-00CE-4C15-881A-068C6B1A3F0E}"/>
          </ac:cxnSpMkLst>
        </pc:cxnChg>
      </pc:sldChg>
      <pc:sldChg chg="add del">
        <pc:chgData name="Mariam Daniela Tristancho Pineda (MISION TEMPORAL LTDA)" userId="a45a17f7-7950-4cb5-bfab-f5c894f959a9" providerId="ADAL" clId="{15586BA0-617D-4D92-8B61-04A1723CD33C}" dt="2020-07-31T21:45:03.556" v="1052" actId="47"/>
        <pc:sldMkLst>
          <pc:docMk/>
          <pc:sldMk cId="1822149763" sldId="2134804293"/>
        </pc:sldMkLst>
      </pc:sldChg>
      <pc:sldChg chg="add">
        <pc:chgData name="Mariam Daniela Tristancho Pineda (MISION TEMPORAL LTDA)" userId="a45a17f7-7950-4cb5-bfab-f5c894f959a9" providerId="ADAL" clId="{15586BA0-617D-4D92-8B61-04A1723CD33C}" dt="2020-07-29T20:23:04.521" v="89"/>
        <pc:sldMkLst>
          <pc:docMk/>
          <pc:sldMk cId="1480181934" sldId="2134804298"/>
        </pc:sldMkLst>
      </pc:sldChg>
      <pc:sldChg chg="del ord">
        <pc:chgData name="Mariam Daniela Tristancho Pineda (MISION TEMPORAL LTDA)" userId="a45a17f7-7950-4cb5-bfab-f5c894f959a9" providerId="ADAL" clId="{15586BA0-617D-4D92-8B61-04A1723CD33C}" dt="2020-07-31T21:44:02.902" v="1051" actId="47"/>
        <pc:sldMkLst>
          <pc:docMk/>
          <pc:sldMk cId="2197550008" sldId="2134804299"/>
        </pc:sldMkLst>
      </pc:sldChg>
      <pc:sldChg chg="mod modShow">
        <pc:chgData name="Mariam Daniela Tristancho Pineda (MISION TEMPORAL LTDA)" userId="a45a17f7-7950-4cb5-bfab-f5c894f959a9" providerId="ADAL" clId="{15586BA0-617D-4D92-8B61-04A1723CD33C}" dt="2020-07-31T21:02:55.039" v="697" actId="729"/>
        <pc:sldMkLst>
          <pc:docMk/>
          <pc:sldMk cId="441470096" sldId="2134804303"/>
        </pc:sldMkLst>
      </pc:sldChg>
      <pc:sldChg chg="mod modShow">
        <pc:chgData name="Mariam Daniela Tristancho Pineda (MISION TEMPORAL LTDA)" userId="a45a17f7-7950-4cb5-bfab-f5c894f959a9" providerId="ADAL" clId="{15586BA0-617D-4D92-8B61-04A1723CD33C}" dt="2020-07-31T21:02:52.613" v="696" actId="729"/>
        <pc:sldMkLst>
          <pc:docMk/>
          <pc:sldMk cId="376084906" sldId="2134804304"/>
        </pc:sldMkLst>
      </pc:sldChg>
      <pc:sldChg chg="addSp delSp modSp add del mod ord">
        <pc:chgData name="Mariam Daniela Tristancho Pineda (MISION TEMPORAL LTDA)" userId="a45a17f7-7950-4cb5-bfab-f5c894f959a9" providerId="ADAL" clId="{15586BA0-617D-4D92-8B61-04A1723CD33C}" dt="2020-07-29T21:10:56.790" v="179" actId="478"/>
        <pc:sldMkLst>
          <pc:docMk/>
          <pc:sldMk cId="1505401777" sldId="2134804310"/>
        </pc:sldMkLst>
        <pc:spChg chg="mod">
          <ac:chgData name="Mariam Daniela Tristancho Pineda (MISION TEMPORAL LTDA)" userId="a45a17f7-7950-4cb5-bfab-f5c894f959a9" providerId="ADAL" clId="{15586BA0-617D-4D92-8B61-04A1723CD33C}" dt="2020-07-29T21:09:31.075" v="170" actId="20577"/>
          <ac:spMkLst>
            <pc:docMk/>
            <pc:sldMk cId="1505401777" sldId="2134804310"/>
            <ac:spMk id="2" creationId="{6431BBCF-96E5-45A7-B7E5-D44090D06329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29T21:10:53.260" v="177" actId="478"/>
          <ac:spMkLst>
            <pc:docMk/>
            <pc:sldMk cId="1505401777" sldId="2134804310"/>
            <ac:spMk id="3" creationId="{30F9CFD9-5990-468D-9B1E-2AB69F9844AA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29T21:10:56.790" v="179" actId="478"/>
          <ac:spMkLst>
            <pc:docMk/>
            <pc:sldMk cId="1505401777" sldId="2134804310"/>
            <ac:spMk id="5" creationId="{DF79E9DE-B0CB-4ACF-9DF9-C2D61A1543FE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29T21:10:54.383" v="178"/>
          <ac:spMkLst>
            <pc:docMk/>
            <pc:sldMk cId="1505401777" sldId="2134804310"/>
            <ac:spMk id="6" creationId="{08D64255-0812-4ABC-96F2-AA341908EF49}"/>
          </ac:spMkLst>
        </pc:spChg>
      </pc:sldChg>
      <pc:sldChg chg="add del ord">
        <pc:chgData name="Mariam Daniela Tristancho Pineda (MISION TEMPORAL LTDA)" userId="a45a17f7-7950-4cb5-bfab-f5c894f959a9" providerId="ADAL" clId="{15586BA0-617D-4D92-8B61-04A1723CD33C}" dt="2020-07-31T21:46:05.783" v="1066"/>
        <pc:sldMkLst>
          <pc:docMk/>
          <pc:sldMk cId="2857089145" sldId="2134804311"/>
        </pc:sldMkLst>
      </pc:sldChg>
      <pc:sldChg chg="add del">
        <pc:chgData name="Mariam Daniela Tristancho Pineda (MISION TEMPORAL LTDA)" userId="a45a17f7-7950-4cb5-bfab-f5c894f959a9" providerId="ADAL" clId="{15586BA0-617D-4D92-8B61-04A1723CD33C}" dt="2020-07-31T21:45:06.907" v="1055" actId="47"/>
        <pc:sldMkLst>
          <pc:docMk/>
          <pc:sldMk cId="1359201595" sldId="2134804313"/>
        </pc:sldMkLst>
      </pc:sldChg>
      <pc:sldChg chg="modSp mod">
        <pc:chgData name="Mariam Daniela Tristancho Pineda (MISION TEMPORAL LTDA)" userId="a45a17f7-7950-4cb5-bfab-f5c894f959a9" providerId="ADAL" clId="{15586BA0-617D-4D92-8B61-04A1723CD33C}" dt="2020-07-29T20:24:44.108" v="129" actId="14100"/>
        <pc:sldMkLst>
          <pc:docMk/>
          <pc:sldMk cId="0" sldId="2134804320"/>
        </pc:sldMkLst>
        <pc:spChg chg="mod">
          <ac:chgData name="Mariam Daniela Tristancho Pineda (MISION TEMPORAL LTDA)" userId="a45a17f7-7950-4cb5-bfab-f5c894f959a9" providerId="ADAL" clId="{15586BA0-617D-4D92-8B61-04A1723CD33C}" dt="2020-07-29T20:24:44.108" v="129" actId="14100"/>
          <ac:spMkLst>
            <pc:docMk/>
            <pc:sldMk cId="0" sldId="2134804320"/>
            <ac:spMk id="17" creationId="{0A6626A3-9098-4058-94D4-CDC309A6EA0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20:24:27.051" v="124" actId="14100"/>
          <ac:spMkLst>
            <pc:docMk/>
            <pc:sldMk cId="0" sldId="2134804320"/>
            <ac:spMk id="18" creationId="{E9C7AABE-F2DC-4492-B19F-B7D1033380B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20:24:36.331" v="127" actId="14100"/>
          <ac:spMkLst>
            <pc:docMk/>
            <pc:sldMk cId="0" sldId="2134804320"/>
            <ac:spMk id="20" creationId="{8EDCB9EC-5CC6-4C88-ABEF-5A221B8F523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20:24:07.690" v="103" actId="20577"/>
          <ac:spMkLst>
            <pc:docMk/>
            <pc:sldMk cId="0" sldId="2134804320"/>
            <ac:spMk id="24" creationId="{C94A8B38-94CE-428D-8226-8CA003757F5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20:24:23.699" v="123" actId="14100"/>
          <ac:spMkLst>
            <pc:docMk/>
            <pc:sldMk cId="0" sldId="2134804320"/>
            <ac:spMk id="31" creationId="{0B7C0A75-5BE4-4EA8-9AFC-EBEFF4F8307C}"/>
          </ac:spMkLst>
        </pc:spChg>
        <pc:cxnChg chg="mod">
          <ac:chgData name="Mariam Daniela Tristancho Pineda (MISION TEMPORAL LTDA)" userId="a45a17f7-7950-4cb5-bfab-f5c894f959a9" providerId="ADAL" clId="{15586BA0-617D-4D92-8B61-04A1723CD33C}" dt="2020-07-29T20:24:12.774" v="122" actId="1038"/>
          <ac:cxnSpMkLst>
            <pc:docMk/>
            <pc:sldMk cId="0" sldId="2134804320"/>
            <ac:cxnSpMk id="22" creationId="{26EBC158-E975-4168-AC5B-B4628843C99A}"/>
          </ac:cxnSpMkLst>
        </pc:cxnChg>
      </pc:sldChg>
      <pc:sldChg chg="add del">
        <pc:chgData name="Mariam Daniela Tristancho Pineda (MISION TEMPORAL LTDA)" userId="a45a17f7-7950-4cb5-bfab-f5c894f959a9" providerId="ADAL" clId="{15586BA0-617D-4D92-8B61-04A1723CD33C}" dt="2020-07-31T21:45:08.122" v="1056" actId="47"/>
        <pc:sldMkLst>
          <pc:docMk/>
          <pc:sldMk cId="1900142549" sldId="2134804321"/>
        </pc:sldMkLst>
      </pc:sldChg>
      <pc:sldChg chg="modSp mod">
        <pc:chgData name="Mariam Daniela Tristancho Pineda (MISION TEMPORAL LTDA)" userId="a45a17f7-7950-4cb5-bfab-f5c894f959a9" providerId="ADAL" clId="{15586BA0-617D-4D92-8B61-04A1723CD33C}" dt="2020-07-29T21:07:52.932" v="161" actId="20577"/>
        <pc:sldMkLst>
          <pc:docMk/>
          <pc:sldMk cId="2351433242" sldId="2134804322"/>
        </pc:sldMkLst>
        <pc:spChg chg="mod">
          <ac:chgData name="Mariam Daniela Tristancho Pineda (MISION TEMPORAL LTDA)" userId="a45a17f7-7950-4cb5-bfab-f5c894f959a9" providerId="ADAL" clId="{15586BA0-617D-4D92-8B61-04A1723CD33C}" dt="2020-07-29T21:07:52.932" v="161" actId="20577"/>
          <ac:spMkLst>
            <pc:docMk/>
            <pc:sldMk cId="2351433242" sldId="2134804322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14:03:22.548" v="77" actId="20577"/>
          <ac:spMkLst>
            <pc:docMk/>
            <pc:sldMk cId="2351433242" sldId="2134804322"/>
            <ac:spMk id="3" creationId="{30F9CFD9-5990-468D-9B1E-2AB69F9844AA}"/>
          </ac:spMkLst>
        </pc:spChg>
      </pc:sldChg>
      <pc:sldChg chg="modSp add del mod ord">
        <pc:chgData name="Mariam Daniela Tristancho Pineda (MISION TEMPORAL LTDA)" userId="a45a17f7-7950-4cb5-bfab-f5c894f959a9" providerId="ADAL" clId="{15586BA0-617D-4D92-8B61-04A1723CD33C}" dt="2020-07-31T21:43:29.873" v="1050" actId="1076"/>
        <pc:sldMkLst>
          <pc:docMk/>
          <pc:sldMk cId="237599856" sldId="2134804323"/>
        </pc:sldMkLst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85" creationId="{63D8D3CF-6945-47A8-9893-D38BC41C621B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88" creationId="{4D68A9B0-25D8-4EF1-8A57-0A2AD1C1D74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91" creationId="{232CC050-3BFF-4FBB-A326-2B3CF9176A9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92" creationId="{34C98F8E-3ADE-42ED-8EB5-8A3C0E1BF7B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94" creationId="{03C660BC-2A9C-4D5D-9487-318B90C03E9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22" creationId="{F92D7973-FA2F-45B1-8D65-1BB666EE24DD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23" creationId="{7DBB833A-DFE0-4BC0-96CD-50EEB2A468C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24" creationId="{70AA3071-CACE-4F35-8B87-AC8A0604DE7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25" creationId="{A228DE91-C702-4290-AF8E-D7ED7818436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26" creationId="{01563260-A3C9-427B-975A-EFC567A75841}"/>
          </ac:spMkLst>
        </pc:spChg>
      </pc:sldChg>
      <pc:sldChg chg="addSp delSp modSp add del mod ord">
        <pc:chgData name="Mariam Daniela Tristancho Pineda (MISION TEMPORAL LTDA)" userId="a45a17f7-7950-4cb5-bfab-f5c894f959a9" providerId="ADAL" clId="{15586BA0-617D-4D92-8B61-04A1723CD33C}" dt="2020-07-31T15:58:58.836" v="551" actId="1037"/>
        <pc:sldMkLst>
          <pc:docMk/>
          <pc:sldMk cId="2408337444" sldId="2134804326"/>
        </pc:sldMkLst>
        <pc:spChg chg="add mod ord">
          <ac:chgData name="Mariam Daniela Tristancho Pineda (MISION TEMPORAL LTDA)" userId="a45a17f7-7950-4cb5-bfab-f5c894f959a9" providerId="ADAL" clId="{15586BA0-617D-4D92-8B61-04A1723CD33C}" dt="2020-07-31T15:56:19.834" v="492" actId="164"/>
          <ac:spMkLst>
            <pc:docMk/>
            <pc:sldMk cId="2408337444" sldId="2134804326"/>
            <ac:spMk id="4" creationId="{F9BFC96B-0408-4BCF-8AB8-AA82B6B173E1}"/>
          </ac:spMkLst>
        </pc:spChg>
        <pc:spChg chg="add mod ord">
          <ac:chgData name="Mariam Daniela Tristancho Pineda (MISION TEMPORAL LTDA)" userId="a45a17f7-7950-4cb5-bfab-f5c894f959a9" providerId="ADAL" clId="{15586BA0-617D-4D92-8B61-04A1723CD33C}" dt="2020-07-31T15:56:19.834" v="492" actId="164"/>
          <ac:spMkLst>
            <pc:docMk/>
            <pc:sldMk cId="2408337444" sldId="2134804326"/>
            <ac:spMk id="6" creationId="{88BCD7D7-50D9-4A37-AFF3-2758984E5DFA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5:56:23.059" v="493" actId="164"/>
          <ac:spMkLst>
            <pc:docMk/>
            <pc:sldMk cId="2408337444" sldId="2134804326"/>
            <ac:spMk id="8" creationId="{6EF29C1C-1BC6-4466-AA3D-246194B7F0A7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5:56:23.059" v="493" actId="164"/>
          <ac:spMkLst>
            <pc:docMk/>
            <pc:sldMk cId="2408337444" sldId="2134804326"/>
            <ac:spMk id="9" creationId="{A827C203-9C24-41D5-A39A-E7D43F504E92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10" creationId="{810E18BD-2955-4DB2-AEDB-386E84418C6C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5:56:25.694" v="494" actId="164"/>
          <ac:spMkLst>
            <pc:docMk/>
            <pc:sldMk cId="2408337444" sldId="2134804326"/>
            <ac:spMk id="11" creationId="{7D4B0C92-3925-4F49-8644-F81D04610C41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5:56:25.694" v="494" actId="164"/>
          <ac:spMkLst>
            <pc:docMk/>
            <pc:sldMk cId="2408337444" sldId="2134804326"/>
            <ac:spMk id="13" creationId="{0E4A4DB6-2B98-484D-9FB5-FDEFE3E16EC9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33.146" v="458" actId="478"/>
          <ac:spMkLst>
            <pc:docMk/>
            <pc:sldMk cId="2408337444" sldId="2134804326"/>
            <ac:spMk id="14" creationId="{EF03CAF6-DF53-4F57-8A93-EC5A4AD2CF0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19" creationId="{CE9667FC-2EDF-4F30-B9FB-41AC4BCA57C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38" creationId="{3552541D-17C8-4822-9A1D-90A0C0B5AD8E}"/>
          </ac:spMkLst>
        </pc:spChg>
        <pc:spChg chg="mod or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0" creationId="{25EFF114-9C03-4A67-908C-727B85061D72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4" creationId="{4B1A9C8A-FFC0-483B-B825-ED5EF0C388A9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5" creationId="{8E8CD834-7B34-47C9-9BE7-09ECA14BFCEB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6" creationId="{E743D3A5-E06C-4DB9-B76D-A067CACA830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7" creationId="{137B0C4F-8471-4337-954D-6AECA53DF9C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8" creationId="{960C4BFA-3B0A-4EEB-96F6-3783C5EECDB6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9" creationId="{83CBE9D2-66F2-41DF-974D-21CB4E41129D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0" creationId="{43B7DA1A-E620-4FEE-BD9A-7EAF88C0AAB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1" creationId="{C0A2318E-3E25-4819-8017-0D802266D8B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2" creationId="{FC3592D3-9AB1-446B-A099-2A5C49525B4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3" creationId="{DD1A17DA-C747-405E-8B0E-2619695AC43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4" creationId="{18FCD16F-84E8-4671-A091-C0264D48052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7" creationId="{90CE75B7-C905-44BC-86F7-95C74176DDF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8" creationId="{87C0C219-147A-4233-AEBD-D8B263DF2912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33.146" v="458" actId="478"/>
          <ac:spMkLst>
            <pc:docMk/>
            <pc:sldMk cId="2408337444" sldId="2134804326"/>
            <ac:spMk id="59" creationId="{190FDEE7-BF46-4887-BCFB-836592D690D8}"/>
          </ac:spMkLst>
        </pc:spChg>
        <pc:spChg chg="mod or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60" creationId="{416DD046-D9EC-437D-B3C4-49AE6F9E8B1B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61" creationId="{7C69D657-65A5-4E1B-8464-4A04E7AFC334}"/>
          </ac:spMkLst>
        </pc:spChg>
        <pc:spChg chg="mod or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63" creationId="{FDF3B75C-EF94-43C4-8C4C-4ECAB5FEA69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67" creationId="{4CC8DF42-E8CE-4AEA-AF20-116C630E45ED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5:59.236" v="488" actId="1035"/>
          <ac:spMkLst>
            <pc:docMk/>
            <pc:sldMk cId="2408337444" sldId="2134804326"/>
            <ac:spMk id="70" creationId="{A549087F-0234-4CF2-AA9A-E2B491A99CF5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46.277" v="460" actId="478"/>
          <ac:spMkLst>
            <pc:docMk/>
            <pc:sldMk cId="2408337444" sldId="2134804326"/>
            <ac:spMk id="71" creationId="{64C13836-E14D-4BA4-B54B-A071A9CA6001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46.277" v="460" actId="478"/>
          <ac:spMkLst>
            <pc:docMk/>
            <pc:sldMk cId="2408337444" sldId="2134804326"/>
            <ac:spMk id="72" creationId="{F3FA6477-4D78-4979-B84F-B87C3D225BA4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46.277" v="460" actId="478"/>
          <ac:spMkLst>
            <pc:docMk/>
            <pc:sldMk cId="2408337444" sldId="2134804326"/>
            <ac:spMk id="73" creationId="{FA34F8DA-B07B-49BE-9F9A-F56FC34185A7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46.277" v="460" actId="478"/>
          <ac:spMkLst>
            <pc:docMk/>
            <pc:sldMk cId="2408337444" sldId="2134804326"/>
            <ac:spMk id="74" creationId="{06C1CA62-F6CB-4C98-A7DB-85BCACE31AC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75" creationId="{36553A3D-071E-453A-8D1D-42F8A3354A7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76" creationId="{4E44296C-92AB-40F9-97A6-55EEDAF7689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79" creationId="{7A485175-A5E8-48E7-8A26-808AC78F05FA}"/>
          </ac:spMkLst>
        </pc:spChg>
        <pc:grpChg chg="add mod">
          <ac:chgData name="Mariam Daniela Tristancho Pineda (MISION TEMPORAL LTDA)" userId="a45a17f7-7950-4cb5-bfab-f5c894f959a9" providerId="ADAL" clId="{15586BA0-617D-4D92-8B61-04A1723CD33C}" dt="2020-07-31T15:58:58.836" v="551" actId="1037"/>
          <ac:grpSpMkLst>
            <pc:docMk/>
            <pc:sldMk cId="2408337444" sldId="2134804326"/>
            <ac:grpSpMk id="15" creationId="{4EF30AFA-5980-4C83-BEA2-3413B55722EC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58:58.836" v="551" actId="1037"/>
          <ac:grpSpMkLst>
            <pc:docMk/>
            <pc:sldMk cId="2408337444" sldId="2134804326"/>
            <ac:grpSpMk id="16" creationId="{D9AA717C-62C8-43B0-AF4E-DE0CA8208199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58:58.836" v="551" actId="1037"/>
          <ac:grpSpMkLst>
            <pc:docMk/>
            <pc:sldMk cId="2408337444" sldId="2134804326"/>
            <ac:grpSpMk id="17" creationId="{87793331-3A01-42C2-B3AC-967CE8A84DF3}"/>
          </ac:grpSpMkLst>
        </pc:grpChg>
        <pc:cxnChg chg="mod">
          <ac:chgData name="Mariam Daniela Tristancho Pineda (MISION TEMPORAL LTDA)" userId="a45a17f7-7950-4cb5-bfab-f5c894f959a9" providerId="ADAL" clId="{15586BA0-617D-4D92-8B61-04A1723CD33C}" dt="2020-07-31T15:58:58.836" v="551" actId="1037"/>
          <ac:cxnSpMkLst>
            <pc:docMk/>
            <pc:sldMk cId="2408337444" sldId="2134804326"/>
            <ac:cxnSpMk id="5" creationId="{017DAD00-B855-4E39-8DE1-7636A3DDFC9D}"/>
          </ac:cxnSpMkLst>
        </pc:cxnChg>
      </pc:sldChg>
      <pc:sldChg chg="modSp mod">
        <pc:chgData name="Mariam Daniela Tristancho Pineda (MISION TEMPORAL LTDA)" userId="a45a17f7-7950-4cb5-bfab-f5c894f959a9" providerId="ADAL" clId="{15586BA0-617D-4D92-8B61-04A1723CD33C}" dt="2020-07-29T14:03:08.230" v="59" actId="20577"/>
        <pc:sldMkLst>
          <pc:docMk/>
          <pc:sldMk cId="2042427796" sldId="2134804327"/>
        </pc:sldMkLst>
        <pc:spChg chg="mod">
          <ac:chgData name="Mariam Daniela Tristancho Pineda (MISION TEMPORAL LTDA)" userId="a45a17f7-7950-4cb5-bfab-f5c894f959a9" providerId="ADAL" clId="{15586BA0-617D-4D92-8B61-04A1723CD33C}" dt="2020-07-29T14:03:03.834" v="53" actId="20577"/>
          <ac:spMkLst>
            <pc:docMk/>
            <pc:sldMk cId="2042427796" sldId="2134804327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14:03:08.230" v="59" actId="20577"/>
          <ac:spMkLst>
            <pc:docMk/>
            <pc:sldMk cId="2042427796" sldId="2134804327"/>
            <ac:spMk id="3" creationId="{30F9CFD9-5990-468D-9B1E-2AB69F9844AA}"/>
          </ac:spMkLst>
        </pc:spChg>
      </pc:sldChg>
      <pc:sldChg chg="delSp del mod">
        <pc:chgData name="Mariam Daniela Tristancho Pineda (MISION TEMPORAL LTDA)" userId="a45a17f7-7950-4cb5-bfab-f5c894f959a9" providerId="ADAL" clId="{15586BA0-617D-4D92-8B61-04A1723CD33C}" dt="2020-07-31T21:01:52.025" v="679" actId="47"/>
        <pc:sldMkLst>
          <pc:docMk/>
          <pc:sldMk cId="240968699" sldId="2134804330"/>
        </pc:sldMkLst>
        <pc:spChg chg="del">
          <ac:chgData name="Mariam Daniela Tristancho Pineda (MISION TEMPORAL LTDA)" userId="a45a17f7-7950-4cb5-bfab-f5c894f959a9" providerId="ADAL" clId="{15586BA0-617D-4D92-8B61-04A1723CD33C}" dt="2020-07-31T21:01:34.834" v="677" actId="478"/>
          <ac:spMkLst>
            <pc:docMk/>
            <pc:sldMk cId="240968699" sldId="2134804330"/>
            <ac:spMk id="6" creationId="{B29880F2-B7E7-4F8E-A212-3649A13E5172}"/>
          </ac:spMkLst>
        </pc:spChg>
      </pc:sldChg>
      <pc:sldChg chg="del">
        <pc:chgData name="Mariam Daniela Tristancho Pineda (MISION TEMPORAL LTDA)" userId="a45a17f7-7950-4cb5-bfab-f5c894f959a9" providerId="ADAL" clId="{15586BA0-617D-4D92-8B61-04A1723CD33C}" dt="2020-07-31T21:01:52.889" v="681" actId="47"/>
        <pc:sldMkLst>
          <pc:docMk/>
          <pc:sldMk cId="1202002608" sldId="2134804331"/>
        </pc:sldMkLst>
      </pc:sldChg>
      <pc:sldChg chg="modSp del mod">
        <pc:chgData name="Mariam Daniela Tristancho Pineda (MISION TEMPORAL LTDA)" userId="a45a17f7-7950-4cb5-bfab-f5c894f959a9" providerId="ADAL" clId="{15586BA0-617D-4D92-8B61-04A1723CD33C}" dt="2020-07-31T21:01:53.353" v="682" actId="47"/>
        <pc:sldMkLst>
          <pc:docMk/>
          <pc:sldMk cId="4044430387" sldId="2134804332"/>
        </pc:sldMkLst>
        <pc:spChg chg="mod">
          <ac:chgData name="Mariam Daniela Tristancho Pineda (MISION TEMPORAL LTDA)" userId="a45a17f7-7950-4cb5-bfab-f5c894f959a9" providerId="ADAL" clId="{15586BA0-617D-4D92-8B61-04A1723CD33C}" dt="2020-07-31T15:28:08.555" v="198" actId="1036"/>
          <ac:spMkLst>
            <pc:docMk/>
            <pc:sldMk cId="4044430387" sldId="2134804332"/>
            <ac:spMk id="103" creationId="{47CDDAFF-8DCC-4B35-9FE7-57D6B6DB23D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28:08.555" v="198" actId="1036"/>
          <ac:spMkLst>
            <pc:docMk/>
            <pc:sldMk cId="4044430387" sldId="2134804332"/>
            <ac:spMk id="108" creationId="{CED671D3-DFA6-4098-9182-1C85FA4E2480}"/>
          </ac:spMkLst>
        </pc:spChg>
      </pc:sldChg>
      <pc:sldChg chg="del">
        <pc:chgData name="Mariam Daniela Tristancho Pineda (MISION TEMPORAL LTDA)" userId="a45a17f7-7950-4cb5-bfab-f5c894f959a9" providerId="ADAL" clId="{15586BA0-617D-4D92-8B61-04A1723CD33C}" dt="2020-07-31T21:01:53.855" v="683" actId="47"/>
        <pc:sldMkLst>
          <pc:docMk/>
          <pc:sldMk cId="1832843023" sldId="2134804333"/>
        </pc:sldMkLst>
      </pc:sldChg>
      <pc:sldChg chg="del">
        <pc:chgData name="Mariam Daniela Tristancho Pineda (MISION TEMPORAL LTDA)" userId="a45a17f7-7950-4cb5-bfab-f5c894f959a9" providerId="ADAL" clId="{15586BA0-617D-4D92-8B61-04A1723CD33C}" dt="2020-07-31T21:01:54.353" v="684" actId="47"/>
        <pc:sldMkLst>
          <pc:docMk/>
          <pc:sldMk cId="2329099191" sldId="2134804334"/>
        </pc:sldMkLst>
      </pc:sldChg>
      <pc:sldChg chg="modSp del mod ord">
        <pc:chgData name="Mariam Daniela Tristancho Pineda (MISION TEMPORAL LTDA)" userId="a45a17f7-7950-4cb5-bfab-f5c894f959a9" providerId="ADAL" clId="{15586BA0-617D-4D92-8B61-04A1723CD33C}" dt="2020-07-31T21:01:52.484" v="680" actId="47"/>
        <pc:sldMkLst>
          <pc:docMk/>
          <pc:sldMk cId="997806465" sldId="2134804335"/>
        </pc:sldMkLst>
        <pc:spChg chg="mod">
          <ac:chgData name="Mariam Daniela Tristancho Pineda (MISION TEMPORAL LTDA)" userId="a45a17f7-7950-4cb5-bfab-f5c894f959a9" providerId="ADAL" clId="{15586BA0-617D-4D92-8B61-04A1723CD33C}" dt="2020-07-31T15:26:56.632" v="195" actId="554"/>
          <ac:spMkLst>
            <pc:docMk/>
            <pc:sldMk cId="997806465" sldId="2134804335"/>
            <ac:spMk id="6" creationId="{0CD98A5D-4754-4786-990D-B12D06A1270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27:02.158" v="196" actId="554"/>
          <ac:spMkLst>
            <pc:docMk/>
            <pc:sldMk cId="997806465" sldId="2134804335"/>
            <ac:spMk id="13" creationId="{AEA9A67C-1F4B-4E19-9DBD-B1E12EB3746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26:56.632" v="195" actId="554"/>
          <ac:spMkLst>
            <pc:docMk/>
            <pc:sldMk cId="997806465" sldId="2134804335"/>
            <ac:spMk id="15" creationId="{3C746AF5-F53B-4C8F-8FE1-9515D2C222F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27:02.158" v="196" actId="554"/>
          <ac:spMkLst>
            <pc:docMk/>
            <pc:sldMk cId="997806465" sldId="2134804335"/>
            <ac:spMk id="17" creationId="{E28CF9EE-7057-4671-8471-F5AAB489FC3D}"/>
          </ac:spMkLst>
        </pc:spChg>
      </pc:sldChg>
      <pc:sldChg chg="del">
        <pc:chgData name="Mariam Daniela Tristancho Pineda (MISION TEMPORAL LTDA)" userId="a45a17f7-7950-4cb5-bfab-f5c894f959a9" providerId="ADAL" clId="{15586BA0-617D-4D92-8B61-04A1723CD33C}" dt="2020-07-31T21:01:55.965" v="687" actId="47"/>
        <pc:sldMkLst>
          <pc:docMk/>
          <pc:sldMk cId="827790441" sldId="2134804336"/>
        </pc:sldMkLst>
      </pc:sldChg>
      <pc:sldChg chg="del ord">
        <pc:chgData name="Mariam Daniela Tristancho Pineda (MISION TEMPORAL LTDA)" userId="a45a17f7-7950-4cb5-bfab-f5c894f959a9" providerId="ADAL" clId="{15586BA0-617D-4D92-8B61-04A1723CD33C}" dt="2020-07-31T21:01:55.546" v="686" actId="47"/>
        <pc:sldMkLst>
          <pc:docMk/>
          <pc:sldMk cId="3396100439" sldId="2134804337"/>
        </pc:sldMkLst>
      </pc:sldChg>
      <pc:sldChg chg="modSp mod ord">
        <pc:chgData name="Mariam Daniela Tristancho Pineda (MISION TEMPORAL LTDA)" userId="a45a17f7-7950-4cb5-bfab-f5c894f959a9" providerId="ADAL" clId="{15586BA0-617D-4D92-8B61-04A1723CD33C}" dt="2020-07-29T21:07:34.579" v="157" actId="20577"/>
        <pc:sldMkLst>
          <pc:docMk/>
          <pc:sldMk cId="1847407210" sldId="2134804338"/>
        </pc:sldMkLst>
        <pc:spChg chg="mod">
          <ac:chgData name="Mariam Daniela Tristancho Pineda (MISION TEMPORAL LTDA)" userId="a45a17f7-7950-4cb5-bfab-f5c894f959a9" providerId="ADAL" clId="{15586BA0-617D-4D92-8B61-04A1723CD33C}" dt="2020-07-29T21:07:34.579" v="157" actId="20577"/>
          <ac:spMkLst>
            <pc:docMk/>
            <pc:sldMk cId="1847407210" sldId="2134804338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14:03:12.225" v="65" actId="20577"/>
          <ac:spMkLst>
            <pc:docMk/>
            <pc:sldMk cId="1847407210" sldId="2134804338"/>
            <ac:spMk id="3" creationId="{30F9CFD9-5990-468D-9B1E-2AB69F9844AA}"/>
          </ac:spMkLst>
        </pc:spChg>
      </pc:sldChg>
      <pc:sldChg chg="ord">
        <pc:chgData name="Mariam Daniela Tristancho Pineda (MISION TEMPORAL LTDA)" userId="a45a17f7-7950-4cb5-bfab-f5c894f959a9" providerId="ADAL" clId="{15586BA0-617D-4D92-8B61-04A1723CD33C}" dt="2020-07-29T21:07:29.883" v="155"/>
        <pc:sldMkLst>
          <pc:docMk/>
          <pc:sldMk cId="1922339588" sldId="2134804339"/>
        </pc:sldMkLst>
      </pc:sldChg>
      <pc:sldChg chg="del">
        <pc:chgData name="Mariam Daniela Tristancho Pineda (MISION TEMPORAL LTDA)" userId="a45a17f7-7950-4cb5-bfab-f5c894f959a9" providerId="ADAL" clId="{15586BA0-617D-4D92-8B61-04A1723CD33C}" dt="2020-07-31T21:01:59.689" v="692" actId="47"/>
        <pc:sldMkLst>
          <pc:docMk/>
          <pc:sldMk cId="3318311001" sldId="2134804340"/>
        </pc:sldMkLst>
      </pc:sldChg>
      <pc:sldChg chg="del ord">
        <pc:chgData name="Mariam Daniela Tristancho Pineda (MISION TEMPORAL LTDA)" userId="a45a17f7-7950-4cb5-bfab-f5c894f959a9" providerId="ADAL" clId="{15586BA0-617D-4D92-8B61-04A1723CD33C}" dt="2020-07-31T21:01:56.460" v="688" actId="47"/>
        <pc:sldMkLst>
          <pc:docMk/>
          <pc:sldMk cId="2532921639" sldId="2134804341"/>
        </pc:sldMkLst>
      </pc:sldChg>
      <pc:sldChg chg="del ord">
        <pc:chgData name="Mariam Daniela Tristancho Pineda (MISION TEMPORAL LTDA)" userId="a45a17f7-7950-4cb5-bfab-f5c894f959a9" providerId="ADAL" clId="{15586BA0-617D-4D92-8B61-04A1723CD33C}" dt="2020-07-31T21:01:56.971" v="689" actId="47"/>
        <pc:sldMkLst>
          <pc:docMk/>
          <pc:sldMk cId="2183210988" sldId="2134804342"/>
        </pc:sldMkLst>
      </pc:sldChg>
      <pc:sldChg chg="addSp delSp modSp mod ord">
        <pc:chgData name="Mariam Daniela Tristancho Pineda (MISION TEMPORAL LTDA)" userId="a45a17f7-7950-4cb5-bfab-f5c894f959a9" providerId="ADAL" clId="{15586BA0-617D-4D92-8B61-04A1723CD33C}" dt="2020-07-31T21:04:53.997" v="703" actId="13926"/>
        <pc:sldMkLst>
          <pc:docMk/>
          <pc:sldMk cId="1108072925" sldId="2134804343"/>
        </pc:sldMkLst>
        <pc:spChg chg="mod">
          <ac:chgData name="Mariam Daniela Tristancho Pineda (MISION TEMPORAL LTDA)" userId="a45a17f7-7950-4cb5-bfab-f5c894f959a9" providerId="ADAL" clId="{15586BA0-617D-4D92-8B61-04A1723CD33C}" dt="2020-07-31T21:04:53.997" v="703" actId="13926"/>
          <ac:spMkLst>
            <pc:docMk/>
            <pc:sldMk cId="1108072925" sldId="2134804343"/>
            <ac:spMk id="3" creationId="{164DF9F9-0719-4943-934C-41A1DA9BF0D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8:51.423" v="390" actId="20577"/>
          <ac:spMkLst>
            <pc:docMk/>
            <pc:sldMk cId="1108072925" sldId="2134804343"/>
            <ac:spMk id="9" creationId="{4B2629AB-0194-4429-B721-D46F1AE1DD2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4:45.397" v="377" actId="20577"/>
          <ac:spMkLst>
            <pc:docMk/>
            <pc:sldMk cId="1108072925" sldId="2134804343"/>
            <ac:spMk id="69" creationId="{88B127F6-0C7D-4DA3-92C5-BCE40D1560F3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12.396" v="332" actId="164"/>
          <ac:spMkLst>
            <pc:docMk/>
            <pc:sldMk cId="1108072925" sldId="2134804343"/>
            <ac:spMk id="113" creationId="{65426CA7-DF13-4166-B929-391A6B479EF2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12.396" v="332" actId="164"/>
          <ac:spMkLst>
            <pc:docMk/>
            <pc:sldMk cId="1108072925" sldId="2134804343"/>
            <ac:spMk id="114" creationId="{34834366-0759-4E89-9A3A-288B6DA6C8C5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17.279" v="333" actId="164"/>
          <ac:spMkLst>
            <pc:docMk/>
            <pc:sldMk cId="1108072925" sldId="2134804343"/>
            <ac:spMk id="116" creationId="{C6DD9ECD-C92D-4704-97B3-B4C3AEE18640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17.279" v="333" actId="164"/>
          <ac:spMkLst>
            <pc:docMk/>
            <pc:sldMk cId="1108072925" sldId="2134804343"/>
            <ac:spMk id="117" creationId="{7F6BC1DB-4E40-4A47-850A-79B462E1AE26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23.899" v="334" actId="164"/>
          <ac:spMkLst>
            <pc:docMk/>
            <pc:sldMk cId="1108072925" sldId="2134804343"/>
            <ac:spMk id="119" creationId="{E44EFD7C-986C-4068-96FF-2799E98C60BE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23.899" v="334" actId="164"/>
          <ac:spMkLst>
            <pc:docMk/>
            <pc:sldMk cId="1108072925" sldId="2134804343"/>
            <ac:spMk id="120" creationId="{E73BF53D-5C4E-4100-BC6B-1DFC8B8FC737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30.508" v="336" actId="164"/>
          <ac:spMkLst>
            <pc:docMk/>
            <pc:sldMk cId="1108072925" sldId="2134804343"/>
            <ac:spMk id="122" creationId="{4BB3CAC2-15FB-4F1D-B702-9BD7ADC8A691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51.035" v="348" actId="1076"/>
          <ac:spMkLst>
            <pc:docMk/>
            <pc:sldMk cId="1108072925" sldId="2134804343"/>
            <ac:spMk id="123" creationId="{AF32E794-4F50-4939-826B-17544165148C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27.498" v="335" actId="164"/>
          <ac:spMkLst>
            <pc:docMk/>
            <pc:sldMk cId="1108072925" sldId="2134804343"/>
            <ac:spMk id="125" creationId="{B6A9FC5B-4C07-4FED-BEA6-F63B467108DA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27.498" v="335" actId="164"/>
          <ac:spMkLst>
            <pc:docMk/>
            <pc:sldMk cId="1108072925" sldId="2134804343"/>
            <ac:spMk id="126" creationId="{8F1ADAC7-4725-4A8E-8E01-07F422E0CE8D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33.172" v="337" actId="164"/>
          <ac:spMkLst>
            <pc:docMk/>
            <pc:sldMk cId="1108072925" sldId="2134804343"/>
            <ac:spMk id="128" creationId="{3F91303F-DB37-48BC-85A3-C5D1573343A4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33.172" v="337" actId="164"/>
          <ac:spMkLst>
            <pc:docMk/>
            <pc:sldMk cId="1108072925" sldId="2134804343"/>
            <ac:spMk id="129" creationId="{547FDFA9-DFAE-49C9-8DB6-12CF8AF865B2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03.601" v="331" actId="164"/>
          <ac:spMkLst>
            <pc:docMk/>
            <pc:sldMk cId="1108072925" sldId="2134804343"/>
            <ac:spMk id="133" creationId="{5825428C-4A68-4645-82E8-CDD413126FCC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03.601" v="331" actId="164"/>
          <ac:spMkLst>
            <pc:docMk/>
            <pc:sldMk cId="1108072925" sldId="2134804343"/>
            <ac:spMk id="134" creationId="{9DA84409-E78D-4C09-BD7D-3213865A7325}"/>
          </ac:spMkLst>
        </pc:spChg>
        <pc:grpChg chg="add mod">
          <ac:chgData name="Mariam Daniela Tristancho Pineda (MISION TEMPORAL LTDA)" userId="a45a17f7-7950-4cb5-bfab-f5c894f959a9" providerId="ADAL" clId="{15586BA0-617D-4D92-8B61-04A1723CD33C}" dt="2020-07-31T15:36:47.196" v="346" actId="554"/>
          <ac:grpSpMkLst>
            <pc:docMk/>
            <pc:sldMk cId="1108072925" sldId="2134804343"/>
            <ac:grpSpMk id="10" creationId="{3E85E4E0-A272-4AD3-AB4F-46D80F837C6B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6:47.196" v="346" actId="554"/>
          <ac:grpSpMkLst>
            <pc:docMk/>
            <pc:sldMk cId="1108072925" sldId="2134804343"/>
            <ac:grpSpMk id="11" creationId="{6AAB0F72-777F-46AC-8C69-A56E43D7CA62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6:47.196" v="346" actId="554"/>
          <ac:grpSpMkLst>
            <pc:docMk/>
            <pc:sldMk cId="1108072925" sldId="2134804343"/>
            <ac:grpSpMk id="12" creationId="{57FDF4D1-180A-499E-8058-86BFAF032B67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6:47.196" v="346" actId="554"/>
          <ac:grpSpMkLst>
            <pc:docMk/>
            <pc:sldMk cId="1108072925" sldId="2134804343"/>
            <ac:grpSpMk id="13" creationId="{1102E1D4-2CA7-42DB-810F-C72F70AAD49F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7:08.384" v="362" actId="1037"/>
          <ac:grpSpMkLst>
            <pc:docMk/>
            <pc:sldMk cId="1108072925" sldId="2134804343"/>
            <ac:grpSpMk id="14" creationId="{9F509707-312A-4963-8A7F-894569D8086A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7:05.103" v="358" actId="1036"/>
          <ac:grpSpMkLst>
            <pc:docMk/>
            <pc:sldMk cId="1108072925" sldId="2134804343"/>
            <ac:grpSpMk id="15" creationId="{AFFB213F-AB0F-4EB6-A517-791285FA4DF7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7:12.929" v="366" actId="1037"/>
          <ac:grpSpMkLst>
            <pc:docMk/>
            <pc:sldMk cId="1108072925" sldId="2134804343"/>
            <ac:grpSpMk id="16" creationId="{E0D1C9B4-2671-49F3-B573-B7CB2BFC6B98}"/>
          </ac:grpSpMkLst>
        </pc:grpChg>
        <pc:grpChg chg="del">
          <ac:chgData name="Mariam Daniela Tristancho Pineda (MISION TEMPORAL LTDA)" userId="a45a17f7-7950-4cb5-bfab-f5c894f959a9" providerId="ADAL" clId="{15586BA0-617D-4D92-8B61-04A1723CD33C}" dt="2020-07-31T15:34:22.295" v="304" actId="165"/>
          <ac:grpSpMkLst>
            <pc:docMk/>
            <pc:sldMk cId="1108072925" sldId="2134804343"/>
            <ac:grpSpMk id="112" creationId="{972FCF2A-FD03-49D3-8C0B-1BBE38305C46}"/>
          </ac:grpSpMkLst>
        </pc:grpChg>
        <pc:grpChg chg="del">
          <ac:chgData name="Mariam Daniela Tristancho Pineda (MISION TEMPORAL LTDA)" userId="a45a17f7-7950-4cb5-bfab-f5c894f959a9" providerId="ADAL" clId="{15586BA0-617D-4D92-8B61-04A1723CD33C}" dt="2020-07-31T15:34:22.295" v="304" actId="165"/>
          <ac:grpSpMkLst>
            <pc:docMk/>
            <pc:sldMk cId="1108072925" sldId="2134804343"/>
            <ac:grpSpMk id="115" creationId="{3701B5F0-81AD-443A-81EB-5C556EAFA1F3}"/>
          </ac:grpSpMkLst>
        </pc:grpChg>
        <pc:grpChg chg="del">
          <ac:chgData name="Mariam Daniela Tristancho Pineda (MISION TEMPORAL LTDA)" userId="a45a17f7-7950-4cb5-bfab-f5c894f959a9" providerId="ADAL" clId="{15586BA0-617D-4D92-8B61-04A1723CD33C}" dt="2020-07-31T15:34:22.295" v="304" actId="165"/>
          <ac:grpSpMkLst>
            <pc:docMk/>
            <pc:sldMk cId="1108072925" sldId="2134804343"/>
            <ac:grpSpMk id="118" creationId="{D377B78F-D375-47B1-8568-E06662B6DAAD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15:35:23.114" v="321" actId="165"/>
          <ac:grpSpMkLst>
            <pc:docMk/>
            <pc:sldMk cId="1108072925" sldId="2134804343"/>
            <ac:grpSpMk id="121" creationId="{86C4B84B-4233-4B9E-8F90-D5FC97FAAF7A}"/>
          </ac:grpSpMkLst>
        </pc:grpChg>
        <pc:grpChg chg="del">
          <ac:chgData name="Mariam Daniela Tristancho Pineda (MISION TEMPORAL LTDA)" userId="a45a17f7-7950-4cb5-bfab-f5c894f959a9" providerId="ADAL" clId="{15586BA0-617D-4D92-8B61-04A1723CD33C}" dt="2020-07-31T15:35:42.484" v="324" actId="165"/>
          <ac:grpSpMkLst>
            <pc:docMk/>
            <pc:sldMk cId="1108072925" sldId="2134804343"/>
            <ac:grpSpMk id="124" creationId="{4656D884-6034-4D33-BF43-DC4E22A753AE}"/>
          </ac:grpSpMkLst>
        </pc:grpChg>
        <pc:grpChg chg="del">
          <ac:chgData name="Mariam Daniela Tristancho Pineda (MISION TEMPORAL LTDA)" userId="a45a17f7-7950-4cb5-bfab-f5c894f959a9" providerId="ADAL" clId="{15586BA0-617D-4D92-8B61-04A1723CD33C}" dt="2020-07-31T15:35:53.529" v="328" actId="165"/>
          <ac:grpSpMkLst>
            <pc:docMk/>
            <pc:sldMk cId="1108072925" sldId="2134804343"/>
            <ac:grpSpMk id="127" creationId="{DB97B9B3-2FDB-4409-9069-0039CCBD4185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15:34:22.295" v="304" actId="165"/>
          <ac:grpSpMkLst>
            <pc:docMk/>
            <pc:sldMk cId="1108072925" sldId="2134804343"/>
            <ac:grpSpMk id="132" creationId="{3E3138A7-24EC-46A8-B30C-B2D100D4FD78}"/>
          </ac:grpSpMkLst>
        </pc:grpChg>
      </pc:sldChg>
      <pc:sldChg chg="modSp mod ord">
        <pc:chgData name="Mariam Daniela Tristancho Pineda (MISION TEMPORAL LTDA)" userId="a45a17f7-7950-4cb5-bfab-f5c894f959a9" providerId="ADAL" clId="{15586BA0-617D-4D92-8B61-04A1723CD33C}" dt="2020-07-31T15:44:48.948" v="379" actId="20577"/>
        <pc:sldMkLst>
          <pc:docMk/>
          <pc:sldMk cId="1734415321" sldId="2134804344"/>
        </pc:sldMkLst>
        <pc:spChg chg="mod">
          <ac:chgData name="Mariam Daniela Tristancho Pineda (MISION TEMPORAL LTDA)" userId="a45a17f7-7950-4cb5-bfab-f5c894f959a9" providerId="ADAL" clId="{15586BA0-617D-4D92-8B61-04A1723CD33C}" dt="2020-07-31T15:44:15.923" v="375" actId="12788"/>
          <ac:spMkLst>
            <pc:docMk/>
            <pc:sldMk cId="1734415321" sldId="2134804344"/>
            <ac:spMk id="11" creationId="{772CA61D-742C-45F0-BAFA-0F3B90176E9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26.882" v="219" actId="12788"/>
          <ac:spMkLst>
            <pc:docMk/>
            <pc:sldMk cId="1734415321" sldId="2134804344"/>
            <ac:spMk id="22" creationId="{53E538FE-3283-40FB-A5F0-3E57246B6EF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4:15.923" v="375" actId="12788"/>
          <ac:spMkLst>
            <pc:docMk/>
            <pc:sldMk cId="1734415321" sldId="2134804344"/>
            <ac:spMk id="29" creationId="{46F67329-EAA2-4B09-AD5B-91FE70391A8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30.836" v="220" actId="12788"/>
          <ac:spMkLst>
            <pc:docMk/>
            <pc:sldMk cId="1734415321" sldId="2134804344"/>
            <ac:spMk id="30" creationId="{5BF08848-45AE-451C-A99D-7322CF79674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30.836" v="220" actId="12788"/>
          <ac:spMkLst>
            <pc:docMk/>
            <pc:sldMk cId="1734415321" sldId="2134804344"/>
            <ac:spMk id="35" creationId="{5F2982C9-1317-4114-BC67-9EA6763899B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4:15.923" v="375" actId="12788"/>
          <ac:spMkLst>
            <pc:docMk/>
            <pc:sldMk cId="1734415321" sldId="2134804344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2:33.749" v="232" actId="14100"/>
          <ac:spMkLst>
            <pc:docMk/>
            <pc:sldMk cId="1734415321" sldId="2134804344"/>
            <ac:spMk id="41" creationId="{A6323A01-8860-4B1B-BDAF-6B75ABC06BE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24.142" v="269" actId="14100"/>
          <ac:spMkLst>
            <pc:docMk/>
            <pc:sldMk cId="1734415321" sldId="2134804344"/>
            <ac:spMk id="42" creationId="{4101169F-B3FD-425D-90F0-D9CCBE1BF3D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3:49.401" v="370" actId="1035"/>
          <ac:spMkLst>
            <pc:docMk/>
            <pc:sldMk cId="1734415321" sldId="2134804344"/>
            <ac:spMk id="43" creationId="{34452114-CA9E-44D1-9755-DF275F1BF2A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4:15.923" v="375" actId="12788"/>
          <ac:spMkLst>
            <pc:docMk/>
            <pc:sldMk cId="1734415321" sldId="2134804344"/>
            <ac:spMk id="48" creationId="{F926AC88-2103-4B74-A485-8F98AF37FAB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7:28.495" v="367" actId="12788"/>
          <ac:spMkLst>
            <pc:docMk/>
            <pc:sldMk cId="1734415321" sldId="2134804344"/>
            <ac:spMk id="55" creationId="{1546B975-3205-4120-A98D-4F899F2673F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7:28.495" v="367" actId="12788"/>
          <ac:spMkLst>
            <pc:docMk/>
            <pc:sldMk cId="1734415321" sldId="2134804344"/>
            <ac:spMk id="56" creationId="{82D32ECE-5CE8-4D30-8F1A-35940B0E5DD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07.765" v="253" actId="14100"/>
          <ac:spMkLst>
            <pc:docMk/>
            <pc:sldMk cId="1734415321" sldId="2134804344"/>
            <ac:spMk id="59" creationId="{B329FB9A-BB66-4CA1-9AB8-4B6B45E5607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60" creationId="{FC98CCA7-DE6B-4116-84B8-A8982F08BE3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65" creationId="{E9C72F17-5D8F-41F6-8661-3E5DE2A9E04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66" creationId="{DB75697E-BD6D-4004-8F4B-2171046FC12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69" creationId="{42876D3F-F05B-4B3C-9DCB-629A3FE4113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70" creationId="{F9D75CA7-6C16-4058-92CF-BCCF9664CBC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71" creationId="{63CA118B-4517-4A8E-85F9-65AF0995F5E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2:54.343" v="248" actId="1038"/>
          <ac:spMkLst>
            <pc:docMk/>
            <pc:sldMk cId="1734415321" sldId="2134804344"/>
            <ac:spMk id="72" creationId="{F0A9C2F1-1FA1-4C6D-980F-C42B048458E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2:54.343" v="248" actId="1038"/>
          <ac:spMkLst>
            <pc:docMk/>
            <pc:sldMk cId="1734415321" sldId="2134804344"/>
            <ac:spMk id="73" creationId="{504B0AB9-46DB-479D-A0DE-430E1C84357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35.403" v="221" actId="12788"/>
          <ac:spMkLst>
            <pc:docMk/>
            <pc:sldMk cId="1734415321" sldId="2134804344"/>
            <ac:spMk id="75" creationId="{4C690042-2141-41E0-801C-740270A72EA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35.403" v="221" actId="12788"/>
          <ac:spMkLst>
            <pc:docMk/>
            <pc:sldMk cId="1734415321" sldId="2134804344"/>
            <ac:spMk id="76" creationId="{0E53751B-1475-4A4B-BBEC-13FCD3CB2F5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46.338" v="296" actId="1036"/>
          <ac:spMkLst>
            <pc:docMk/>
            <pc:sldMk cId="1734415321" sldId="2134804344"/>
            <ac:spMk id="80" creationId="{E193066D-B18A-4EF1-AF0B-EF5BC81EBB5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30.216" v="293" actId="1037"/>
          <ac:spMkLst>
            <pc:docMk/>
            <pc:sldMk cId="1734415321" sldId="2134804344"/>
            <ac:spMk id="81" creationId="{9EAEECC0-C607-4346-A4F1-115AAD4C763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49.623" v="298" actId="1036"/>
          <ac:spMkLst>
            <pc:docMk/>
            <pc:sldMk cId="1734415321" sldId="2134804344"/>
            <ac:spMk id="94" creationId="{0010AD8B-A5B4-4F43-81B9-230ED313298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26.882" v="219" actId="12788"/>
          <ac:spMkLst>
            <pc:docMk/>
            <pc:sldMk cId="1734415321" sldId="2134804344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4:48.948" v="379" actId="20577"/>
          <ac:spMkLst>
            <pc:docMk/>
            <pc:sldMk cId="1734415321" sldId="2134804344"/>
            <ac:spMk id="100" creationId="{35A556C0-08BB-4065-827F-E54CA0A57E33}"/>
          </ac:spMkLst>
        </pc:spChg>
        <pc:grpChg chg="mod">
          <ac:chgData name="Mariam Daniela Tristancho Pineda (MISION TEMPORAL LTDA)" userId="a45a17f7-7950-4cb5-bfab-f5c894f959a9" providerId="ADAL" clId="{15586BA0-617D-4D92-8B61-04A1723CD33C}" dt="2020-07-31T15:32:41.476" v="234" actId="1076"/>
          <ac:grpSpMkLst>
            <pc:docMk/>
            <pc:sldMk cId="1734415321" sldId="2134804344"/>
            <ac:grpSpMk id="78" creationId="{12A3AACD-5508-4F4A-9036-A17C038CD4B5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32:54.343" v="248" actId="1038"/>
          <ac:grpSpMkLst>
            <pc:docMk/>
            <pc:sldMk cId="1734415321" sldId="2134804344"/>
            <ac:grpSpMk id="88" creationId="{F7EF4CD1-C03D-4025-9F1B-068CA3577EE5}"/>
          </ac:grpSpMkLst>
        </pc:grpChg>
      </pc:sldChg>
      <pc:sldChg chg="modSp mod">
        <pc:chgData name="Mariam Daniela Tristancho Pineda (MISION TEMPORAL LTDA)" userId="a45a17f7-7950-4cb5-bfab-f5c894f959a9" providerId="ADAL" clId="{15586BA0-617D-4D92-8B61-04A1723CD33C}" dt="2020-07-31T15:45:13.558" v="382" actId="20577"/>
        <pc:sldMkLst>
          <pc:docMk/>
          <pc:sldMk cId="3642796184" sldId="2134804345"/>
        </pc:sldMkLst>
        <pc:spChg chg="mod">
          <ac:chgData name="Mariam Daniela Tristancho Pineda (MISION TEMPORAL LTDA)" userId="a45a17f7-7950-4cb5-bfab-f5c894f959a9" providerId="ADAL" clId="{15586BA0-617D-4D92-8B61-04A1723CD33C}" dt="2020-07-31T15:45:13.558" v="382" actId="20577"/>
          <ac:spMkLst>
            <pc:docMk/>
            <pc:sldMk cId="3642796184" sldId="2134804345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14:03:16.427" v="71" actId="20577"/>
          <ac:spMkLst>
            <pc:docMk/>
            <pc:sldMk cId="3642796184" sldId="2134804345"/>
            <ac:spMk id="3" creationId="{30F9CFD9-5990-468D-9B1E-2AB69F9844AA}"/>
          </ac:spMkLst>
        </pc:spChg>
      </pc:sldChg>
      <pc:sldChg chg="modSp mod">
        <pc:chgData name="Mariam Daniela Tristancho Pineda (MISION TEMPORAL LTDA)" userId="a45a17f7-7950-4cb5-bfab-f5c894f959a9" providerId="ADAL" clId="{15586BA0-617D-4D92-8B61-04A1723CD33C}" dt="2020-07-31T15:49:09.860" v="392" actId="12788"/>
        <pc:sldMkLst>
          <pc:docMk/>
          <pc:sldMk cId="330914068" sldId="2134804346"/>
        </pc:sldMkLst>
        <pc:spChg chg="mod">
          <ac:chgData name="Mariam Daniela Tristancho Pineda (MISION TEMPORAL LTDA)" userId="a45a17f7-7950-4cb5-bfab-f5c894f959a9" providerId="ADAL" clId="{15586BA0-617D-4D92-8B61-04A1723CD33C}" dt="2020-07-31T15:49:06.010" v="391" actId="12788"/>
          <ac:spMkLst>
            <pc:docMk/>
            <pc:sldMk cId="330914068" sldId="2134804346"/>
            <ac:spMk id="14" creationId="{CB6E902A-3037-4424-8244-1140BA28681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9:09.860" v="392" actId="12788"/>
          <ac:spMkLst>
            <pc:docMk/>
            <pc:sldMk cId="330914068" sldId="2134804346"/>
            <ac:spMk id="34" creationId="{8563ABA6-CB73-498B-A032-07417EFEC24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9:06.010" v="391" actId="12788"/>
          <ac:spMkLst>
            <pc:docMk/>
            <pc:sldMk cId="330914068" sldId="2134804346"/>
            <ac:spMk id="35" creationId="{261FE420-0646-42FB-B587-DEC51AE767F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9:09.860" v="392" actId="12788"/>
          <ac:spMkLst>
            <pc:docMk/>
            <pc:sldMk cId="330914068" sldId="2134804346"/>
            <ac:spMk id="45" creationId="{8E8CD834-7B34-47C9-9BE7-09ECA14BFCEB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9:09.860" v="392" actId="12788"/>
          <ac:spMkLst>
            <pc:docMk/>
            <pc:sldMk cId="330914068" sldId="2134804346"/>
            <ac:spMk id="47" creationId="{137B0C4F-8471-4337-954D-6AECA53DF9C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9:06.010" v="391" actId="12788"/>
          <ac:spMkLst>
            <pc:docMk/>
            <pc:sldMk cId="330914068" sldId="2134804346"/>
            <ac:spMk id="58" creationId="{87C0C219-147A-4233-AEBD-D8B263DF2912}"/>
          </ac:spMkLst>
        </pc:spChg>
      </pc:sldChg>
      <pc:sldChg chg="addSp delSp modSp mod">
        <pc:chgData name="Mariam Daniela Tristancho Pineda (MISION TEMPORAL LTDA)" userId="a45a17f7-7950-4cb5-bfab-f5c894f959a9" providerId="ADAL" clId="{15586BA0-617D-4D92-8B61-04A1723CD33C}" dt="2020-07-31T21:42:53.168" v="1042" actId="1076"/>
        <pc:sldMkLst>
          <pc:docMk/>
          <pc:sldMk cId="3225245280" sldId="2134804347"/>
        </pc:sldMkLst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3" creationId="{815B10B7-60B3-4C63-8431-70CC556387C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06.487" v="451" actId="1038"/>
          <ac:spMkLst>
            <pc:docMk/>
            <pc:sldMk cId="3225245280" sldId="2134804347"/>
            <ac:spMk id="6" creationId="{D96F8713-29A5-4310-8564-F011CFCB1066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7" creationId="{6E720954-0AD5-4F0E-9897-4BDFCFA126C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8" creationId="{2E27193E-8A49-44E9-91B8-50C765DA6DD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0:50.935" v="423" actId="554"/>
          <ac:spMkLst>
            <pc:docMk/>
            <pc:sldMk cId="3225245280" sldId="2134804347"/>
            <ac:spMk id="9" creationId="{044EA7DA-DC7D-4022-9DEC-F3B676A6203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56.430" v="955" actId="20577"/>
          <ac:spMkLst>
            <pc:docMk/>
            <pc:sldMk cId="3225245280" sldId="2134804347"/>
            <ac:spMk id="10" creationId="{1C27DADA-AD5A-4DFF-A22B-78E230D3896D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36:54.678" v="848" actId="478"/>
          <ac:spMkLst>
            <pc:docMk/>
            <pc:sldMk cId="3225245280" sldId="2134804347"/>
            <ac:spMk id="11" creationId="{772CA61D-742C-45F0-BAFA-0F3B90176E98}"/>
          </ac:spMkLst>
        </pc:spChg>
        <pc:spChg chg="add del">
          <ac:chgData name="Mariam Daniela Tristancho Pineda (MISION TEMPORAL LTDA)" userId="a45a17f7-7950-4cb5-bfab-f5c894f959a9" providerId="ADAL" clId="{15586BA0-617D-4D92-8B61-04A1723CD33C}" dt="2020-07-31T21:36:54.678" v="848" actId="478"/>
          <ac:spMkLst>
            <pc:docMk/>
            <pc:sldMk cId="3225245280" sldId="2134804347"/>
            <ac:spMk id="12" creationId="{7F3CEC4C-7588-4B74-823D-9CF22E2DAD7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13" creationId="{8ED9F3B3-88F5-4631-8341-C7E55E17474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19:51.905" v="713"/>
          <ac:spMkLst>
            <pc:docMk/>
            <pc:sldMk cId="3225245280" sldId="2134804347"/>
            <ac:spMk id="14" creationId="{6FCAE7F4-D309-4A31-A5D2-C6A035E0EF8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20:34.835" v="715" actId="14100"/>
          <ac:spMkLst>
            <pc:docMk/>
            <pc:sldMk cId="3225245280" sldId="2134804347"/>
            <ac:spMk id="15" creationId="{EC155108-24C9-41BB-AFB7-1D8B4E0A3839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08.469" v="1034" actId="478"/>
          <ac:spMkLst>
            <pc:docMk/>
            <pc:sldMk cId="3225245280" sldId="2134804347"/>
            <ac:spMk id="17" creationId="{5EAC5110-AE72-47ED-96D9-528A91DC595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18" creationId="{B9A102DE-B6E2-4A96-917C-4764462F2DD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53.710" v="954" actId="20577"/>
          <ac:spMkLst>
            <pc:docMk/>
            <pc:sldMk cId="3225245280" sldId="2134804347"/>
            <ac:spMk id="19" creationId="{70675E72-95A3-4317-B24A-EF51AC8AE239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42:18.211" v="1040" actId="478"/>
          <ac:spMkLst>
            <pc:docMk/>
            <pc:sldMk cId="3225245280" sldId="2134804347"/>
            <ac:spMk id="20" creationId="{3AE5DE1B-3E9E-479E-9E2D-5D06591CE120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42:16.887" v="1039" actId="478"/>
          <ac:spMkLst>
            <pc:docMk/>
            <pc:sldMk cId="3225245280" sldId="2134804347"/>
            <ac:spMk id="21" creationId="{0860F37B-BF0F-4ACC-9312-55A0EC69FE4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22" creationId="{53E538FE-3283-40FB-A5F0-3E57246B6EFA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2:11.568" v="1036" actId="1076"/>
          <ac:spMkLst>
            <pc:docMk/>
            <pc:sldMk cId="3225245280" sldId="2134804347"/>
            <ac:spMk id="23" creationId="{B688465D-E234-4F28-A156-DEC31C1309B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1:25.022" v="440" actId="12789"/>
          <ac:spMkLst>
            <pc:docMk/>
            <pc:sldMk cId="3225245280" sldId="2134804347"/>
            <ac:spMk id="24" creationId="{0C96DED9-D235-406E-A2A1-79478F1C387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26" creationId="{75A6E1CB-F9BA-4F62-A008-32BA52F24F62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36:54.678" v="848" actId="478"/>
          <ac:spMkLst>
            <pc:docMk/>
            <pc:sldMk cId="3225245280" sldId="2134804347"/>
            <ac:spMk id="29" creationId="{46F67329-EAA2-4B09-AD5B-91FE70391A8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30" creationId="{5BF08848-45AE-451C-A99D-7322CF79674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34" creationId="{2858742F-5FD0-4B7E-9334-0D1DB2CF525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35" creationId="{5F2982C9-1317-4114-BC67-9EA6763899B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06.952" v="452" actId="12788"/>
          <ac:spMkLst>
            <pc:docMk/>
            <pc:sldMk cId="3225245280" sldId="2134804347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58.205" v="956" actId="20577"/>
          <ac:spMkLst>
            <pc:docMk/>
            <pc:sldMk cId="3225245280" sldId="2134804347"/>
            <ac:spMk id="40" creationId="{F9005A44-E530-4972-BBE0-B3ED015A6ED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41" creationId="{A6323A01-8860-4B1B-BDAF-6B75ABC06BE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42" creationId="{4101169F-B3FD-425D-90F0-D9CCBE1BF3D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50.889" v="953" actId="1076"/>
          <ac:spMkLst>
            <pc:docMk/>
            <pc:sldMk cId="3225245280" sldId="2134804347"/>
            <ac:spMk id="43" creationId="{34452114-CA9E-44D1-9755-DF275F1BF2A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16:19.940" v="709"/>
          <ac:spMkLst>
            <pc:docMk/>
            <pc:sldMk cId="3225245280" sldId="2134804347"/>
            <ac:spMk id="45" creationId="{9ACB673E-4A63-4F00-B5CB-5E9908EDEBDB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16:27.893" v="710"/>
          <ac:spMkLst>
            <pc:docMk/>
            <pc:sldMk cId="3225245280" sldId="2134804347"/>
            <ac:spMk id="46" creationId="{E0149A14-BFC3-44E2-87D8-379AA9113E4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06.487" v="451" actId="1038"/>
          <ac:spMkLst>
            <pc:docMk/>
            <pc:sldMk cId="3225245280" sldId="2134804347"/>
            <ac:spMk id="48" creationId="{20CF924E-D349-40FC-ABAF-4BBC6F96F0AC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25:49.462" v="731" actId="478"/>
          <ac:spMkLst>
            <pc:docMk/>
            <pc:sldMk cId="3225245280" sldId="2134804347"/>
            <ac:spMk id="72" creationId="{B6A1CD0A-A7AD-404D-B321-3C81898027F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17.492" v="453" actId="1076"/>
          <ac:spMkLst>
            <pc:docMk/>
            <pc:sldMk cId="3225245280" sldId="2134804347"/>
            <ac:spMk id="134" creationId="{4442C9A5-A733-471D-8F13-08ADD413B9D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5.088" v="951" actId="1076"/>
          <ac:spMkLst>
            <pc:docMk/>
            <pc:sldMk cId="3225245280" sldId="2134804347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9:07.856" v="983" actId="20577"/>
          <ac:spMkLst>
            <pc:docMk/>
            <pc:sldMk cId="3225245280" sldId="2134804347"/>
            <ac:spMk id="136" creationId="{3E679F1B-F264-4A53-9627-51AF9A58E0A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17.492" v="453" actId="1076"/>
          <ac:spMkLst>
            <pc:docMk/>
            <pc:sldMk cId="3225245280" sldId="2134804347"/>
            <ac:spMk id="137" creationId="{730474FC-E2F9-4F74-B68F-DF4ADA249AB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17.492" v="453" actId="1076"/>
          <ac:spMkLst>
            <pc:docMk/>
            <pc:sldMk cId="3225245280" sldId="2134804347"/>
            <ac:spMk id="138" creationId="{14ECB9F5-C6EC-49AA-93E6-081670E9DB8B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17.492" v="453" actId="1076"/>
          <ac:spMkLst>
            <pc:docMk/>
            <pc:sldMk cId="3225245280" sldId="2134804347"/>
            <ac:spMk id="139" creationId="{E6FA0830-AEFB-4202-9F4F-DDC9DDCEAA0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1:09.845" v="991" actId="20577"/>
          <ac:spMkLst>
            <pc:docMk/>
            <pc:sldMk cId="3225245280" sldId="2134804347"/>
            <ac:spMk id="154" creationId="{91AE69E5-1CE5-463E-A734-440EB07C71E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13.709" v="1038" actId="20577"/>
          <ac:spMkLst>
            <pc:docMk/>
            <pc:sldMk cId="3225245280" sldId="2134804347"/>
            <ac:spMk id="166" creationId="{9FDE8763-1403-4DA7-9E51-39BBD4CD3A59}"/>
          </ac:spMkLst>
        </pc:s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40" creationId="{1778203D-1CDF-4BBC-B19C-6A9DA9D69BEA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21:42:53.168" v="1042" actId="1076"/>
          <ac:grpSpMkLst>
            <pc:docMk/>
            <pc:sldMk cId="3225245280" sldId="2134804347"/>
            <ac:grpSpMk id="143" creationId="{B27E5097-D998-4BDE-89CA-161A527A87C0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39:47.248" v="984" actId="478"/>
          <ac:grpSpMkLst>
            <pc:docMk/>
            <pc:sldMk cId="3225245280" sldId="2134804347"/>
            <ac:grpSpMk id="146" creationId="{2CA2D048-1963-4AF1-A71E-9C7566E1243D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21:42:50.896" v="1041" actId="1076"/>
          <ac:grpSpMkLst>
            <pc:docMk/>
            <pc:sldMk cId="3225245280" sldId="2134804347"/>
            <ac:grpSpMk id="149" creationId="{30016BC2-F5FC-41B1-8042-294B5ED710A9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52" creationId="{0C9E3AE5-4FE2-4EF4-9D3F-ECFA92247FBD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55" creationId="{AF0A7E91-D29C-4DC8-87E7-351583AC6A42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58" creationId="{18236BF5-121B-4103-92E9-4A1EA3D1F5F7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61" creationId="{7B0D0DED-F383-470F-96D9-C423BC826F33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64" creationId="{C681AC81-BC19-45C4-81AC-2BC618854FD5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0:07.815" v="986" actId="478"/>
          <ac:grpSpMkLst>
            <pc:docMk/>
            <pc:sldMk cId="3225245280" sldId="2134804347"/>
            <ac:grpSpMk id="167" creationId="{F3C347DC-9AE7-44D9-A9B1-B67D2D0F7C03}"/>
          </ac:grpSpMkLst>
        </pc:grpChg>
      </pc:sldChg>
      <pc:sldChg chg="addSp delSp modSp mod">
        <pc:chgData name="Mariam Daniela Tristancho Pineda (MISION TEMPORAL LTDA)" userId="a45a17f7-7950-4cb5-bfab-f5c894f959a9" providerId="ADAL" clId="{15586BA0-617D-4D92-8B61-04A1723CD33C}" dt="2020-07-31T21:43:06.716" v="1049" actId="1036"/>
        <pc:sldMkLst>
          <pc:docMk/>
          <pc:sldMk cId="335391689" sldId="2134804348"/>
        </pc:sldMkLst>
        <pc:spChg chg="add mod ord">
          <ac:chgData name="Mariam Daniela Tristancho Pineda (MISION TEMPORAL LTDA)" userId="a45a17f7-7950-4cb5-bfab-f5c894f959a9" providerId="ADAL" clId="{15586BA0-617D-4D92-8B61-04A1723CD33C}" dt="2020-07-31T21:32:25.673" v="818" actId="1076"/>
          <ac:spMkLst>
            <pc:docMk/>
            <pc:sldMk cId="335391689" sldId="2134804348"/>
            <ac:spMk id="3" creationId="{F3B9FB94-0CE9-48A1-AFD8-7BD1C3E5CDD8}"/>
          </ac:spMkLst>
        </pc:spChg>
        <pc:spChg chg="add mod ord">
          <ac:chgData name="Mariam Daniela Tristancho Pineda (MISION TEMPORAL LTDA)" userId="a45a17f7-7950-4cb5-bfab-f5c894f959a9" providerId="ADAL" clId="{15586BA0-617D-4D92-8B61-04A1723CD33C}" dt="2020-07-31T21:32:14.778" v="815" actId="14100"/>
          <ac:spMkLst>
            <pc:docMk/>
            <pc:sldMk cId="335391689" sldId="2134804348"/>
            <ac:spMk id="6" creationId="{93CBB300-71D9-4482-8F67-3EC26B4339AB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32:11.225" v="813" actId="14100"/>
          <ac:spMkLst>
            <pc:docMk/>
            <pc:sldMk cId="335391689" sldId="2134804348"/>
            <ac:spMk id="7" creationId="{33C23AC3-23F2-4141-BAB5-384005EA1B0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9" creationId="{044EA7DA-DC7D-4022-9DEC-F3B676A6203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49.469" v="838" actId="1038"/>
          <ac:spMkLst>
            <pc:docMk/>
            <pc:sldMk cId="335391689" sldId="2134804348"/>
            <ac:spMk id="10" creationId="{1C27DADA-AD5A-4DFF-A22B-78E230D3896D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28:03.739" v="744" actId="478"/>
          <ac:spMkLst>
            <pc:docMk/>
            <pc:sldMk cId="335391689" sldId="2134804348"/>
            <ac:spMk id="11" creationId="{E2401952-46EF-4B8D-8DC3-DF85FB63337C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32:22.801" v="817" actId="1076"/>
          <ac:spMkLst>
            <pc:docMk/>
            <pc:sldMk cId="335391689" sldId="2134804348"/>
            <ac:spMk id="12" creationId="{B017B4C1-B192-4C1C-A644-70D1262C759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15" creationId="{EC155108-24C9-41BB-AFB7-1D8B4E0A383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18" creationId="{B9A102DE-B6E2-4A96-917C-4764462F2DD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19" creationId="{70675E72-95A3-4317-B24A-EF51AC8AE23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23" creationId="{5DB1FF86-7D4A-4D95-BFED-8DC3F579D0A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49.469" v="838" actId="1038"/>
          <ac:spMkLst>
            <pc:docMk/>
            <pc:sldMk cId="335391689" sldId="2134804348"/>
            <ac:spMk id="27" creationId="{7F32EAE5-7D23-41BF-B948-664D0797EFC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33.553" v="979" actId="1076"/>
          <ac:spMkLst>
            <pc:docMk/>
            <pc:sldMk cId="335391689" sldId="2134804348"/>
            <ac:spMk id="28" creationId="{0A0468CC-6255-4B2C-9972-B59508A8160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53.917" v="840" actId="115"/>
          <ac:spMkLst>
            <pc:docMk/>
            <pc:sldMk cId="335391689" sldId="2134804348"/>
            <ac:spMk id="33" creationId="{930E8CEC-501E-450A-8333-EE9FBB1D92F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46.159" v="835" actId="1038"/>
          <ac:spMkLst>
            <pc:docMk/>
            <pc:sldMk cId="335391689" sldId="2134804348"/>
            <ac:spMk id="35" creationId="{370A0884-B0D9-4B7C-828E-66DA080283A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04.641" v="811" actId="1037"/>
          <ac:spMkLst>
            <pc:docMk/>
            <pc:sldMk cId="335391689" sldId="2134804348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3:07.218" v="841" actId="1076"/>
          <ac:spMkLst>
            <pc:docMk/>
            <pc:sldMk cId="335391689" sldId="2134804348"/>
            <ac:spMk id="37" creationId="{B42AA6ED-55EB-4C68-AB89-1C98B4667EE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08.873" v="964" actId="20577"/>
          <ac:spMkLst>
            <pc:docMk/>
            <pc:sldMk cId="335391689" sldId="2134804348"/>
            <ac:spMk id="38" creationId="{6F153D85-C1B3-4812-B661-65B2B287C92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40.756" v="825" actId="1037"/>
          <ac:spMkLst>
            <pc:docMk/>
            <pc:sldMk cId="335391689" sldId="2134804348"/>
            <ac:spMk id="40" creationId="{F9005A44-E530-4972-BBE0-B3ED015A6ED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45" creationId="{FDAC7417-BED0-4FA7-A135-61AE3C3597A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49" creationId="{BC0989A0-F438-469C-B078-7A0539BAE3C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10.637" v="966" actId="20577"/>
          <ac:spMkLst>
            <pc:docMk/>
            <pc:sldMk cId="335391689" sldId="2134804348"/>
            <ac:spMk id="50" creationId="{06921F70-A23A-4234-AEF0-735C4590F318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21:22:08.586" v="724" actId="478"/>
          <ac:spMkLst>
            <pc:docMk/>
            <pc:sldMk cId="335391689" sldId="2134804348"/>
            <ac:spMk id="51" creationId="{A5998CEB-AC3A-43B3-8AFE-FC1F90E2C6A6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21:38.352" v="719"/>
          <ac:spMkLst>
            <pc:docMk/>
            <pc:sldMk cId="335391689" sldId="2134804348"/>
            <ac:spMk id="52" creationId="{D9D4C4FD-C516-42D8-9705-F75D5FE24DF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21:48.831" v="720"/>
          <ac:spMkLst>
            <pc:docMk/>
            <pc:sldMk cId="335391689" sldId="2134804348"/>
            <ac:spMk id="53" creationId="{8593FFF2-44E4-496E-BE2E-AF43086D740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01.792" v="957" actId="20577"/>
          <ac:spMkLst>
            <pc:docMk/>
            <pc:sldMk cId="335391689" sldId="2134804348"/>
            <ac:spMk id="66" creationId="{85A29B39-6312-442A-AFE1-79138F45D05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03.610" v="958" actId="20577"/>
          <ac:spMkLst>
            <pc:docMk/>
            <pc:sldMk cId="335391689" sldId="2134804348"/>
            <ac:spMk id="68" creationId="{4EF4C980-19F2-4264-BE5C-AA28E61C726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69" creationId="{38D18292-C467-4CD3-890E-670905EDE7F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05.582" v="960" actId="20577"/>
          <ac:spMkLst>
            <pc:docMk/>
            <pc:sldMk cId="335391689" sldId="2134804348"/>
            <ac:spMk id="70" creationId="{228128D6-7178-4610-A82E-598F630C4F9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73" creationId="{FD23D240-7BB7-4D74-9842-9A4BFE5CAB0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74" creationId="{D5140A26-6B24-4EF8-BA11-E02E558E160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14.473" v="972" actId="20577"/>
          <ac:spMkLst>
            <pc:docMk/>
            <pc:sldMk cId="335391689" sldId="2134804348"/>
            <ac:spMk id="75" creationId="{EC5A3F27-F09F-406D-862F-A6BF1517185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07.267" v="962" actId="20577"/>
          <ac:spMkLst>
            <pc:docMk/>
            <pc:sldMk cId="335391689" sldId="2134804348"/>
            <ac:spMk id="80" creationId="{18FBBB80-789C-4617-A528-93CC43F5E85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12.841" v="970" actId="20577"/>
          <ac:spMkLst>
            <pc:docMk/>
            <pc:sldMk cId="335391689" sldId="2134804348"/>
            <ac:spMk id="82" creationId="{3732F2E4-0A29-43A4-B01E-2185E895078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88" creationId="{7973398C-2C52-4B8D-8FCE-88F4A0575383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spMkLst>
            <pc:docMk/>
            <pc:sldMk cId="335391689" sldId="2134804348"/>
            <ac:spMk id="90" creationId="{2A388E4C-F183-4EF9-BC3F-9238288AED59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spMkLst>
            <pc:docMk/>
            <pc:sldMk cId="335391689" sldId="2134804348"/>
            <ac:spMk id="91" creationId="{1C0B81CC-7EC3-4D9B-9221-99241308FEA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92" creationId="{FFD441DF-7C6A-48D7-996D-F60C3B04B450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spMkLst>
            <pc:docMk/>
            <pc:sldMk cId="335391689" sldId="2134804348"/>
            <ac:spMk id="93" creationId="{2DD79816-F943-403F-9D3C-2508DC63485D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94" creationId="{4DE4A526-D337-4C45-B9BF-7953B17E4C8C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spMkLst>
            <pc:docMk/>
            <pc:sldMk cId="335391689" sldId="2134804348"/>
            <ac:spMk id="95" creationId="{A29591F6-FDF5-4B38-865C-B5CB4C1BFE44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spMkLst>
            <pc:docMk/>
            <pc:sldMk cId="335391689" sldId="2134804348"/>
            <ac:spMk id="96" creationId="{2028C52F-C0A7-4921-A3A1-0737C67216C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98" creationId="{DA64958D-F670-4003-94D5-89324AEC349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99" creationId="{50AAA8E9-B28E-4078-8084-CE8FC926B36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1" creationId="{534E0006-412A-4A70-8509-D48102A32AD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2" creationId="{E72C97B3-D9FF-440C-8EA1-1DA0FA3EA07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4" creationId="{6562D325-B5EF-494E-B188-D8EB174595F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5" creationId="{5CFF2FFB-41EB-4627-BC5D-0BFA181AA38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7" creationId="{647C0285-7B03-4882-BC8B-C5AA439DD19D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8" creationId="{1CBCF47E-07A1-43E1-A050-998B7514E63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0" creationId="{CEB08D07-FEB4-4B88-B0EA-870AAA13B9E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1" creationId="{AFF3050E-22D7-4E00-9EEE-7C73E1AA61A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3" creationId="{10A18850-2534-462D-8A9E-0A383E1FAFA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4" creationId="{AF254029-2B5F-4505-AE3A-B3A56D924DA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6" creationId="{E8E5765D-4DF5-49DC-8C2E-21E1DCA444C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7" creationId="{E061311C-919F-40A9-9ED1-8012721036B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9" creationId="{5F8AD254-2E5A-4931-9A5F-0FCB50E3A01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20" creationId="{185DB20D-4FB1-4158-A64D-E00B529430F3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spMkLst>
            <pc:docMk/>
            <pc:sldMk cId="335391689" sldId="2134804348"/>
            <ac:spMk id="173" creationId="{A59E9B9B-6E55-43A6-816F-4A6877135663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spMkLst>
            <pc:docMk/>
            <pc:sldMk cId="335391689" sldId="2134804348"/>
            <ac:spMk id="174" creationId="{B6E88447-75F0-4EE2-B00C-59DD503751AD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spMkLst>
            <pc:docMk/>
            <pc:sldMk cId="335391689" sldId="2134804348"/>
            <ac:spMk id="175" creationId="{B392BBA3-5A1B-4056-A99C-159F53CB8496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spMkLst>
            <pc:docMk/>
            <pc:sldMk cId="335391689" sldId="2134804348"/>
            <ac:spMk id="176" creationId="{A04628AA-53DA-4B65-A25A-80441B5234DB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spMkLst>
            <pc:docMk/>
            <pc:sldMk cId="335391689" sldId="2134804348"/>
            <ac:spMk id="177" creationId="{2E125876-499F-4500-8332-59B11A9D359B}"/>
          </ac:spMkLst>
        </pc:s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97" creationId="{C2D4752E-37EA-4A7A-B835-75A082D20BB1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00" creationId="{A682B772-5A06-4115-9428-88B59BB66700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03" creationId="{9D33C137-21ED-4B00-8E44-FEF2478FA6D4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06" creationId="{FA42A0BB-CD6A-48AC-BE94-8F6F2C8A39FC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09" creationId="{FA252900-6729-4960-B5DE-9569A3ADF06C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12" creationId="{1413260F-F0BC-4370-A1FE-1F47EA2065B8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15" creationId="{2A2A6382-9001-4544-BAE9-F3B33757F064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18" creationId="{65B00233-7BC8-44FB-A125-015B7CB68F46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78" creationId="{AB40EB61-E9B4-4B33-9F05-E96C6A61939D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81" creationId="{62E8C510-673D-4909-AE2E-5A0FB8872DD3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39:55.049" v="985" actId="478"/>
          <ac:grpSpMkLst>
            <pc:docMk/>
            <pc:sldMk cId="335391689" sldId="2134804348"/>
            <ac:grpSpMk id="184" creationId="{884E2EF6-A695-4099-A2B6-0F9547F822CE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87" creationId="{DCDAF61C-0635-4BC1-A730-863B28E19F95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90" creationId="{981B98F0-CA0A-43A1-83BA-CF10C39FD866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93" creationId="{19993FF3-042F-44D4-94B1-522465835A98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96" creationId="{6BC4BE6A-330A-4333-9513-D80FD514C415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99" creationId="{0DA33037-BC53-4E89-89A8-4E4008E6F02B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202" creationId="{0D6396ED-3E1C-4D30-927C-4166E9665353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205" creationId="{7F51F9D1-2BEA-4F61-8537-0FBC2725E248}"/>
          </ac:grpSpMkLst>
        </pc:grpChg>
      </pc:sldChg>
      <pc:sldChg chg="del ord">
        <pc:chgData name="Mariam Daniela Tristancho Pineda (MISION TEMPORAL LTDA)" userId="a45a17f7-7950-4cb5-bfab-f5c894f959a9" providerId="ADAL" clId="{15586BA0-617D-4D92-8B61-04A1723CD33C}" dt="2020-07-31T21:01:57.875" v="690" actId="47"/>
        <pc:sldMkLst>
          <pc:docMk/>
          <pc:sldMk cId="1733347535" sldId="2134804349"/>
        </pc:sldMkLst>
      </pc:sldChg>
      <pc:sldChg chg="del">
        <pc:chgData name="Mariam Daniela Tristancho Pineda (MISION TEMPORAL LTDA)" userId="a45a17f7-7950-4cb5-bfab-f5c894f959a9" providerId="ADAL" clId="{15586BA0-617D-4D92-8B61-04A1723CD33C}" dt="2020-07-31T21:02:00.430" v="693" actId="47"/>
        <pc:sldMkLst>
          <pc:docMk/>
          <pc:sldMk cId="4149911555" sldId="2134804350"/>
        </pc:sldMkLst>
      </pc:sldChg>
      <pc:sldChg chg="del ord">
        <pc:chgData name="Mariam Daniela Tristancho Pineda (MISION TEMPORAL LTDA)" userId="a45a17f7-7950-4cb5-bfab-f5c894f959a9" providerId="ADAL" clId="{15586BA0-617D-4D92-8B61-04A1723CD33C}" dt="2020-07-31T21:01:58.548" v="691" actId="47"/>
        <pc:sldMkLst>
          <pc:docMk/>
          <pc:sldMk cId="2519932516" sldId="2134804351"/>
        </pc:sldMkLst>
      </pc:sldChg>
      <pc:sldChg chg="modSp add mod">
        <pc:chgData name="Mariam Daniela Tristancho Pineda (MISION TEMPORAL LTDA)" userId="a45a17f7-7950-4cb5-bfab-f5c894f959a9" providerId="ADAL" clId="{15586BA0-617D-4D92-8B61-04A1723CD33C}" dt="2020-07-29T20:26:28.165" v="149" actId="20577"/>
        <pc:sldMkLst>
          <pc:docMk/>
          <pc:sldMk cId="4127320320" sldId="2134804352"/>
        </pc:sldMkLst>
        <pc:spChg chg="mod">
          <ac:chgData name="Mariam Daniela Tristancho Pineda (MISION TEMPORAL LTDA)" userId="a45a17f7-7950-4cb5-bfab-f5c894f959a9" providerId="ADAL" clId="{15586BA0-617D-4D92-8B61-04A1723CD33C}" dt="2020-07-29T20:26:28.165" v="149" actId="20577"/>
          <ac:spMkLst>
            <pc:docMk/>
            <pc:sldMk cId="4127320320" sldId="2134804352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20:26:17.402" v="138" actId="1076"/>
          <ac:spMkLst>
            <pc:docMk/>
            <pc:sldMk cId="4127320320" sldId="2134804352"/>
            <ac:spMk id="3" creationId="{30F9CFD9-5990-468D-9B1E-2AB69F9844AA}"/>
          </ac:spMkLst>
        </pc:spChg>
      </pc:sldChg>
      <pc:sldChg chg="modSp mod">
        <pc:chgData name="Mariam Daniela Tristancho Pineda (MISION TEMPORAL LTDA)" userId="a45a17f7-7950-4cb5-bfab-f5c894f959a9" providerId="ADAL" clId="{15586BA0-617D-4D92-8B61-04A1723CD33C}" dt="2020-07-31T15:45:02.904" v="380" actId="6549"/>
        <pc:sldMkLst>
          <pc:docMk/>
          <pc:sldMk cId="633750259" sldId="2134804353"/>
        </pc:sldMkLst>
        <pc:spChg chg="mod">
          <ac:chgData name="Mariam Daniela Tristancho Pineda (MISION TEMPORAL LTDA)" userId="a45a17f7-7950-4cb5-bfab-f5c894f959a9" providerId="ADAL" clId="{15586BA0-617D-4D92-8B61-04A1723CD33C}" dt="2020-07-31T15:45:02.904" v="380" actId="6549"/>
          <ac:spMkLst>
            <pc:docMk/>
            <pc:sldMk cId="633750259" sldId="2134804353"/>
            <ac:spMk id="2" creationId="{6431BBCF-96E5-45A7-B7E5-D44090D06329}"/>
          </ac:spMkLst>
        </pc:spChg>
      </pc:sldChg>
      <pc:sldChg chg="mod modShow">
        <pc:chgData name="Mariam Daniela Tristancho Pineda (MISION TEMPORAL LTDA)" userId="a45a17f7-7950-4cb5-bfab-f5c894f959a9" providerId="ADAL" clId="{15586BA0-617D-4D92-8B61-04A1723CD33C}" dt="2020-07-31T21:02:51.190" v="695" actId="729"/>
        <pc:sldMkLst>
          <pc:docMk/>
          <pc:sldMk cId="2460799231" sldId="2134804354"/>
        </pc:sldMkLst>
      </pc:sldChg>
      <pc:sldChg chg="delSp modSp add del mod">
        <pc:chgData name="Mariam Daniela Tristancho Pineda (MISION TEMPORAL LTDA)" userId="a45a17f7-7950-4cb5-bfab-f5c894f959a9" providerId="ADAL" clId="{15586BA0-617D-4D92-8B61-04A1723CD33C}" dt="2020-07-31T16:09:21.788" v="557" actId="47"/>
        <pc:sldMkLst>
          <pc:docMk/>
          <pc:sldMk cId="814794875" sldId="2134804355"/>
        </pc:sldMkLst>
        <pc:spChg chg="mod">
          <ac:chgData name="Mariam Daniela Tristancho Pineda (MISION TEMPORAL LTDA)" userId="a45a17f7-7950-4cb5-bfab-f5c894f959a9" providerId="ADAL" clId="{15586BA0-617D-4D92-8B61-04A1723CD33C}" dt="2020-07-31T15:24:46.339" v="194" actId="20577"/>
          <ac:spMkLst>
            <pc:docMk/>
            <pc:sldMk cId="814794875" sldId="2134804355"/>
            <ac:spMk id="12" creationId="{48D3FC9D-D2E5-4F68-90A5-0B7F294934A1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24:40.003" v="192" actId="478"/>
          <ac:spMkLst>
            <pc:docMk/>
            <pc:sldMk cId="814794875" sldId="2134804355"/>
            <ac:spMk id="18" creationId="{71E963B9-F3AB-43BB-9A67-121B81D5AAA3}"/>
          </ac:spMkLst>
        </pc:spChg>
      </pc:sldChg>
      <pc:sldChg chg="del">
        <pc:chgData name="Mariam Daniela Tristancho Pineda (MISION TEMPORAL LTDA)" userId="a45a17f7-7950-4cb5-bfab-f5c894f959a9" providerId="ADAL" clId="{15586BA0-617D-4D92-8B61-04A1723CD33C}" dt="2020-07-29T14:01:33.547" v="15" actId="47"/>
        <pc:sldMkLst>
          <pc:docMk/>
          <pc:sldMk cId="1132069796" sldId="2134804355"/>
        </pc:sldMkLst>
      </pc:sldChg>
      <pc:sldChg chg="add del ord">
        <pc:chgData name="Mariam Daniela Tristancho Pineda (MISION TEMPORAL LTDA)" userId="a45a17f7-7950-4cb5-bfab-f5c894f959a9" providerId="ADAL" clId="{15586BA0-617D-4D92-8B61-04A1723CD33C}" dt="2020-07-31T16:09:02.217" v="556" actId="47"/>
        <pc:sldMkLst>
          <pc:docMk/>
          <pc:sldMk cId="1387766737" sldId="2134804356"/>
        </pc:sldMkLst>
      </pc:sldChg>
      <pc:sldChg chg="add del">
        <pc:chgData name="Mariam Daniela Tristancho Pineda (MISION TEMPORAL LTDA)" userId="a45a17f7-7950-4cb5-bfab-f5c894f959a9" providerId="ADAL" clId="{15586BA0-617D-4D92-8B61-04A1723CD33C}" dt="2020-07-31T21:45:04.338" v="1053" actId="47"/>
        <pc:sldMkLst>
          <pc:docMk/>
          <pc:sldMk cId="733372354" sldId="2134804357"/>
        </pc:sldMkLst>
      </pc:sldChg>
      <pc:sldChg chg="addSp modSp new del mod">
        <pc:chgData name="Mariam Daniela Tristancho Pineda (MISION TEMPORAL LTDA)" userId="a45a17f7-7950-4cb5-bfab-f5c894f959a9" providerId="ADAL" clId="{15586BA0-617D-4D92-8B61-04A1723CD33C}" dt="2020-07-31T21:01:26.546" v="675" actId="47"/>
        <pc:sldMkLst>
          <pc:docMk/>
          <pc:sldMk cId="2309825519" sldId="2134804358"/>
        </pc:sldMkLst>
        <pc:sp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spMkLst>
            <pc:docMk/>
            <pc:sldMk cId="2309825519" sldId="2134804358"/>
            <ac:spMk id="10" creationId="{EAFDAF03-9404-43D2-83F3-4327C5AEE02F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16.592" v="628" actId="20577"/>
          <ac:spMkLst>
            <pc:docMk/>
            <pc:sldMk cId="2309825519" sldId="2134804358"/>
            <ac:spMk id="16" creationId="{6113E051-6C07-4AF8-919F-C2CF4A2B5552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spMkLst>
            <pc:docMk/>
            <pc:sldMk cId="2309825519" sldId="2134804358"/>
            <ac:spMk id="18" creationId="{962D618F-BD7F-4703-9053-F8B63F0F9849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spMkLst>
            <pc:docMk/>
            <pc:sldMk cId="2309825519" sldId="2134804358"/>
            <ac:spMk id="20" creationId="{0EA23B20-203F-4A2E-AD64-A1C16DE8EE84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spMkLst>
            <pc:docMk/>
            <pc:sldMk cId="2309825519" sldId="2134804358"/>
            <ac:spMk id="22" creationId="{9222278E-97E1-459C-B1D7-C224F9D2A83E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spMkLst>
            <pc:docMk/>
            <pc:sldMk cId="2309825519" sldId="2134804358"/>
            <ac:spMk id="24" creationId="{37B6C0FA-F81C-4901-AC8A-3505EE7A92EC}"/>
          </ac:spMkLst>
        </pc:spChg>
        <pc:graphicFrame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graphicFrameMkLst>
            <pc:docMk/>
            <pc:sldMk cId="2309825519" sldId="2134804358"/>
            <ac:graphicFrameMk id="4" creationId="{1D5CA866-2777-41D9-8B72-EF389A36D97D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graphicFrameMkLst>
            <pc:docMk/>
            <pc:sldMk cId="2309825519" sldId="2134804358"/>
            <ac:graphicFrameMk id="6" creationId="{E92D650B-3FF0-4BD7-BF18-335AF2B4A2EE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graphicFrameMkLst>
            <pc:docMk/>
            <pc:sldMk cId="2309825519" sldId="2134804358"/>
            <ac:graphicFrameMk id="8" creationId="{6D19562F-87C6-4C0C-AAD5-7957173EE09F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graphicFrameMkLst>
            <pc:docMk/>
            <pc:sldMk cId="2309825519" sldId="2134804358"/>
            <ac:graphicFrameMk id="12" creationId="{AD2EBE75-5D31-4D84-B8E6-B41BCCC25A69}"/>
          </ac:graphicFrameMkLst>
        </pc:graphicFrameChg>
        <pc:graphicFrameChg chg="add mod modGraphic">
          <ac:chgData name="Mariam Daniela Tristancho Pineda (MISION TEMPORAL LTDA)" userId="a45a17f7-7950-4cb5-bfab-f5c894f959a9" providerId="ADAL" clId="{15586BA0-617D-4D92-8B61-04A1723CD33C}" dt="2020-07-31T16:10:58.052" v="608" actId="1036"/>
          <ac:graphicFrameMkLst>
            <pc:docMk/>
            <pc:sldMk cId="2309825519" sldId="2134804358"/>
            <ac:graphicFrameMk id="14" creationId="{2D8D2423-D98A-4112-BE7B-4D5F628BA0D9}"/>
          </ac:graphicFrameMkLst>
        </pc:graphicFrameChg>
      </pc:sldChg>
      <pc:sldChg chg="addSp delSp modSp new del mod">
        <pc:chgData name="Mariam Daniela Tristancho Pineda (MISION TEMPORAL LTDA)" userId="a45a17f7-7950-4cb5-bfab-f5c894f959a9" providerId="ADAL" clId="{15586BA0-617D-4D92-8B61-04A1723CD33C}" dt="2020-07-31T21:01:54.954" v="685" actId="47"/>
        <pc:sldMkLst>
          <pc:docMk/>
          <pc:sldMk cId="3347687392" sldId="2134804359"/>
        </pc:sldMkLst>
        <pc:spChg chg="del">
          <ac:chgData name="Mariam Daniela Tristancho Pineda (MISION TEMPORAL LTDA)" userId="a45a17f7-7950-4cb5-bfab-f5c894f959a9" providerId="ADAL" clId="{15586BA0-617D-4D92-8B61-04A1723CD33C}" dt="2020-07-31T16:11:29.970" v="630" actId="478"/>
          <ac:spMkLst>
            <pc:docMk/>
            <pc:sldMk cId="3347687392" sldId="2134804359"/>
            <ac:spMk id="3" creationId="{EDAE0E46-53B5-4984-A246-341932384A41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spMkLst>
            <pc:docMk/>
            <pc:sldMk cId="3347687392" sldId="2134804359"/>
            <ac:spMk id="11" creationId="{B76E796D-C382-4C19-B211-75BC715F2B5F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spMkLst>
            <pc:docMk/>
            <pc:sldMk cId="3347687392" sldId="2134804359"/>
            <ac:spMk id="17" creationId="{4F09D926-706D-467C-9610-0CCF49DC44B8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spMkLst>
            <pc:docMk/>
            <pc:sldMk cId="3347687392" sldId="2134804359"/>
            <ac:spMk id="19" creationId="{C4F7FB75-5583-4C5E-BBA9-065355B94409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spMkLst>
            <pc:docMk/>
            <pc:sldMk cId="3347687392" sldId="2134804359"/>
            <ac:spMk id="21" creationId="{7F6176E4-1417-4A13-9B2B-1AF60EA7F2F6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spMkLst>
            <pc:docMk/>
            <pc:sldMk cId="3347687392" sldId="2134804359"/>
            <ac:spMk id="23" creationId="{6047F71E-627B-4B2D-81F2-6ECDB67CCC05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3:06.987" v="665" actId="14100"/>
          <ac:spMkLst>
            <pc:docMk/>
            <pc:sldMk cId="3347687392" sldId="2134804359"/>
            <ac:spMk id="25" creationId="{DE8BF431-EF4A-4AD0-BE72-9C1DBCFB8CD9}"/>
          </ac:spMkLst>
        </pc:spChg>
        <pc:graphicFrame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graphicFrameMkLst>
            <pc:docMk/>
            <pc:sldMk cId="3347687392" sldId="2134804359"/>
            <ac:graphicFrameMk id="5" creationId="{17E16BF1-F7F6-4830-94F1-3ECEAF26BA00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graphicFrameMkLst>
            <pc:docMk/>
            <pc:sldMk cId="3347687392" sldId="2134804359"/>
            <ac:graphicFrameMk id="7" creationId="{9DE8A8D7-0BF7-42B7-9D67-1F7CAC994C7D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graphicFrameMkLst>
            <pc:docMk/>
            <pc:sldMk cId="3347687392" sldId="2134804359"/>
            <ac:graphicFrameMk id="9" creationId="{DA3660D2-7C30-42E3-A228-882059195AF4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graphicFrameMkLst>
            <pc:docMk/>
            <pc:sldMk cId="3347687392" sldId="2134804359"/>
            <ac:graphicFrameMk id="13" creationId="{52460079-572B-4DE7-92F3-2FD56D53079F}"/>
          </ac:graphicFrameMkLst>
        </pc:graphicFrameChg>
        <pc:graphicFrameChg chg="add mod modGraphic">
          <ac:chgData name="Mariam Daniela Tristancho Pineda (MISION TEMPORAL LTDA)" userId="a45a17f7-7950-4cb5-bfab-f5c894f959a9" providerId="ADAL" clId="{15586BA0-617D-4D92-8B61-04A1723CD33C}" dt="2020-07-31T16:11:50.623" v="663" actId="14100"/>
          <ac:graphicFrameMkLst>
            <pc:docMk/>
            <pc:sldMk cId="3347687392" sldId="2134804359"/>
            <ac:graphicFrameMk id="15" creationId="{7B50DF96-9ED1-402F-8E08-BA1604B440D0}"/>
          </ac:graphicFrameMkLst>
        </pc:graphicFrameChg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4223154574" sldId="2134804360"/>
        </pc:sldMkLst>
      </pc:sldChg>
      <pc:sldChg chg="modSp add mod">
        <pc:chgData name="Mariam Daniela Tristancho Pineda (MISION TEMPORAL LTDA)" userId="a45a17f7-7950-4cb5-bfab-f5c894f959a9" providerId="ADAL" clId="{15586BA0-617D-4D92-8B61-04A1723CD33C}" dt="2020-07-31T21:03:27.755" v="698" actId="6549"/>
        <pc:sldMkLst>
          <pc:docMk/>
          <pc:sldMk cId="4143138041" sldId="2134804361"/>
        </pc:sldMkLst>
        <pc:spChg chg="mod">
          <ac:chgData name="Mariam Daniela Tristancho Pineda (MISION TEMPORAL LTDA)" userId="a45a17f7-7950-4cb5-bfab-f5c894f959a9" providerId="ADAL" clId="{15586BA0-617D-4D92-8B61-04A1723CD33C}" dt="2020-07-31T21:03:27.755" v="698" actId="6549"/>
          <ac:spMkLst>
            <pc:docMk/>
            <pc:sldMk cId="4143138041" sldId="2134804361"/>
            <ac:spMk id="135" creationId="{C1823568-A421-4254-9106-BAEB76F16B72}"/>
          </ac:spMkLst>
        </pc:spChg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2446190859" sldId="2134804362"/>
        </pc:sldMkLst>
      </pc:sldChg>
      <pc:sldChg chg="modSp add mod">
        <pc:chgData name="Mariam Daniela Tristancho Pineda (MISION TEMPORAL LTDA)" userId="a45a17f7-7950-4cb5-bfab-f5c894f959a9" providerId="ADAL" clId="{15586BA0-617D-4D92-8B61-04A1723CD33C}" dt="2020-07-31T21:03:35.475" v="699" actId="6549"/>
        <pc:sldMkLst>
          <pc:docMk/>
          <pc:sldMk cId="2429189956" sldId="2134804363"/>
        </pc:sldMkLst>
        <pc:spChg chg="mod">
          <ac:chgData name="Mariam Daniela Tristancho Pineda (MISION TEMPORAL LTDA)" userId="a45a17f7-7950-4cb5-bfab-f5c894f959a9" providerId="ADAL" clId="{15586BA0-617D-4D92-8B61-04A1723CD33C}" dt="2020-07-31T21:03:35.475" v="699" actId="6549"/>
          <ac:spMkLst>
            <pc:docMk/>
            <pc:sldMk cId="2429189956" sldId="2134804363"/>
            <ac:spMk id="135" creationId="{C1823568-A421-4254-9106-BAEB76F16B72}"/>
          </ac:spMkLst>
        </pc:spChg>
      </pc:sldChg>
      <pc:sldChg chg="modSp add mod">
        <pc:chgData name="Mariam Daniela Tristancho Pineda (MISION TEMPORAL LTDA)" userId="a45a17f7-7950-4cb5-bfab-f5c894f959a9" providerId="ADAL" clId="{15586BA0-617D-4D92-8B61-04A1723CD33C}" dt="2020-07-31T21:03:39.662" v="700" actId="6549"/>
        <pc:sldMkLst>
          <pc:docMk/>
          <pc:sldMk cId="2187455397" sldId="2134804364"/>
        </pc:sldMkLst>
        <pc:spChg chg="mod">
          <ac:chgData name="Mariam Daniela Tristancho Pineda (MISION TEMPORAL LTDA)" userId="a45a17f7-7950-4cb5-bfab-f5c894f959a9" providerId="ADAL" clId="{15586BA0-617D-4D92-8B61-04A1723CD33C}" dt="2020-07-31T21:03:39.662" v="700" actId="6549"/>
          <ac:spMkLst>
            <pc:docMk/>
            <pc:sldMk cId="2187455397" sldId="2134804364"/>
            <ac:spMk id="135" creationId="{C1823568-A421-4254-9106-BAEB76F16B72}"/>
          </ac:spMkLst>
        </pc:spChg>
      </pc:sldChg>
      <pc:sldChg chg="modSp add mod">
        <pc:chgData name="Mariam Daniela Tristancho Pineda (MISION TEMPORAL LTDA)" userId="a45a17f7-7950-4cb5-bfab-f5c894f959a9" providerId="ADAL" clId="{15586BA0-617D-4D92-8B61-04A1723CD33C}" dt="2020-07-31T21:03:43.268" v="701" actId="6549"/>
        <pc:sldMkLst>
          <pc:docMk/>
          <pc:sldMk cId="2769128965" sldId="2134804365"/>
        </pc:sldMkLst>
        <pc:spChg chg="mod">
          <ac:chgData name="Mariam Daniela Tristancho Pineda (MISION TEMPORAL LTDA)" userId="a45a17f7-7950-4cb5-bfab-f5c894f959a9" providerId="ADAL" clId="{15586BA0-617D-4D92-8B61-04A1723CD33C}" dt="2020-07-31T21:03:43.268" v="701" actId="6549"/>
          <ac:spMkLst>
            <pc:docMk/>
            <pc:sldMk cId="2769128965" sldId="2134804365"/>
            <ac:spMk id="135" creationId="{C1823568-A421-4254-9106-BAEB76F16B72}"/>
          </ac:spMkLst>
        </pc:spChg>
      </pc:sldChg>
      <pc:sldChg chg="modSp add mod">
        <pc:chgData name="Mariam Daniela Tristancho Pineda (MISION TEMPORAL LTDA)" userId="a45a17f7-7950-4cb5-bfab-f5c894f959a9" providerId="ADAL" clId="{15586BA0-617D-4D92-8B61-04A1723CD33C}" dt="2020-07-31T21:03:46.615" v="702" actId="6549"/>
        <pc:sldMkLst>
          <pc:docMk/>
          <pc:sldMk cId="2154316516" sldId="2134804366"/>
        </pc:sldMkLst>
        <pc:spChg chg="mod">
          <ac:chgData name="Mariam Daniela Tristancho Pineda (MISION TEMPORAL LTDA)" userId="a45a17f7-7950-4cb5-bfab-f5c894f959a9" providerId="ADAL" clId="{15586BA0-617D-4D92-8B61-04A1723CD33C}" dt="2020-07-31T21:03:46.615" v="702" actId="6549"/>
          <ac:spMkLst>
            <pc:docMk/>
            <pc:sldMk cId="2154316516" sldId="2134804366"/>
            <ac:spMk id="135" creationId="{C1823568-A421-4254-9106-BAEB76F16B72}"/>
          </ac:spMkLst>
        </pc:spChg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1068210842" sldId="2134804367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587350936" sldId="2134804368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2963898244" sldId="2134804369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3226895650" sldId="2134804370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219746583" sldId="2134804371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1530950705" sldId="2134804372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1024743334" sldId="2134804373"/>
        </pc:sldMkLst>
      </pc:sldChg>
      <pc:sldChg chg="addSp delSp add mod">
        <pc:chgData name="Mariam Daniela Tristancho Pineda (MISION TEMPORAL LTDA)" userId="a45a17f7-7950-4cb5-bfab-f5c894f959a9" providerId="ADAL" clId="{15586BA0-617D-4D92-8B61-04A1723CD33C}" dt="2020-07-31T21:01:37.076" v="678" actId="478"/>
        <pc:sldMkLst>
          <pc:docMk/>
          <pc:sldMk cId="2751538595" sldId="2134804374"/>
        </pc:sldMkLst>
        <pc:spChg chg="add del">
          <ac:chgData name="Mariam Daniela Tristancho Pineda (MISION TEMPORAL LTDA)" userId="a45a17f7-7950-4cb5-bfab-f5c894f959a9" providerId="ADAL" clId="{15586BA0-617D-4D92-8B61-04A1723CD33C}" dt="2020-07-31T21:01:37.076" v="678" actId="478"/>
          <ac:spMkLst>
            <pc:docMk/>
            <pc:sldMk cId="2751538595" sldId="2134804374"/>
            <ac:spMk id="6" creationId="{A2121E97-F43F-4327-A7E9-C94195168362}"/>
          </ac:spMkLst>
        </pc:spChg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488218476" sldId="2134804375"/>
        </pc:sldMkLst>
      </pc:sldChg>
      <pc:sldMasterChg chg="delSldLayout">
        <pc:chgData name="Mariam Daniela Tristancho Pineda (MISION TEMPORAL LTDA)" userId="a45a17f7-7950-4cb5-bfab-f5c894f959a9" providerId="ADAL" clId="{15586BA0-617D-4D92-8B61-04A1723CD33C}" dt="2020-07-31T16:11:43.794" v="661" actId="47"/>
        <pc:sldMasterMkLst>
          <pc:docMk/>
          <pc:sldMasterMk cId="2612954595" sldId="2147483660"/>
        </pc:sldMasterMkLst>
        <pc:sldLayoutChg chg="del">
          <pc:chgData name="Mariam Daniela Tristancho Pineda (MISION TEMPORAL LTDA)" userId="a45a17f7-7950-4cb5-bfab-f5c894f959a9" providerId="ADAL" clId="{15586BA0-617D-4D92-8B61-04A1723CD33C}" dt="2020-07-31T16:08:58.720" v="555" actId="47"/>
          <pc:sldLayoutMkLst>
            <pc:docMk/>
            <pc:sldMasterMk cId="2612954595" sldId="2147483660"/>
            <pc:sldLayoutMk cId="905373090" sldId="2147483669"/>
          </pc:sldLayoutMkLst>
        </pc:sldLayoutChg>
        <pc:sldLayoutChg chg="del">
          <pc:chgData name="Mariam Daniela Tristancho Pineda (MISION TEMPORAL LTDA)" userId="a45a17f7-7950-4cb5-bfab-f5c894f959a9" providerId="ADAL" clId="{15586BA0-617D-4D92-8B61-04A1723CD33C}" dt="2020-07-31T16:11:43.794" v="661" actId="47"/>
          <pc:sldLayoutMkLst>
            <pc:docMk/>
            <pc:sldMasterMk cId="2612954595" sldId="2147483660"/>
            <pc:sldLayoutMk cId="2776410257" sldId="2147483669"/>
          </pc:sldLayoutMkLst>
        </pc:sldLayoutChg>
      </pc:sldMasterChg>
    </pc:docChg>
  </pc:docChgLst>
  <pc:docChgLst>
    <pc:chgData name="Andrea Mogollon Nossa (CENIT)" userId="S::andrea.mogollon@cenit-transporte.com::f6a3e592-cc27-4858-b185-ff86be206069" providerId="AD" clId="Web-{1BDA9226-212A-136F-DB8A-09D35B0E17C8}"/>
    <pc:docChg chg="modSld">
      <pc:chgData name="Andrea Mogollon Nossa (CENIT)" userId="S::andrea.mogollon@cenit-transporte.com::f6a3e592-cc27-4858-b185-ff86be206069" providerId="AD" clId="Web-{1BDA9226-212A-136F-DB8A-09D35B0E17C8}" dt="2020-06-19T13:44:01.568" v="4" actId="14100"/>
      <pc:docMkLst>
        <pc:docMk/>
      </pc:docMkLst>
      <pc:sldChg chg="addSp modSp">
        <pc:chgData name="Andrea Mogollon Nossa (CENIT)" userId="S::andrea.mogollon@cenit-transporte.com::f6a3e592-cc27-4858-b185-ff86be206069" providerId="AD" clId="Web-{1BDA9226-212A-136F-DB8A-09D35B0E17C8}" dt="2020-06-19T13:44:01.568" v="4" actId="14100"/>
        <pc:sldMkLst>
          <pc:docMk/>
          <pc:sldMk cId="838099151" sldId="2134804292"/>
        </pc:sldMkLst>
        <pc:spChg chg="mod">
          <ac:chgData name="Andrea Mogollon Nossa (CENIT)" userId="S::andrea.mogollon@cenit-transporte.com::f6a3e592-cc27-4858-b185-ff86be206069" providerId="AD" clId="Web-{1BDA9226-212A-136F-DB8A-09D35B0E17C8}" dt="2020-06-19T13:43:46.818" v="2" actId="1076"/>
          <ac:spMkLst>
            <pc:docMk/>
            <pc:sldMk cId="838099151" sldId="2134804292"/>
            <ac:spMk id="71" creationId="{A69B7E9C-1301-476B-9B8D-50B1CA3CB77F}"/>
          </ac:spMkLst>
        </pc:spChg>
        <pc:spChg chg="add mod">
          <ac:chgData name="Andrea Mogollon Nossa (CENIT)" userId="S::andrea.mogollon@cenit-transporte.com::f6a3e592-cc27-4858-b185-ff86be206069" providerId="AD" clId="Web-{1BDA9226-212A-136F-DB8A-09D35B0E17C8}" dt="2020-06-19T13:44:01.568" v="4" actId="14100"/>
          <ac:spMkLst>
            <pc:docMk/>
            <pc:sldMk cId="838099151" sldId="2134804292"/>
            <ac:spMk id="89" creationId="{C663BB5A-D4A1-45C8-A094-4E132713CB94}"/>
          </ac:spMkLst>
        </pc:spChg>
      </pc:sldChg>
    </pc:docChg>
  </pc:docChgLst>
  <pc:docChgLst>
    <pc:chgData name="Mariam Daniela Tristancho Pineda (PTA SAS)" userId="a45a17f7-7950-4cb5-bfab-f5c894f959a9" providerId="ADAL" clId="{68AF6A18-2DFA-474F-B3D4-EA1F79C90E38}"/>
    <pc:docChg chg="modSld sldOrd">
      <pc:chgData name="Mariam Daniela Tristancho Pineda (PTA SAS)" userId="a45a17f7-7950-4cb5-bfab-f5c894f959a9" providerId="ADAL" clId="{68AF6A18-2DFA-474F-B3D4-EA1F79C90E38}" dt="2020-12-11T16:16:54.834" v="1"/>
      <pc:docMkLst>
        <pc:docMk/>
      </pc:docMkLst>
      <pc:sldChg chg="ord">
        <pc:chgData name="Mariam Daniela Tristancho Pineda (PTA SAS)" userId="a45a17f7-7950-4cb5-bfab-f5c894f959a9" providerId="ADAL" clId="{68AF6A18-2DFA-474F-B3D4-EA1F79C90E38}" dt="2020-12-11T16:16:54.834" v="1"/>
        <pc:sldMkLst>
          <pc:docMk/>
          <pc:sldMk cId="1120597878" sldId="2134804243"/>
        </pc:sldMkLst>
      </pc:sldChg>
    </pc:docChg>
  </pc:docChgLst>
  <pc:docChgLst>
    <pc:chgData name="Usuario invitado" userId="S::urn:spo:anon#9958016e3e12af99a6c120d01775a042b81b7ac779b248bfa4c093fcc2a1c362::" providerId="AD" clId="Web-{7DE524C8-4B2A-7FD6-5343-3930B228641C}"/>
    <pc:docChg chg="delSld modSld">
      <pc:chgData name="Usuario invitado" userId="S::urn:spo:anon#9958016e3e12af99a6c120d01775a042b81b7ac779b248bfa4c093fcc2a1c362::" providerId="AD" clId="Web-{7DE524C8-4B2A-7FD6-5343-3930B228641C}" dt="2020-06-17T17:20:33.683" v="58" actId="1076"/>
      <pc:docMkLst>
        <pc:docMk/>
      </pc:docMkLst>
      <pc:sldChg chg="del">
        <pc:chgData name="Usuario invitado" userId="S::urn:spo:anon#9958016e3e12af99a6c120d01775a042b81b7ac779b248bfa4c093fcc2a1c362::" providerId="AD" clId="Web-{7DE524C8-4B2A-7FD6-5343-3930B228641C}" dt="2020-06-17T17:16:02.774" v="0"/>
        <pc:sldMkLst>
          <pc:docMk/>
          <pc:sldMk cId="161167782" sldId="2134804298"/>
        </pc:sldMkLst>
      </pc:sldChg>
      <pc:sldChg chg="addSp modSp">
        <pc:chgData name="Usuario invitado" userId="S::urn:spo:anon#9958016e3e12af99a6c120d01775a042b81b7ac779b248bfa4c093fcc2a1c362::" providerId="AD" clId="Web-{7DE524C8-4B2A-7FD6-5343-3930B228641C}" dt="2020-06-17T17:20:33.683" v="58" actId="1076"/>
        <pc:sldMkLst>
          <pc:docMk/>
          <pc:sldMk cId="888575759" sldId="2134804310"/>
        </pc:sldMkLst>
        <pc:spChg chg="mod">
          <ac:chgData name="Usuario invitado" userId="S::urn:spo:anon#9958016e3e12af99a6c120d01775a042b81b7ac779b248bfa4c093fcc2a1c362::" providerId="AD" clId="Web-{7DE524C8-4B2A-7FD6-5343-3930B228641C}" dt="2020-06-17T17:19:27.042" v="25" actId="20577"/>
          <ac:spMkLst>
            <pc:docMk/>
            <pc:sldMk cId="888575759" sldId="2134804310"/>
            <ac:spMk id="4" creationId="{8D7CE29D-5B5D-422A-AFD4-3542EF5AECE6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35.088" v="15"/>
          <ac:spMkLst>
            <pc:docMk/>
            <pc:sldMk cId="888575759" sldId="2134804310"/>
            <ac:spMk id="7" creationId="{DC709DF1-9EE3-450C-A671-EC5F06474CAB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40.823" v="16"/>
          <ac:spMkLst>
            <pc:docMk/>
            <pc:sldMk cId="888575759" sldId="2134804310"/>
            <ac:spMk id="8" creationId="{C2EE283C-164E-417D-8857-BF9E92B02925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48.760" v="18" actId="1076"/>
          <ac:spMkLst>
            <pc:docMk/>
            <pc:sldMk cId="888575759" sldId="2134804310"/>
            <ac:spMk id="9" creationId="{A806DCDE-C774-4055-BB52-13335B10124B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55.354" v="20" actId="14100"/>
          <ac:spMkLst>
            <pc:docMk/>
            <pc:sldMk cId="888575759" sldId="2134804310"/>
            <ac:spMk id="10" creationId="{668DF9D7-8A87-44BC-AC4E-32CC9DDD1A56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28.994" v="14" actId="1076"/>
          <ac:spMkLst>
            <pc:docMk/>
            <pc:sldMk cId="888575759" sldId="2134804310"/>
            <ac:spMk id="17" creationId="{C833C0BC-65B6-4CFB-BE40-4A75511923B2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11.228" v="11"/>
          <ac:spMkLst>
            <pc:docMk/>
            <pc:sldMk cId="888575759" sldId="2134804310"/>
            <ac:spMk id="18" creationId="{5AB1AAF5-3757-46E8-BE65-D942897A3BA1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17.275" v="12"/>
          <ac:spMkLst>
            <pc:docMk/>
            <pc:sldMk cId="888575759" sldId="2134804310"/>
            <ac:spMk id="19" creationId="{74CF077A-13B3-44D7-B551-99041FE15671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22.650" v="13"/>
          <ac:spMkLst>
            <pc:docMk/>
            <pc:sldMk cId="888575759" sldId="2134804310"/>
            <ac:spMk id="20" creationId="{B4625FB5-093C-4C01-8984-C4A9CCAF8D84}"/>
          </ac:spMkLst>
        </pc:spChg>
        <pc:spChg chg="add mod">
          <ac:chgData name="Usuario invitado" userId="S::urn:spo:anon#9958016e3e12af99a6c120d01775a042b81b7ac779b248bfa4c093fcc2a1c362::" providerId="AD" clId="Web-{7DE524C8-4B2A-7FD6-5343-3930B228641C}" dt="2020-06-17T17:20:33.683" v="58" actId="1076"/>
          <ac:spMkLst>
            <pc:docMk/>
            <pc:sldMk cId="888575759" sldId="2134804310"/>
            <ac:spMk id="171" creationId="{C6CEC047-8BDC-4D5F-B351-53BC9E694CED}"/>
          </ac:spMkLst>
        </pc:spChg>
        <pc:grpChg chg="mod">
          <ac:chgData name="Usuario invitado" userId="S::urn:spo:anon#9958016e3e12af99a6c120d01775a042b81b7ac779b248bfa4c093fcc2a1c362::" providerId="AD" clId="Web-{7DE524C8-4B2A-7FD6-5343-3930B228641C}" dt="2020-06-17T17:17:22.103" v="2" actId="1076"/>
          <ac:grpSpMkLst>
            <pc:docMk/>
            <pc:sldMk cId="888575759" sldId="2134804310"/>
            <ac:grpSpMk id="5" creationId="{B8B3F25F-5EEF-49B5-AF43-A778A4A44B6A}"/>
          </ac:grpSpMkLst>
        </pc:grpChg>
        <pc:grpChg chg="mod">
          <ac:chgData name="Usuario invitado" userId="S::urn:spo:anon#9958016e3e12af99a6c120d01775a042b81b7ac779b248bfa4c093fcc2a1c362::" providerId="AD" clId="Web-{7DE524C8-4B2A-7FD6-5343-3930B228641C}" dt="2020-06-17T17:19:01.026" v="21" actId="1076"/>
          <ac:grpSpMkLst>
            <pc:docMk/>
            <pc:sldMk cId="888575759" sldId="2134804310"/>
            <ac:grpSpMk id="15" creationId="{41EBE1F9-8288-4A08-BEED-96A4EBB42235}"/>
          </ac:grpSpMkLst>
        </pc:grpChg>
      </pc:sldChg>
    </pc:docChg>
  </pc:docChgLst>
  <pc:docChgLst>
    <pc:chgData name="Yuly Andrea Castaneda Ramirez (CENIT)" userId="S::yuly.castaneda@cenit-transporte.com::9d6b9224-b289-47c8-b6d4-3bf138101243" providerId="AD" clId="Web-{05A4EE2C-1306-2B54-34D5-73A5B0538B40}"/>
    <pc:docChg chg="modSld">
      <pc:chgData name="Yuly Andrea Castaneda Ramirez (CENIT)" userId="S::yuly.castaneda@cenit-transporte.com::9d6b9224-b289-47c8-b6d4-3bf138101243" providerId="AD" clId="Web-{05A4EE2C-1306-2B54-34D5-73A5B0538B40}" dt="2020-06-24T19:50:00.613" v="49" actId="20577"/>
      <pc:docMkLst>
        <pc:docMk/>
      </pc:docMkLst>
      <pc:sldChg chg="modSp">
        <pc:chgData name="Yuly Andrea Castaneda Ramirez (CENIT)" userId="S::yuly.castaneda@cenit-transporte.com::9d6b9224-b289-47c8-b6d4-3bf138101243" providerId="AD" clId="Web-{05A4EE2C-1306-2B54-34D5-73A5B0538B40}" dt="2020-06-24T19:49:59.895" v="47" actId="20577"/>
        <pc:sldMkLst>
          <pc:docMk/>
          <pc:sldMk cId="3972105642" sldId="2134804288"/>
        </pc:sldMkLst>
        <pc:spChg chg="mod">
          <ac:chgData name="Yuly Andrea Castaneda Ramirez (CENIT)" userId="S::yuly.castaneda@cenit-transporte.com::9d6b9224-b289-47c8-b6d4-3bf138101243" providerId="AD" clId="Web-{05A4EE2C-1306-2B54-34D5-73A5B0538B40}" dt="2020-06-24T19:49:59.895" v="47" actId="20577"/>
          <ac:spMkLst>
            <pc:docMk/>
            <pc:sldMk cId="3972105642" sldId="2134804288"/>
            <ac:spMk id="213" creationId="{CA66B9D5-BBCC-4B05-8D95-45191426A332}"/>
          </ac:spMkLst>
        </pc:spChg>
      </pc:sldChg>
      <pc:sldChg chg="addSp modSp">
        <pc:chgData name="Yuly Andrea Castaneda Ramirez (CENIT)" userId="S::yuly.castaneda@cenit-transporte.com::9d6b9224-b289-47c8-b6d4-3bf138101243" providerId="AD" clId="Web-{05A4EE2C-1306-2B54-34D5-73A5B0538B40}" dt="2020-06-24T19:49:51.598" v="44" actId="20577"/>
        <pc:sldMkLst>
          <pc:docMk/>
          <pc:sldMk cId="1881171097" sldId="2134804309"/>
        </pc:sldMkLst>
        <pc:spChg chg="mod">
          <ac:chgData name="Yuly Andrea Castaneda Ramirez (CENIT)" userId="S::yuly.castaneda@cenit-transporte.com::9d6b9224-b289-47c8-b6d4-3bf138101243" providerId="AD" clId="Web-{05A4EE2C-1306-2B54-34D5-73A5B0538B40}" dt="2020-06-24T19:49:13.238" v="17" actId="1076"/>
          <ac:spMkLst>
            <pc:docMk/>
            <pc:sldMk cId="1881171097" sldId="2134804309"/>
            <ac:spMk id="5" creationId="{6E9A1754-20A7-4B35-82A8-CAADFE6AA79E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300" v="18" actId="1076"/>
          <ac:spMkLst>
            <pc:docMk/>
            <pc:sldMk cId="1881171097" sldId="2134804309"/>
            <ac:spMk id="23" creationId="{19DB4BE3-5133-4C05-9DFC-C8E8F930E13A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347" v="19" actId="1076"/>
          <ac:spMkLst>
            <pc:docMk/>
            <pc:sldMk cId="1881171097" sldId="2134804309"/>
            <ac:spMk id="24" creationId="{389B18D5-C39A-47EE-B3A9-7DEE4189E676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410" v="20" actId="1076"/>
          <ac:spMkLst>
            <pc:docMk/>
            <pc:sldMk cId="1881171097" sldId="2134804309"/>
            <ac:spMk id="25" creationId="{52048D91-45AA-408F-9D1F-D2E9F2D37210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504" v="21" actId="1076"/>
          <ac:spMkLst>
            <pc:docMk/>
            <pc:sldMk cId="1881171097" sldId="2134804309"/>
            <ac:spMk id="27" creationId="{626ADC92-4AB0-48C8-94D3-787A8F6B3965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754" v="25" actId="1076"/>
          <ac:spMkLst>
            <pc:docMk/>
            <pc:sldMk cId="1881171097" sldId="2134804309"/>
            <ac:spMk id="58" creationId="{9E214831-F319-484B-878F-CC814AD0E45E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800" v="26" actId="1076"/>
          <ac:spMkLst>
            <pc:docMk/>
            <pc:sldMk cId="1881171097" sldId="2134804309"/>
            <ac:spMk id="63" creationId="{374BF4F6-A8B2-4663-84A5-7564A6B6BE76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847" v="27" actId="1076"/>
          <ac:spMkLst>
            <pc:docMk/>
            <pc:sldMk cId="1881171097" sldId="2134804309"/>
            <ac:spMk id="65" creationId="{3AB53F82-6278-4D35-87FA-B760C5ACA7CC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566" v="22" actId="1076"/>
          <ac:spMkLst>
            <pc:docMk/>
            <pc:sldMk cId="1881171097" sldId="2134804309"/>
            <ac:spMk id="67" creationId="{0B609A71-0C9E-44AA-A60D-A49754DFA355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910" v="28" actId="1076"/>
          <ac:spMkLst>
            <pc:docMk/>
            <pc:sldMk cId="1881171097" sldId="2134804309"/>
            <ac:spMk id="73" creationId="{AF0C32C2-C6CF-4F2E-8207-CBC53BB5AFCC}"/>
          </ac:spMkLst>
        </pc:spChg>
        <pc:spChg chg="add mod">
          <ac:chgData name="Yuly Andrea Castaneda Ramirez (CENIT)" userId="S::yuly.castaneda@cenit-transporte.com::9d6b9224-b289-47c8-b6d4-3bf138101243" providerId="AD" clId="Web-{05A4EE2C-1306-2B54-34D5-73A5B0538B40}" dt="2020-06-24T19:49:41.644" v="43" actId="14100"/>
          <ac:spMkLst>
            <pc:docMk/>
            <pc:sldMk cId="1881171097" sldId="2134804309"/>
            <ac:spMk id="90" creationId="{8E3DD3AF-C233-44FB-B4AE-0ABE52D2B14E}"/>
          </ac:spMkLst>
        </pc:spChg>
        <pc:spChg chg="add mod">
          <ac:chgData name="Yuly Andrea Castaneda Ramirez (CENIT)" userId="S::yuly.castaneda@cenit-transporte.com::9d6b9224-b289-47c8-b6d4-3bf138101243" providerId="AD" clId="Web-{05A4EE2C-1306-2B54-34D5-73A5B0538B40}" dt="2020-06-24T19:49:29.394" v="37" actId="1076"/>
          <ac:spMkLst>
            <pc:docMk/>
            <pc:sldMk cId="1881171097" sldId="2134804309"/>
            <ac:spMk id="91" creationId="{C024675F-132A-483D-9F7F-A033FBDF3C67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51.598" v="44" actId="20577"/>
          <ac:spMkLst>
            <pc:docMk/>
            <pc:sldMk cId="1881171097" sldId="2134804309"/>
            <ac:spMk id="117" creationId="{CD823FF2-16E5-48CF-8D46-A0FA3D6C7F89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644" v="23" actId="1076"/>
          <ac:spMkLst>
            <pc:docMk/>
            <pc:sldMk cId="1881171097" sldId="2134804309"/>
            <ac:spMk id="118" creationId="{4595D805-A213-43C8-B637-A714BE5381A5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691" v="24" actId="1076"/>
          <ac:spMkLst>
            <pc:docMk/>
            <pc:sldMk cId="1881171097" sldId="2134804309"/>
            <ac:spMk id="132" creationId="{6A90B078-206F-4E1D-89A1-298F78E33B76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957" v="29" actId="1076"/>
          <ac:spMkLst>
            <pc:docMk/>
            <pc:sldMk cId="1881171097" sldId="2134804309"/>
            <ac:spMk id="159" creationId="{B93976E5-27D0-4BF6-A212-0E310DF88389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4.004" v="30" actId="1076"/>
          <ac:spMkLst>
            <pc:docMk/>
            <pc:sldMk cId="1881171097" sldId="2134804309"/>
            <ac:spMk id="160" creationId="{2901AD0B-4413-40F5-ACFA-AFC448843BD0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4.066" v="31" actId="1076"/>
          <ac:spMkLst>
            <pc:docMk/>
            <pc:sldMk cId="1881171097" sldId="2134804309"/>
            <ac:spMk id="170" creationId="{54D05389-E3E9-4168-AFFF-27D476CAFCA2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4.113" v="32" actId="1076"/>
          <ac:spMkLst>
            <pc:docMk/>
            <pc:sldMk cId="1881171097" sldId="2134804309"/>
            <ac:spMk id="171" creationId="{497FA596-462E-412E-B356-7FBE349705A0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4.175" v="33" actId="1076"/>
          <ac:spMkLst>
            <pc:docMk/>
            <pc:sldMk cId="1881171097" sldId="2134804309"/>
            <ac:spMk id="181" creationId="{37080A62-F27F-4A20-A3F0-2EE06B877BC2}"/>
          </ac:spMkLst>
        </pc:spChg>
      </pc:sldChg>
    </pc:docChg>
  </pc:docChgLst>
  <pc:docChgLst>
    <pc:chgData name="Yuly Andrea Castaneda Ramirez (CENIT)" userId="9d6b9224-b289-47c8-b6d4-3bf138101243" providerId="ADAL" clId="{0150EA7A-3692-4CE6-8414-A2D55987BE21}"/>
    <pc:docChg chg="undo custSel addSld delSld modSld sldOrd">
      <pc:chgData name="Yuly Andrea Castaneda Ramirez (CENIT)" userId="9d6b9224-b289-47c8-b6d4-3bf138101243" providerId="ADAL" clId="{0150EA7A-3692-4CE6-8414-A2D55987BE21}" dt="2020-06-18T16:27:33.419" v="2100" actId="6549"/>
      <pc:docMkLst>
        <pc:docMk/>
      </pc:docMkLst>
      <pc:sldChg chg="addSp delSp modSp mod">
        <pc:chgData name="Yuly Andrea Castaneda Ramirez (CENIT)" userId="9d6b9224-b289-47c8-b6d4-3bf138101243" providerId="ADAL" clId="{0150EA7A-3692-4CE6-8414-A2D55987BE21}" dt="2020-06-18T16:27:33.419" v="2100" actId="6549"/>
        <pc:sldMkLst>
          <pc:docMk/>
          <pc:sldMk cId="1803203511" sldId="2134804247"/>
        </pc:sldMkLst>
        <pc:spChg chg="mod">
          <ac:chgData name="Yuly Andrea Castaneda Ramirez (CENIT)" userId="9d6b9224-b289-47c8-b6d4-3bf138101243" providerId="ADAL" clId="{0150EA7A-3692-4CE6-8414-A2D55987BE21}" dt="2020-06-18T16:21:54.171" v="2077" actId="20577"/>
          <ac:spMkLst>
            <pc:docMk/>
            <pc:sldMk cId="1803203511" sldId="2134804247"/>
            <ac:spMk id="94" creationId="{8C9A6A51-23F6-4E40-965F-6AA73D06FAEA}"/>
          </ac:spMkLst>
        </pc:spChg>
        <pc:graphicFrameChg chg="add del mod modGraphic">
          <ac:chgData name="Yuly Andrea Castaneda Ramirez (CENIT)" userId="9d6b9224-b289-47c8-b6d4-3bf138101243" providerId="ADAL" clId="{0150EA7A-3692-4CE6-8414-A2D55987BE21}" dt="2020-06-18T16:27:33.419" v="2100" actId="6549"/>
          <ac:graphicFrameMkLst>
            <pc:docMk/>
            <pc:sldMk cId="1803203511" sldId="2134804247"/>
            <ac:graphicFrameMk id="11" creationId="{9D9D1D21-7943-4251-B296-312E588F0E7D}"/>
          </ac:graphicFrameMkLst>
        </pc:graphicFrameChg>
      </pc:sldChg>
      <pc:sldChg chg="addSp delSp modSp mod ord">
        <pc:chgData name="Yuly Andrea Castaneda Ramirez (CENIT)" userId="9d6b9224-b289-47c8-b6d4-3bf138101243" providerId="ADAL" clId="{0150EA7A-3692-4CE6-8414-A2D55987BE21}" dt="2020-06-17T01:49:29.209" v="2072"/>
        <pc:sldMkLst>
          <pc:docMk/>
          <pc:sldMk cId="3972105642" sldId="2134804288"/>
        </pc:sldMkLst>
        <pc:spChg chg="add del mod">
          <ac:chgData name="Yuly Andrea Castaneda Ramirez (CENIT)" userId="9d6b9224-b289-47c8-b6d4-3bf138101243" providerId="ADAL" clId="{0150EA7A-3692-4CE6-8414-A2D55987BE21}" dt="2020-06-17T00:25:39.019" v="1227" actId="478"/>
          <ac:spMkLst>
            <pc:docMk/>
            <pc:sldMk cId="3972105642" sldId="2134804288"/>
            <ac:spMk id="3" creationId="{1524C45A-97FD-4A0C-A286-8B4FC211198E}"/>
          </ac:spMkLst>
        </pc:spChg>
        <pc:spChg chg="del mod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5" creationId="{6E9A1754-20A7-4B35-82A8-CAADFE6AA79E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0" creationId="{A192B800-F5BA-4DF6-AD24-3F9707FAC6B5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23" creationId="{19DB4BE3-5133-4C05-9DFC-C8E8F930E13A}"/>
          </ac:spMkLst>
        </pc:spChg>
        <pc:spChg chg="del mod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24" creationId="{389B18D5-C39A-47EE-B3A9-7DEE4189E676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25" creationId="{52048D91-45AA-408F-9D1F-D2E9F2D37210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27" creationId="{626ADC92-4AB0-48C8-94D3-787A8F6B3965}"/>
          </ac:spMkLst>
        </pc:spChg>
        <pc:spChg chg="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33" creationId="{7789E6CD-12A8-49BE-BB62-0F2E7B9DA7B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20:39.501" v="1695" actId="14100"/>
          <ac:spMkLst>
            <pc:docMk/>
            <pc:sldMk cId="3972105642" sldId="2134804288"/>
            <ac:spMk id="37" creationId="{3711A2D9-52BE-4CB1-B730-5A820326C85E}"/>
          </ac:spMkLst>
        </pc:spChg>
        <pc:spChg chg="mod">
          <ac:chgData name="Yuly Andrea Castaneda Ramirez (CENIT)" userId="9d6b9224-b289-47c8-b6d4-3bf138101243" providerId="ADAL" clId="{0150EA7A-3692-4CE6-8414-A2D55987BE21}" dt="2020-06-17T01:19:34.838" v="1686" actId="14100"/>
          <ac:spMkLst>
            <pc:docMk/>
            <pc:sldMk cId="3972105642" sldId="2134804288"/>
            <ac:spMk id="38" creationId="{DA34B12E-EB9B-46FF-91FB-EC5344118F0F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59" creationId="{BE3F100C-50B3-4F15-9903-FB21CD00628E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60" creationId="{2F47BFE6-652B-4A11-A467-141CEABC6BB5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28:31.561" v="220" actId="478"/>
          <ac:spMkLst>
            <pc:docMk/>
            <pc:sldMk cId="3972105642" sldId="2134804288"/>
            <ac:spMk id="61" creationId="{36328718-1AD9-4A1D-AD92-CA23A630214F}"/>
          </ac:spMkLst>
        </pc:spChg>
        <pc:spChg chg="add mod">
          <ac:chgData name="Yuly Andrea Castaneda Ramirez (CENIT)" userId="9d6b9224-b289-47c8-b6d4-3bf138101243" providerId="ADAL" clId="{0150EA7A-3692-4CE6-8414-A2D55987BE21}" dt="2020-06-17T01:17:25.912" v="1672" actId="108"/>
          <ac:spMkLst>
            <pc:docMk/>
            <pc:sldMk cId="3972105642" sldId="2134804288"/>
            <ac:spMk id="62" creationId="{86B3BC84-3FA8-44F3-9E3E-59D0739B9318}"/>
          </ac:spMkLst>
        </pc:spChg>
        <pc:spChg chg="add mod">
          <ac:chgData name="Yuly Andrea Castaneda Ramirez (CENIT)" userId="9d6b9224-b289-47c8-b6d4-3bf138101243" providerId="ADAL" clId="{0150EA7A-3692-4CE6-8414-A2D55987BE21}" dt="2020-06-17T01:17:28.563" v="1673" actId="108"/>
          <ac:spMkLst>
            <pc:docMk/>
            <pc:sldMk cId="3972105642" sldId="2134804288"/>
            <ac:spMk id="63" creationId="{51677489-FC2B-4FD1-AEFD-56F1823C4DD5}"/>
          </ac:spMkLst>
        </pc:spChg>
        <pc:spChg chg="add mod">
          <ac:chgData name="Yuly Andrea Castaneda Ramirez (CENIT)" userId="9d6b9224-b289-47c8-b6d4-3bf138101243" providerId="ADAL" clId="{0150EA7A-3692-4CE6-8414-A2D55987BE21}" dt="2020-06-17T01:18:07.989" v="1676" actId="108"/>
          <ac:spMkLst>
            <pc:docMk/>
            <pc:sldMk cId="3972105642" sldId="2134804288"/>
            <ac:spMk id="64" creationId="{0E1F4205-8CA9-4A1C-9852-5354A2D5BA6D}"/>
          </ac:spMkLst>
        </pc:spChg>
        <pc:spChg chg="add mod">
          <ac:chgData name="Yuly Andrea Castaneda Ramirez (CENIT)" userId="9d6b9224-b289-47c8-b6d4-3bf138101243" providerId="ADAL" clId="{0150EA7A-3692-4CE6-8414-A2D55987BE21}" dt="2020-06-17T01:18:10.532" v="1677" actId="108"/>
          <ac:spMkLst>
            <pc:docMk/>
            <pc:sldMk cId="3972105642" sldId="2134804288"/>
            <ac:spMk id="65" creationId="{C2A97AAE-273C-42A5-B6F0-B43634490DE4}"/>
          </ac:spMkLst>
        </pc:spChg>
        <pc:spChg chg="add mod">
          <ac:chgData name="Yuly Andrea Castaneda Ramirez (CENIT)" userId="9d6b9224-b289-47c8-b6d4-3bf138101243" providerId="ADAL" clId="{0150EA7A-3692-4CE6-8414-A2D55987BE21}" dt="2020-06-17T01:04:29.207" v="1571" actId="108"/>
          <ac:spMkLst>
            <pc:docMk/>
            <pc:sldMk cId="3972105642" sldId="2134804288"/>
            <ac:spMk id="66" creationId="{4F30DB82-6F5F-4773-8ADC-002150EA4DCB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67" creationId="{0B609A71-0C9E-44AA-A60D-A49754DFA355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68" creationId="{A3F481BB-1FAB-4410-826E-0D16095DC8A2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69" creationId="{C3C823BF-995B-45B7-AFA2-0AAD6DB53BD5}"/>
          </ac:spMkLst>
        </pc:spChg>
        <pc:spChg chg="add mod">
          <ac:chgData name="Yuly Andrea Castaneda Ramirez (CENIT)" userId="9d6b9224-b289-47c8-b6d4-3bf138101243" providerId="ADAL" clId="{0150EA7A-3692-4CE6-8414-A2D55987BE21}" dt="2020-06-17T01:04:32.081" v="1572" actId="108"/>
          <ac:spMkLst>
            <pc:docMk/>
            <pc:sldMk cId="3972105642" sldId="2134804288"/>
            <ac:spMk id="70" creationId="{6F8256D5-7314-478B-BF21-066A63342058}"/>
          </ac:spMkLst>
        </pc:spChg>
        <pc:spChg chg="add mod">
          <ac:chgData name="Yuly Andrea Castaneda Ramirez (CENIT)" userId="9d6b9224-b289-47c8-b6d4-3bf138101243" providerId="ADAL" clId="{0150EA7A-3692-4CE6-8414-A2D55987BE21}" dt="2020-06-17T01:04:42.314" v="1573" actId="108"/>
          <ac:spMkLst>
            <pc:docMk/>
            <pc:sldMk cId="3972105642" sldId="2134804288"/>
            <ac:spMk id="71" creationId="{3E498C09-BA6B-48BD-8F13-09DCB59426E9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7:35.368" v="753" actId="478"/>
          <ac:spMkLst>
            <pc:docMk/>
            <pc:sldMk cId="3972105642" sldId="2134804288"/>
            <ac:spMk id="72" creationId="{EC18A19B-AF23-4A38-AC3F-897943486A9A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7:36.031" v="754" actId="478"/>
          <ac:spMkLst>
            <pc:docMk/>
            <pc:sldMk cId="3972105642" sldId="2134804288"/>
            <ac:spMk id="73" creationId="{B2FCB792-7CA3-45EE-97ED-435ECCC93D4D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7:33.338" v="752" actId="478"/>
          <ac:spMkLst>
            <pc:docMk/>
            <pc:sldMk cId="3972105642" sldId="2134804288"/>
            <ac:spMk id="74" creationId="{C4EADB9B-7DE8-4582-9123-3C87ABBC8A22}"/>
          </ac:spMkLst>
        </pc:spChg>
        <pc:spChg chg="add mod">
          <ac:chgData name="Yuly Andrea Castaneda Ramirez (CENIT)" userId="9d6b9224-b289-47c8-b6d4-3bf138101243" providerId="ADAL" clId="{0150EA7A-3692-4CE6-8414-A2D55987BE21}" dt="2020-06-17T01:04:04.772" v="1569" actId="14100"/>
          <ac:spMkLst>
            <pc:docMk/>
            <pc:sldMk cId="3972105642" sldId="2134804288"/>
            <ac:spMk id="75" creationId="{E9820DB7-E155-4785-B36A-779BDD021F16}"/>
          </ac:spMkLst>
        </pc:spChg>
        <pc:spChg chg="add mod">
          <ac:chgData name="Yuly Andrea Castaneda Ramirez (CENIT)" userId="9d6b9224-b289-47c8-b6d4-3bf138101243" providerId="ADAL" clId="{0150EA7A-3692-4CE6-8414-A2D55987BE21}" dt="2020-06-17T01:04:00.602" v="1568" actId="1036"/>
          <ac:spMkLst>
            <pc:docMk/>
            <pc:sldMk cId="3972105642" sldId="2134804288"/>
            <ac:spMk id="76" creationId="{F7430276-8BE1-4D7D-9089-ED915CFF78A4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77" creationId="{65386130-7BA3-422A-B5C5-16298505DDBF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78" creationId="{B03BCF6B-DEDC-401D-BC0D-1E9BCD707CD8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80" creationId="{C82439E8-7F56-42D0-8AA6-AF836C3B5192}"/>
          </ac:spMkLst>
        </pc:spChg>
        <pc:spChg chg="mod">
          <ac:chgData name="Yuly Andrea Castaneda Ramirez (CENIT)" userId="9d6b9224-b289-47c8-b6d4-3bf138101243" providerId="ADAL" clId="{0150EA7A-3692-4CE6-8414-A2D55987BE21}" dt="2020-06-17T01:20:39.501" v="1695" actId="14100"/>
          <ac:spMkLst>
            <pc:docMk/>
            <pc:sldMk cId="3972105642" sldId="2134804288"/>
            <ac:spMk id="81" creationId="{55664DF5-A233-44A7-9101-538787CD3FB0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82" creationId="{94A2CEE5-73FD-4EF6-AF7A-AE0CEC1BEC6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02:55.680" v="837" actId="21"/>
          <ac:spMkLst>
            <pc:docMk/>
            <pc:sldMk cId="3972105642" sldId="2134804288"/>
            <ac:spMk id="83" creationId="{7E221BDF-D097-4678-85A9-BE8D999C38C1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84" creationId="{81A3376C-4189-4D1A-BD63-AA027216F7C5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85" creationId="{D3E89A44-BEBD-4DF4-96CB-2DE96FC9B704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86" creationId="{98E1961C-4258-45D2-B731-6FEE987FF03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20:39.501" v="1695" actId="14100"/>
          <ac:spMkLst>
            <pc:docMk/>
            <pc:sldMk cId="3972105642" sldId="2134804288"/>
            <ac:spMk id="87" creationId="{FE811B0C-88CE-4A45-95A3-61C236577A97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88" creationId="{3447B149-62E7-4F91-B357-EEF8F25B3D3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02:55.680" v="837" actId="21"/>
          <ac:spMkLst>
            <pc:docMk/>
            <pc:sldMk cId="3972105642" sldId="2134804288"/>
            <ac:spMk id="89" creationId="{1B6BB051-9DF2-4D77-9742-17D63DDABEDB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90" creationId="{3DD1B703-CBC4-4032-B4CC-F26A8E1B3141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91" creationId="{C4519715-3ED2-473C-A37A-D053DFEEEB4C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92" creationId="{AD681933-702A-43CF-A064-804C78715B48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93" creationId="{0B137BED-2166-4F59-9E9A-13FBEA77A192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94" creationId="{1BB2AF8C-5042-44A9-B358-29E6A975CE9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02:55.680" v="837" actId="21"/>
          <ac:spMkLst>
            <pc:docMk/>
            <pc:sldMk cId="3972105642" sldId="2134804288"/>
            <ac:spMk id="94" creationId="{E429F70D-9374-494F-9492-19F21882695F}"/>
          </ac:spMkLst>
        </pc:spChg>
        <pc:spChg chg="add mod">
          <ac:chgData name="Yuly Andrea Castaneda Ramirez (CENIT)" userId="9d6b9224-b289-47c8-b6d4-3bf138101243" providerId="ADAL" clId="{0150EA7A-3692-4CE6-8414-A2D55987BE21}" dt="2020-06-17T01:17:16.162" v="1670" actId="14100"/>
          <ac:spMkLst>
            <pc:docMk/>
            <pc:sldMk cId="3972105642" sldId="2134804288"/>
            <ac:spMk id="95" creationId="{4E4338E8-9272-4ADB-9AB6-B5891B7A87EF}"/>
          </ac:spMkLst>
        </pc:spChg>
        <pc:spChg chg="add mod">
          <ac:chgData name="Yuly Andrea Castaneda Ramirez (CENIT)" userId="9d6b9224-b289-47c8-b6d4-3bf138101243" providerId="ADAL" clId="{0150EA7A-3692-4CE6-8414-A2D55987BE21}" dt="2020-06-17T01:17:18.789" v="1671" actId="14100"/>
          <ac:spMkLst>
            <pc:docMk/>
            <pc:sldMk cId="3972105642" sldId="2134804288"/>
            <ac:spMk id="96" creationId="{7300C06E-0474-4E1E-BDDF-A63C980856F7}"/>
          </ac:spMkLst>
        </pc:spChg>
        <pc:spChg chg="add mod">
          <ac:chgData name="Yuly Andrea Castaneda Ramirez (CENIT)" userId="9d6b9224-b289-47c8-b6d4-3bf138101243" providerId="ADAL" clId="{0150EA7A-3692-4CE6-8414-A2D55987BE21}" dt="2020-06-17T01:11:06.735" v="1635" actId="1036"/>
          <ac:spMkLst>
            <pc:docMk/>
            <pc:sldMk cId="3972105642" sldId="2134804288"/>
            <ac:spMk id="98" creationId="{94071527-212F-4487-9C84-3C53C7117592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00" creationId="{45319C65-AF89-4E6E-8EC6-7483768B7613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00" creationId="{65BEA0CF-3025-4182-BB7C-7FCB9677B093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01" creationId="{69EAD6EC-44EF-4157-BA6D-9433BAF52D36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01" creationId="{F98D25A4-8CFF-4AD8-A38C-B29D6424C347}"/>
          </ac:spMkLst>
        </pc:spChg>
        <pc:spChg chg="add mod">
          <ac:chgData name="Yuly Andrea Castaneda Ramirez (CENIT)" userId="9d6b9224-b289-47c8-b6d4-3bf138101243" providerId="ADAL" clId="{0150EA7A-3692-4CE6-8414-A2D55987BE21}" dt="2020-06-17T00:27:13.277" v="1262" actId="1035"/>
          <ac:spMkLst>
            <pc:docMk/>
            <pc:sldMk cId="3972105642" sldId="2134804288"/>
            <ac:spMk id="102" creationId="{3E36CC8F-1C55-428F-A2C0-52CE853F1BF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20:12.122" v="1693" actId="14100"/>
          <ac:spMkLst>
            <pc:docMk/>
            <pc:sldMk cId="3972105642" sldId="2134804288"/>
            <ac:spMk id="103" creationId="{EAB5FB81-51BD-4B45-B02E-4D00C22C82CB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104" creationId="{C3400F72-3867-45F1-88BE-58E569B2E7C2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05" creationId="{91FA3AEB-14E6-4F91-87E5-B04AF3A4062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8:55.118" v="1682" actId="6549"/>
          <ac:spMkLst>
            <pc:docMk/>
            <pc:sldMk cId="3972105642" sldId="2134804288"/>
            <ac:spMk id="106" creationId="{35E26E95-A46B-4DFF-AAB8-2D6D1A35193D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07" creationId="{1264672C-2222-456B-B245-CF43DCF96BD8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08" creationId="{68C24401-B05D-47B4-9904-B4C286355302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08" creationId="{BDB084EE-C68E-445F-BD43-82448D427E06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09" creationId="{34DE2181-E861-4502-8B89-99D81AB2F722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09" creationId="{959660DC-1BA5-411B-8289-1D4837F81452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0" creationId="{45ED4DCF-9098-4132-B2E8-81542FB9F68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0" creationId="{E4AA3F90-D036-45F7-95E0-2F1615F5B43F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1" creationId="{1673F78D-200A-4F5B-A04A-09391363D9F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1" creationId="{2A7A7553-0DDD-4C63-91CA-51925C79455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2" creationId="{6F704E2B-C473-4D55-8370-F5977E939A69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2" creationId="{D7EED82B-5F0C-45C1-8726-EB3142BDD4F1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3" creationId="{708DD153-23DD-4E52-9319-19BD3738CE7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3" creationId="{E51BCC52-A9D3-4358-A243-07F8CF255D2B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4" creationId="{38CA9A24-D727-4951-B7A3-BEC27626C3E1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14" creationId="{5FC9CB71-87BB-40AF-8B70-47E1CB40C22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5" creationId="{51292A48-DCF7-40ED-99E5-CD95C93ECEE1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5" creationId="{A134F31A-77ED-448C-A68F-B8F7DC710A79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6" creationId="{3B7053F1-5A2D-4D1A-9AEB-DB61F9B8570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6" creationId="{8F6B15EA-705F-46CA-AF82-58A3E2AC1652}"/>
          </ac:spMkLst>
        </pc:spChg>
        <pc:spChg chg="add mod">
          <ac:chgData name="Yuly Andrea Castaneda Ramirez (CENIT)" userId="9d6b9224-b289-47c8-b6d4-3bf138101243" providerId="ADAL" clId="{0150EA7A-3692-4CE6-8414-A2D55987BE21}" dt="2020-06-17T01:32:34.940" v="1814" actId="404"/>
          <ac:spMkLst>
            <pc:docMk/>
            <pc:sldMk cId="3972105642" sldId="2134804288"/>
            <ac:spMk id="117" creationId="{25E04EC8-7C3C-4341-80A4-FFC93FAF501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7" creationId="{D2CE3B07-779E-4FDE-BC2A-ADC7F7B682CF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18" creationId="{4595D805-A213-43C8-B637-A714BE5381A5}"/>
          </ac:spMkLst>
        </pc:spChg>
        <pc:spChg chg="add mod">
          <ac:chgData name="Yuly Andrea Castaneda Ramirez (CENIT)" userId="9d6b9224-b289-47c8-b6d4-3bf138101243" providerId="ADAL" clId="{0150EA7A-3692-4CE6-8414-A2D55987BE21}" dt="2020-06-17T01:26:53.560" v="1743" actId="1076"/>
          <ac:spMkLst>
            <pc:docMk/>
            <pc:sldMk cId="3972105642" sldId="2134804288"/>
            <ac:spMk id="118" creationId="{4C802F63-4193-4D6B-AE48-0B8E22BDA942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19" creationId="{7EC1E586-865D-4AE6-8E83-6DD1A461383A}"/>
          </ac:spMkLst>
        </pc:spChg>
        <pc:spChg chg="add mod">
          <ac:chgData name="Yuly Andrea Castaneda Ramirez (CENIT)" userId="9d6b9224-b289-47c8-b6d4-3bf138101243" providerId="ADAL" clId="{0150EA7A-3692-4CE6-8414-A2D55987BE21}" dt="2020-06-17T01:35:22.107" v="1844" actId="1076"/>
          <ac:spMkLst>
            <pc:docMk/>
            <pc:sldMk cId="3972105642" sldId="2134804288"/>
            <ac:spMk id="119" creationId="{D4BD1269-A3B7-4A64-8069-05631EEB0009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20" creationId="{8AC43903-3E05-4E77-83F5-D173AA753F73}"/>
          </ac:spMkLst>
        </pc:spChg>
        <pc:spChg chg="add mod">
          <ac:chgData name="Yuly Andrea Castaneda Ramirez (CENIT)" userId="9d6b9224-b289-47c8-b6d4-3bf138101243" providerId="ADAL" clId="{0150EA7A-3692-4CE6-8414-A2D55987BE21}" dt="2020-06-17T01:30:36.518" v="1789" actId="1076"/>
          <ac:spMkLst>
            <pc:docMk/>
            <pc:sldMk cId="3972105642" sldId="2134804288"/>
            <ac:spMk id="120" creationId="{E54A52E2-5DFF-469A-BC81-5C61FE5F498F}"/>
          </ac:spMkLst>
        </pc:spChg>
        <pc:spChg chg="mod">
          <ac:chgData name="Yuly Andrea Castaneda Ramirez (CENIT)" userId="9d6b9224-b289-47c8-b6d4-3bf138101243" providerId="ADAL" clId="{0150EA7A-3692-4CE6-8414-A2D55987BE21}" dt="2020-06-17T01:19:53.935" v="1689" actId="14100"/>
          <ac:spMkLst>
            <pc:docMk/>
            <pc:sldMk cId="3972105642" sldId="2134804288"/>
            <ac:spMk id="121" creationId="{33D17D00-C5E0-4296-BB51-8B9CF48F67F8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22" creationId="{977AA09D-5209-43EC-82D8-E76ADC7BF2E0}"/>
          </ac:spMkLst>
        </pc:spChg>
        <pc:spChg chg="add mod">
          <ac:chgData name="Yuly Andrea Castaneda Ramirez (CENIT)" userId="9d6b9224-b289-47c8-b6d4-3bf138101243" providerId="ADAL" clId="{0150EA7A-3692-4CE6-8414-A2D55987BE21}" dt="2020-06-17T01:30:44.719" v="1791" actId="1076"/>
          <ac:spMkLst>
            <pc:docMk/>
            <pc:sldMk cId="3972105642" sldId="2134804288"/>
            <ac:spMk id="122" creationId="{A39E0C61-1A00-44A1-A517-87EB913EE3CA}"/>
          </ac:spMkLst>
        </pc:spChg>
        <pc:spChg chg="add mod">
          <ac:chgData name="Yuly Andrea Castaneda Ramirez (CENIT)" userId="9d6b9224-b289-47c8-b6d4-3bf138101243" providerId="ADAL" clId="{0150EA7A-3692-4CE6-8414-A2D55987BE21}" dt="2020-06-17T01:31:00.122" v="1794" actId="1076"/>
          <ac:spMkLst>
            <pc:docMk/>
            <pc:sldMk cId="3972105642" sldId="2134804288"/>
            <ac:spMk id="123" creationId="{3442115D-EC92-485A-8CD2-11FDFFAB652E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23" creationId="{B7B2CB6A-5941-466A-A7D0-8B81D284EE83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7.549" v="1948" actId="108"/>
          <ac:spMkLst>
            <pc:docMk/>
            <pc:sldMk cId="3972105642" sldId="2134804288"/>
            <ac:spMk id="124" creationId="{0192B1BE-7E12-4FA2-8A13-BF1535F6341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24" creationId="{EBEC9BCE-8310-4492-B93B-891F99EEFD4B}"/>
          </ac:spMkLst>
        </pc:spChg>
        <pc:spChg chg="mod">
          <ac:chgData name="Yuly Andrea Castaneda Ramirez (CENIT)" userId="9d6b9224-b289-47c8-b6d4-3bf138101243" providerId="ADAL" clId="{0150EA7A-3692-4CE6-8414-A2D55987BE21}" dt="2020-06-17T01:20:39.501" v="1695" actId="14100"/>
          <ac:spMkLst>
            <pc:docMk/>
            <pc:sldMk cId="3972105642" sldId="2134804288"/>
            <ac:spMk id="130" creationId="{87BE4D39-585A-439A-9AD3-A09D201B12F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31" creationId="{8889283B-005D-488D-86F9-CDCDA28E5F7B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8.464" v="1949" actId="108"/>
          <ac:spMkLst>
            <pc:docMk/>
            <pc:sldMk cId="3972105642" sldId="2134804288"/>
            <ac:spMk id="132" creationId="{2B4D8A13-DB92-41A8-AFD2-5B2874EF1BF3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32" creationId="{6A90B078-206F-4E1D-89A1-298F78E33B76}"/>
          </ac:spMkLst>
        </pc:spChg>
        <pc:spChg chg="add mod">
          <ac:chgData name="Yuly Andrea Castaneda Ramirez (CENIT)" userId="9d6b9224-b289-47c8-b6d4-3bf138101243" providerId="ADAL" clId="{0150EA7A-3692-4CE6-8414-A2D55987BE21}" dt="2020-06-17T01:44:00.160" v="1951" actId="108"/>
          <ac:spMkLst>
            <pc:docMk/>
            <pc:sldMk cId="3972105642" sldId="2134804288"/>
            <ac:spMk id="133" creationId="{3D0435A1-4663-4846-971D-86057AF520BB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33" creationId="{DB96E95E-854F-43C5-96C3-F7AE75CE00DC}"/>
          </ac:spMkLst>
        </pc:spChg>
        <pc:spChg chg="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34" creationId="{2015B74C-B102-4125-897E-A341F263D14B}"/>
          </ac:spMkLst>
        </pc:spChg>
        <pc:spChg chg="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35" creationId="{965631E9-4740-4B58-A1AB-6ED9AA0B8ABC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36" creationId="{DC2DE3F9-ECAC-40AD-A20A-B32B38C58757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37" creationId="{BDEF36B3-92BD-43BC-AD5C-2DF950D99692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38" creationId="{0A50029C-6FF1-4E5B-8FE3-9A0E8C0D742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39" creationId="{634B2152-6AFE-4901-8FF4-5EBBA3A86B9D}"/>
          </ac:spMkLst>
        </pc:spChg>
        <pc:spChg chg="add mod">
          <ac:chgData name="Yuly Andrea Castaneda Ramirez (CENIT)" userId="9d6b9224-b289-47c8-b6d4-3bf138101243" providerId="ADAL" clId="{0150EA7A-3692-4CE6-8414-A2D55987BE21}" dt="2020-06-17T01:44:01.216" v="1952" actId="108"/>
          <ac:spMkLst>
            <pc:docMk/>
            <pc:sldMk cId="3972105642" sldId="2134804288"/>
            <ac:spMk id="139" creationId="{DD70D3A2-5195-4278-89DE-C7B5909EBB84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40" creationId="{2192EC14-9AFE-49A4-ACE7-7007DE218105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41" creationId="{69FF13A6-B914-4228-B818-FA84C77810D8}"/>
          </ac:spMkLst>
        </pc:spChg>
        <pc:spChg chg="add mod">
          <ac:chgData name="Yuly Andrea Castaneda Ramirez (CENIT)" userId="9d6b9224-b289-47c8-b6d4-3bf138101243" providerId="ADAL" clId="{0150EA7A-3692-4CE6-8414-A2D55987BE21}" dt="2020-06-17T01:47:00.469" v="1982" actId="1076"/>
          <ac:spMkLst>
            <pc:docMk/>
            <pc:sldMk cId="3972105642" sldId="2134804288"/>
            <ac:spMk id="141" creationId="{A8D9BAF4-4638-4531-A212-B02CC3C2B3F8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42" creationId="{09BA4622-4FF0-4AE7-A2BE-CA9EB89C56FC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9.583" v="1950" actId="108"/>
          <ac:spMkLst>
            <pc:docMk/>
            <pc:sldMk cId="3972105642" sldId="2134804288"/>
            <ac:spMk id="142" creationId="{F6CFB0F8-5E6E-40EC-ACA9-CE69E63E9E5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3" creationId="{3B6CC448-71E4-48AD-AC27-24C2C48F749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4" creationId="{459CE26A-2C70-483D-8505-6145B8B804E7}"/>
          </ac:spMkLst>
        </pc:spChg>
        <pc:spChg chg="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5" creationId="{73499BFD-F641-4498-BC47-3D42BE7BF51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6" creationId="{044A596C-01C5-4049-AD23-91F31E1CC4A1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7" creationId="{E4AEA615-7563-4C1B-A271-099D66D3736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8" creationId="{C466D27F-D52B-4D18-AB1A-B4A5A9F4232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9" creationId="{26DDE36A-BBEB-4220-A185-CCDB2EE3D917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50" creationId="{1C6B11C4-1308-4BF3-BB98-C70CE2518459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51" creationId="{E1D12F42-18F9-40F6-8EFF-433E9B9F0592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52" creationId="{6249E4F1-2D8E-4097-9179-EBC1401827BA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53" creationId="{EBCEC452-242A-41DC-B20E-8FCEB57C4FE5}"/>
          </ac:spMkLst>
        </pc:spChg>
        <pc:spChg chg="add mod">
          <ac:chgData name="Yuly Andrea Castaneda Ramirez (CENIT)" userId="9d6b9224-b289-47c8-b6d4-3bf138101243" providerId="ADAL" clId="{0150EA7A-3692-4CE6-8414-A2D55987BE21}" dt="2020-06-17T01:37:55.891" v="1876" actId="1076"/>
          <ac:spMkLst>
            <pc:docMk/>
            <pc:sldMk cId="3972105642" sldId="2134804288"/>
            <ac:spMk id="154" creationId="{2D118A3A-F9B1-4373-81CB-37E150897A6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4" creationId="{FBF8B2F4-7A4D-4355-8129-1A29D8EFB9D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5" creationId="{974CD985-AB65-4B49-A7BA-F0DDF6BA632A}"/>
          </ac:spMkLst>
        </pc:spChg>
        <pc:spChg chg="add mod">
          <ac:chgData name="Yuly Andrea Castaneda Ramirez (CENIT)" userId="9d6b9224-b289-47c8-b6d4-3bf138101243" providerId="ADAL" clId="{0150EA7A-3692-4CE6-8414-A2D55987BE21}" dt="2020-06-17T01:47:47.625" v="1987" actId="1076"/>
          <ac:spMkLst>
            <pc:docMk/>
            <pc:sldMk cId="3972105642" sldId="2134804288"/>
            <ac:spMk id="155" creationId="{E55B9259-4EF1-4902-86B4-55035FFA022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6" creationId="{B8A6DBCD-A2B3-4F3D-A883-A8E9B6ADB1F0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28.404" v="1970" actId="1076"/>
          <ac:spMkLst>
            <pc:docMk/>
            <pc:sldMk cId="3972105642" sldId="2134804288"/>
            <ac:spMk id="156" creationId="{EBAD52F6-3A50-47C4-A8A6-F9957211FE0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7" creationId="{4C15FC9B-DA89-4EDA-A038-4F5D60F8E159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53.893" v="1977" actId="1076"/>
          <ac:spMkLst>
            <pc:docMk/>
            <pc:sldMk cId="3972105642" sldId="2134804288"/>
            <ac:spMk id="157" creationId="{99817ECC-A9CE-487D-A447-63834E8CDB42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51.039" v="1976" actId="1076"/>
          <ac:spMkLst>
            <pc:docMk/>
            <pc:sldMk cId="3972105642" sldId="2134804288"/>
            <ac:spMk id="158" creationId="{1419E290-EB81-48FD-9FE7-BB69C3A55F9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8" creationId="{C28AFF76-FAF1-4C61-81EF-700B918E8962}"/>
          </ac:spMkLst>
        </pc:spChg>
        <pc:spChg chg="add mod">
          <ac:chgData name="Yuly Andrea Castaneda Ramirez (CENIT)" userId="9d6b9224-b289-47c8-b6d4-3bf138101243" providerId="ADAL" clId="{0150EA7A-3692-4CE6-8414-A2D55987BE21}" dt="2020-06-17T01:47:53.959" v="1989" actId="1076"/>
          <ac:spMkLst>
            <pc:docMk/>
            <pc:sldMk cId="3972105642" sldId="2134804288"/>
            <ac:spMk id="159" creationId="{AC5431C5-08AE-45CB-89CC-44576AD161A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9" creationId="{EC18C315-428A-42DB-A91E-DE4261879DE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0" creationId="{12084EC5-17C3-4CCD-B155-105961CF28D2}"/>
          </ac:spMkLst>
        </pc:spChg>
        <pc:spChg chg="add mod">
          <ac:chgData name="Yuly Andrea Castaneda Ramirez (CENIT)" userId="9d6b9224-b289-47c8-b6d4-3bf138101243" providerId="ADAL" clId="{0150EA7A-3692-4CE6-8414-A2D55987BE21}" dt="2020-06-17T01:46:51.859" v="1981" actId="1076"/>
          <ac:spMkLst>
            <pc:docMk/>
            <pc:sldMk cId="3972105642" sldId="2134804288"/>
            <ac:spMk id="160" creationId="{B4FEEF27-B06C-4BEC-AB6B-02283569188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1" creationId="{DD9055F2-BB3C-4A2B-8AB2-45D61D89E541}"/>
          </ac:spMkLst>
        </pc:spChg>
        <pc:spChg chg="add mod">
          <ac:chgData name="Yuly Andrea Castaneda Ramirez (CENIT)" userId="9d6b9224-b289-47c8-b6d4-3bf138101243" providerId="ADAL" clId="{0150EA7A-3692-4CE6-8414-A2D55987BE21}" dt="2020-06-17T01:46:51.859" v="1981" actId="1076"/>
          <ac:spMkLst>
            <pc:docMk/>
            <pc:sldMk cId="3972105642" sldId="2134804288"/>
            <ac:spMk id="161" creationId="{E1FB320D-93BB-4E5E-8B1F-01F3EE9BE992}"/>
          </ac:spMkLst>
        </pc:spChg>
        <pc:spChg chg="add mod">
          <ac:chgData name="Yuly Andrea Castaneda Ramirez (CENIT)" userId="9d6b9224-b289-47c8-b6d4-3bf138101243" providerId="ADAL" clId="{0150EA7A-3692-4CE6-8414-A2D55987BE21}" dt="2020-06-17T01:47:26.043" v="1984" actId="1076"/>
          <ac:spMkLst>
            <pc:docMk/>
            <pc:sldMk cId="3972105642" sldId="2134804288"/>
            <ac:spMk id="162" creationId="{6911BCA5-CA63-42AB-899E-09B501CBAAF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2" creationId="{8639D397-7207-4CD3-8852-0FBD204F87D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3" creationId="{14CBFBF0-D8D4-4352-BF55-7247BC0186C9}"/>
          </ac:spMkLst>
        </pc:spChg>
        <pc:spChg chg="add mod">
          <ac:chgData name="Yuly Andrea Castaneda Ramirez (CENIT)" userId="9d6b9224-b289-47c8-b6d4-3bf138101243" providerId="ADAL" clId="{0150EA7A-3692-4CE6-8414-A2D55987BE21}" dt="2020-06-17T01:47:34.300" v="1986" actId="1076"/>
          <ac:spMkLst>
            <pc:docMk/>
            <pc:sldMk cId="3972105642" sldId="2134804288"/>
            <ac:spMk id="163" creationId="{AA59E27B-C332-4588-A79C-03B73DF9E177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08.760" v="1991" actId="1076"/>
          <ac:spMkLst>
            <pc:docMk/>
            <pc:sldMk cId="3972105642" sldId="2134804288"/>
            <ac:spMk id="164" creationId="{7EA67C76-C50B-4A11-852B-672BF8D888A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4" creationId="{9510919C-7701-4E74-9505-131D154A5F07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65" creationId="{88182965-6606-4519-A0D6-EB88DDF04091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5" creationId="{BE7B59B5-43A1-44F0-A633-0D77D1925FA8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66" creationId="{2C3D5691-8414-442D-8811-64DB867F4E4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6" creationId="{F080011B-6A4D-48C8-880D-6DE959B0AF9E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67" creationId="{5B10B864-70B1-46D4-B7EF-EAEA82A4B41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7" creationId="{82171D3F-5DDD-432C-852D-E240DBB40C3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8" creationId="{9C49704D-126C-45A6-800E-BFC09EA49FB0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68" creationId="{B00504A4-CC7F-4C15-8B79-6311130D897F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69" creationId="{0AC0A371-B78E-44C5-915B-C4B31D1E1A7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9" creationId="{ACC68F52-D84B-4BB1-ABAB-ECFC700D6D9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0" creationId="{6A4985B7-CFDA-4919-B35C-1A906980524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8.909" v="2071" actId="478"/>
          <ac:spMkLst>
            <pc:docMk/>
            <pc:sldMk cId="3972105642" sldId="2134804288"/>
            <ac:spMk id="171" creationId="{CD36C93B-858F-4E33-A56F-518042C604A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2" creationId="{9D21624C-09A0-4BAC-BC9A-9B80B9BCB9B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3" creationId="{1EA2C09D-165C-43D8-B8B2-5E1CAC01F1D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4" creationId="{296C90A4-4A0B-4006-A9EF-B1B5D356D78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5" creationId="{A43C161E-C8C6-4DE5-BC5F-3E9A61FA0B3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6" creationId="{11A08FE8-133D-4269-87AD-945C5966A2E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7" creationId="{3E99A803-E8D3-4B93-8296-7A32E6509D0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8" creationId="{C71CC98A-1955-4E5D-9D69-80C29981E64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9" creationId="{10C5E4BF-FEF4-4A54-8C7B-28037E8A16E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0" creationId="{A9DBE556-7649-436A-91D7-E63BFDC0E75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1" creationId="{69B33750-142B-4903-AC71-3805F0C05B9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2" creationId="{F19D6EB7-9760-45AF-A1F8-0ECB6FAD2E5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3" creationId="{16F1FB1B-3EEC-4087-80C1-B6BAF2C74F2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4" creationId="{47701719-41E3-4A14-A94C-EA163B3BCDB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5" creationId="{52989975-7951-4288-B58B-44A911CE0CD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6" creationId="{A5455FBE-F627-42CC-9FCC-BC62F42222F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7" creationId="{C68CFFFA-3ED5-44D4-9DCE-2B34BF96A3E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8" creationId="{44D9C693-3818-4AC6-86C6-8CAAF9E973E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9" creationId="{27DA0FF6-3B07-40D2-B412-BF14D477952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0" creationId="{CF7EB90D-96D2-4990-9DBA-759B87DC488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1" creationId="{EA41803D-BBE1-43F9-852F-C997982BA1B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2" creationId="{C668E719-2ACA-4B60-9F8B-CDEA7B4123E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3" creationId="{166FA57D-7679-4CC1-9B3A-C4D7B34A355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4" creationId="{DFAA6187-7C48-4900-A85B-4E597400D32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5" creationId="{15ACD528-2610-4243-8C90-4630CAE9885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6" creationId="{975436EC-58E0-48E2-A269-6C4D4BCF7B4A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97" creationId="{E1BFB25D-4251-4EE2-8536-86E897FBDA5A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98" creationId="{8AF8F09D-72B9-45DF-AF8D-5F2D9E6AA990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99" creationId="{6B967254-9BF9-41C9-B68B-4498BA1CEDA1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0" creationId="{4355305E-ECA3-4A92-B14E-9180DE961743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1" creationId="{3237594A-EB43-4AC6-B5BF-D9034E086644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2" creationId="{39988F86-AFA6-404C-8467-0253FC4643AB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3" creationId="{2BA9A1F3-874E-492D-835A-D1B89CEEA195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4" creationId="{A7811C59-1D22-4EB0-BADF-629F183ADA9D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5" creationId="{D13DFFB7-EBF7-4843-B70A-781A007C0641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6" creationId="{001BF6B4-F10C-498C-8197-8B18561C47D3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7" creationId="{4DC56ADD-AE94-4E23-B0F1-80CE3C771376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8" creationId="{5DD7D93F-235F-4389-BC6F-DB96258DBED2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9" creationId="{4EAF9B4D-91C8-4894-B543-3B1D33977581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10" creationId="{7A82F63B-8C0B-48BA-99B7-6BFBC4D6054C}"/>
          </ac:spMkLst>
        </pc:spChg>
        <pc:cxnChg chg="add mod">
          <ac:chgData name="Yuly Andrea Castaneda Ramirez (CENIT)" userId="9d6b9224-b289-47c8-b6d4-3bf138101243" providerId="ADAL" clId="{0150EA7A-3692-4CE6-8414-A2D55987BE21}" dt="2020-06-17T01:11:06.735" v="1635" actId="1036"/>
          <ac:cxnSpMkLst>
            <pc:docMk/>
            <pc:sldMk cId="3972105642" sldId="2134804288"/>
            <ac:cxnSpMk id="97" creationId="{E32FBCED-3C2F-4F33-86D3-F05FA8DADE11}"/>
          </ac:cxnSpMkLst>
        </pc:cxnChg>
        <pc:cxnChg chg="add mod">
          <ac:chgData name="Yuly Andrea Castaneda Ramirez (CENIT)" userId="9d6b9224-b289-47c8-b6d4-3bf138101243" providerId="ADAL" clId="{0150EA7A-3692-4CE6-8414-A2D55987BE21}" dt="2020-06-17T00:27:13.277" v="1262" actId="1035"/>
          <ac:cxnSpMkLst>
            <pc:docMk/>
            <pc:sldMk cId="3972105642" sldId="2134804288"/>
            <ac:cxnSpMk id="99" creationId="{73113A7D-6D7E-4E41-9EB9-BC99F9681A4E}"/>
          </ac:cxnSpMkLst>
        </pc:cxnChg>
      </pc:sldChg>
      <pc:sldChg chg="del">
        <pc:chgData name="Yuly Andrea Castaneda Ramirez (CENIT)" userId="9d6b9224-b289-47c8-b6d4-3bf138101243" providerId="ADAL" clId="{0150EA7A-3692-4CE6-8414-A2D55987BE21}" dt="2020-06-17T01:50:12.079" v="2073" actId="47"/>
        <pc:sldMkLst>
          <pc:docMk/>
          <pc:sldMk cId="747345529" sldId="2134804301"/>
        </pc:sldMkLst>
      </pc:sldChg>
      <pc:sldChg chg="del">
        <pc:chgData name="Yuly Andrea Castaneda Ramirez (CENIT)" userId="9d6b9224-b289-47c8-b6d4-3bf138101243" providerId="ADAL" clId="{0150EA7A-3692-4CE6-8414-A2D55987BE21}" dt="2020-06-16T23:50:31.770" v="682" actId="47"/>
        <pc:sldMkLst>
          <pc:docMk/>
          <pc:sldMk cId="2563757368" sldId="2134804308"/>
        </pc:sldMkLst>
      </pc:sldChg>
      <pc:sldChg chg="addSp delSp modSp add mod">
        <pc:chgData name="Yuly Andrea Castaneda Ramirez (CENIT)" userId="9d6b9224-b289-47c8-b6d4-3bf138101243" providerId="ADAL" clId="{0150EA7A-3692-4CE6-8414-A2D55987BE21}" dt="2020-06-17T01:49:14.514" v="2069" actId="14100"/>
        <pc:sldMkLst>
          <pc:docMk/>
          <pc:sldMk cId="1881171097" sldId="2134804309"/>
        </pc:sldMkLst>
        <pc:spChg chg="mod">
          <ac:chgData name="Yuly Andrea Castaneda Ramirez (CENIT)" userId="9d6b9224-b289-47c8-b6d4-3bf138101243" providerId="ADAL" clId="{0150EA7A-3692-4CE6-8414-A2D55987BE21}" dt="2020-06-16T23:59:45.102" v="772" actId="1076"/>
          <ac:spMkLst>
            <pc:docMk/>
            <pc:sldMk cId="1881171097" sldId="2134804309"/>
            <ac:spMk id="2" creationId="{BF7D9B5C-799C-4F14-B623-A08588E6FFE0}"/>
          </ac:spMkLst>
        </pc:spChg>
        <pc:spChg chg="del mod">
          <ac:chgData name="Yuly Andrea Castaneda Ramirez (CENIT)" userId="9d6b9224-b289-47c8-b6d4-3bf138101243" providerId="ADAL" clId="{0150EA7A-3692-4CE6-8414-A2D55987BE21}" dt="2020-06-16T23:45:28.413" v="554" actId="478"/>
          <ac:spMkLst>
            <pc:docMk/>
            <pc:sldMk cId="1881171097" sldId="2134804309"/>
            <ac:spMk id="3" creationId="{1524C45A-97FD-4A0C-A286-8B4FC211198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6:48.002" v="1664" actId="207"/>
          <ac:spMkLst>
            <pc:docMk/>
            <pc:sldMk cId="1881171097" sldId="2134804309"/>
            <ac:spMk id="5" creationId="{6E9A1754-20A7-4B35-82A8-CAADFE6AA79E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24:31.426" v="116"/>
          <ac:spMkLst>
            <pc:docMk/>
            <pc:sldMk cId="1881171097" sldId="2134804309"/>
            <ac:spMk id="6" creationId="{9FDCFDEA-EF5D-4DF8-9FA0-7B4D76D4A627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44:29.497" v="543"/>
          <ac:spMkLst>
            <pc:docMk/>
            <pc:sldMk cId="1881171097" sldId="2134804309"/>
            <ac:spMk id="7" creationId="{A80EAFD6-EFB7-428F-873C-DB744B876CD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0" creationId="{A192B800-F5BA-4DF6-AD24-3F9707FAC6B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3:49.406" v="1490" actId="12789"/>
          <ac:spMkLst>
            <pc:docMk/>
            <pc:sldMk cId="1881171097" sldId="2134804309"/>
            <ac:spMk id="23" creationId="{19DB4BE3-5133-4C05-9DFC-C8E8F930E13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6:48.002" v="1664" actId="207"/>
          <ac:spMkLst>
            <pc:docMk/>
            <pc:sldMk cId="1881171097" sldId="2134804309"/>
            <ac:spMk id="24" creationId="{389B18D5-C39A-47EE-B3A9-7DEE4189E67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06:25.394" v="1590" actId="1038"/>
          <ac:spMkLst>
            <pc:docMk/>
            <pc:sldMk cId="1881171097" sldId="2134804309"/>
            <ac:spMk id="25" creationId="{52048D91-45AA-408F-9D1F-D2E9F2D3721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6:48.002" v="1664" actId="207"/>
          <ac:spMkLst>
            <pc:docMk/>
            <pc:sldMk cId="1881171097" sldId="2134804309"/>
            <ac:spMk id="27" creationId="{626ADC92-4AB0-48C8-94D3-787A8F6B3965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33" creationId="{7789E6CD-12A8-49BE-BB62-0F2E7B9DA7BD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37" creationId="{3711A2D9-52BE-4CB1-B730-5A820326C85E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38" creationId="{DA34B12E-EB9B-46FF-91FB-EC5344118F0F}"/>
          </ac:spMkLst>
        </pc:spChg>
        <pc:spChg chg="add mod">
          <ac:chgData name="Yuly Andrea Castaneda Ramirez (CENIT)" userId="9d6b9224-b289-47c8-b6d4-3bf138101243" providerId="ADAL" clId="{0150EA7A-3692-4CE6-8414-A2D55987BE21}" dt="2020-06-17T00:42:34.320" v="1299" actId="571"/>
          <ac:spMkLst>
            <pc:docMk/>
            <pc:sldMk cId="1881171097" sldId="2134804309"/>
            <ac:spMk id="53" creationId="{621E9AEA-816B-4675-B851-C11367ECFD98}"/>
          </ac:spMkLst>
        </pc:spChg>
        <pc:spChg chg="add mod">
          <ac:chgData name="Yuly Andrea Castaneda Ramirez (CENIT)" userId="9d6b9224-b289-47c8-b6d4-3bf138101243" providerId="ADAL" clId="{0150EA7A-3692-4CE6-8414-A2D55987BE21}" dt="2020-06-17T00:42:34.320" v="1299" actId="571"/>
          <ac:spMkLst>
            <pc:docMk/>
            <pc:sldMk cId="1881171097" sldId="2134804309"/>
            <ac:spMk id="54" creationId="{A802D700-FCBC-445E-B597-BB4AB64739AB}"/>
          </ac:spMkLst>
        </pc:spChg>
        <pc:spChg chg="add mod">
          <ac:chgData name="Yuly Andrea Castaneda Ramirez (CENIT)" userId="9d6b9224-b289-47c8-b6d4-3bf138101243" providerId="ADAL" clId="{0150EA7A-3692-4CE6-8414-A2D55987BE21}" dt="2020-06-17T00:42:34.320" v="1299" actId="571"/>
          <ac:spMkLst>
            <pc:docMk/>
            <pc:sldMk cId="1881171097" sldId="2134804309"/>
            <ac:spMk id="55" creationId="{018BF07A-364C-4D36-85E6-CB399D1BCEC5}"/>
          </ac:spMkLst>
        </pc:spChg>
        <pc:spChg chg="add mod">
          <ac:chgData name="Yuly Andrea Castaneda Ramirez (CENIT)" userId="9d6b9224-b289-47c8-b6d4-3bf138101243" providerId="ADAL" clId="{0150EA7A-3692-4CE6-8414-A2D55987BE21}" dt="2020-06-17T00:42:34.320" v="1299" actId="571"/>
          <ac:spMkLst>
            <pc:docMk/>
            <pc:sldMk cId="1881171097" sldId="2134804309"/>
            <ac:spMk id="56" creationId="{75ACAA4B-DB22-4005-96B7-C5A55C0608FB}"/>
          </ac:spMkLst>
        </pc:spChg>
        <pc:spChg chg="add mod">
          <ac:chgData name="Yuly Andrea Castaneda Ramirez (CENIT)" userId="9d6b9224-b289-47c8-b6d4-3bf138101243" providerId="ADAL" clId="{0150EA7A-3692-4CE6-8414-A2D55987BE21}" dt="2020-06-17T00:42:34.320" v="1299" actId="571"/>
          <ac:spMkLst>
            <pc:docMk/>
            <pc:sldMk cId="1881171097" sldId="2134804309"/>
            <ac:spMk id="57" creationId="{BB70D810-04FE-44E4-8DEB-6A2E2ED81766}"/>
          </ac:spMkLst>
        </pc:spChg>
        <pc:spChg chg="add mod">
          <ac:chgData name="Yuly Andrea Castaneda Ramirez (CENIT)" userId="9d6b9224-b289-47c8-b6d4-3bf138101243" providerId="ADAL" clId="{0150EA7A-3692-4CE6-8414-A2D55987BE21}" dt="2020-06-17T01:06:29.661" v="1593" actId="1038"/>
          <ac:spMkLst>
            <pc:docMk/>
            <pc:sldMk cId="1881171097" sldId="2134804309"/>
            <ac:spMk id="58" creationId="{9E214831-F319-484B-878F-CC814AD0E45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6:20.574" v="1515" actId="1035"/>
          <ac:spMkLst>
            <pc:docMk/>
            <pc:sldMk cId="1881171097" sldId="2134804309"/>
            <ac:spMk id="59" creationId="{BE3F100C-50B3-4F15-9903-FB21CD00628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6:20.574" v="1515" actId="1035"/>
          <ac:spMkLst>
            <pc:docMk/>
            <pc:sldMk cId="1881171097" sldId="2134804309"/>
            <ac:spMk id="60" creationId="{2F47BFE6-652B-4A11-A467-141CEABC6BB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6:20.574" v="1515" actId="1035"/>
          <ac:spMkLst>
            <pc:docMk/>
            <pc:sldMk cId="1881171097" sldId="2134804309"/>
            <ac:spMk id="61" creationId="{36328718-1AD9-4A1D-AD92-CA23A630214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29:18.554" v="1780" actId="6549"/>
          <ac:spMkLst>
            <pc:docMk/>
            <pc:sldMk cId="1881171097" sldId="2134804309"/>
            <ac:spMk id="62" creationId="{89D5887B-F59D-488C-ABC2-49882027020C}"/>
          </ac:spMkLst>
        </pc:spChg>
        <pc:spChg chg="add mod">
          <ac:chgData name="Yuly Andrea Castaneda Ramirez (CENIT)" userId="9d6b9224-b289-47c8-b6d4-3bf138101243" providerId="ADAL" clId="{0150EA7A-3692-4CE6-8414-A2D55987BE21}" dt="2020-06-17T01:06:29.661" v="1593" actId="1038"/>
          <ac:spMkLst>
            <pc:docMk/>
            <pc:sldMk cId="1881171097" sldId="2134804309"/>
            <ac:spMk id="63" creationId="{374BF4F6-A8B2-4663-84A5-7564A6B6BE76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23:55.372" v="109"/>
          <ac:spMkLst>
            <pc:docMk/>
            <pc:sldMk cId="1881171097" sldId="2134804309"/>
            <ac:spMk id="63" creationId="{ECF96F9A-A729-4DC8-8578-B38FAB620D1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7:00.610" v="1533" actId="14100"/>
          <ac:spMkLst>
            <pc:docMk/>
            <pc:sldMk cId="1881171097" sldId="2134804309"/>
            <ac:spMk id="64" creationId="{C5E7E4EB-F106-4781-B7BA-2EE2E258AF62}"/>
          </ac:spMkLst>
        </pc:spChg>
        <pc:spChg chg="add mod">
          <ac:chgData name="Yuly Andrea Castaneda Ramirez (CENIT)" userId="9d6b9224-b289-47c8-b6d4-3bf138101243" providerId="ADAL" clId="{0150EA7A-3692-4CE6-8414-A2D55987BE21}" dt="2020-06-17T01:06:29.661" v="1593" actId="1038"/>
          <ac:spMkLst>
            <pc:docMk/>
            <pc:sldMk cId="1881171097" sldId="2134804309"/>
            <ac:spMk id="65" creationId="{3AB53F82-6278-4D35-87FA-B760C5ACA7C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6:57.137" v="1532" actId="1036"/>
          <ac:spMkLst>
            <pc:docMk/>
            <pc:sldMk cId="1881171097" sldId="2134804309"/>
            <ac:spMk id="66" creationId="{985BCC26-C4E2-4E5F-98E2-17B1D497060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6:48.002" v="1664" actId="207"/>
          <ac:spMkLst>
            <pc:docMk/>
            <pc:sldMk cId="1881171097" sldId="2134804309"/>
            <ac:spMk id="67" creationId="{0B609A71-0C9E-44AA-A60D-A49754DFA35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23.460" v="1401" actId="478"/>
          <ac:spMkLst>
            <pc:docMk/>
            <pc:sldMk cId="1881171097" sldId="2134804309"/>
            <ac:spMk id="68" creationId="{A3F481BB-1FAB-4410-826E-0D16095DC8A2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31.789" v="1404" actId="478"/>
          <ac:spMkLst>
            <pc:docMk/>
            <pc:sldMk cId="1881171097" sldId="2134804309"/>
            <ac:spMk id="69" creationId="{C3C823BF-995B-45B7-AFA2-0AAD6DB53BD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6:57.137" v="1532" actId="1036"/>
          <ac:spMkLst>
            <pc:docMk/>
            <pc:sldMk cId="1881171097" sldId="2134804309"/>
            <ac:spMk id="70" creationId="{174EEA1B-56BF-43B0-AD0F-9422D850ED9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08:13.961" v="1606" actId="207"/>
          <ac:spMkLst>
            <pc:docMk/>
            <pc:sldMk cId="1881171097" sldId="2134804309"/>
            <ac:spMk id="71" creationId="{BC07B333-2990-47FE-BD43-8FDF5587ED9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08:16.169" v="1607" actId="108"/>
          <ac:spMkLst>
            <pc:docMk/>
            <pc:sldMk cId="1881171097" sldId="2134804309"/>
            <ac:spMk id="72" creationId="{07300B76-F7DA-4C54-81BE-87BD0E3501A2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33:25.380" v="355" actId="21"/>
          <ac:spMkLst>
            <pc:docMk/>
            <pc:sldMk cId="1881171097" sldId="2134804309"/>
            <ac:spMk id="73" creationId="{355747D5-75A0-4E6F-B00C-0803803712E1}"/>
          </ac:spMkLst>
        </pc:spChg>
        <pc:spChg chg="add mod">
          <ac:chgData name="Yuly Andrea Castaneda Ramirez (CENIT)" userId="9d6b9224-b289-47c8-b6d4-3bf138101243" providerId="ADAL" clId="{0150EA7A-3692-4CE6-8414-A2D55987BE21}" dt="2020-06-17T01:06:29.661" v="1593" actId="1038"/>
          <ac:spMkLst>
            <pc:docMk/>
            <pc:sldMk cId="1881171097" sldId="2134804309"/>
            <ac:spMk id="73" creationId="{AF0C32C2-C6CF-4F2E-8207-CBC53BB5AFC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08:18.421" v="1608" actId="108"/>
          <ac:spMkLst>
            <pc:docMk/>
            <pc:sldMk cId="1881171097" sldId="2134804309"/>
            <ac:spMk id="74" creationId="{044D154E-124C-451E-A67B-8A00C55BEF8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08:24.275" v="1609" actId="108"/>
          <ac:spMkLst>
            <pc:docMk/>
            <pc:sldMk cId="1881171097" sldId="2134804309"/>
            <ac:spMk id="75" creationId="{11A62AE7-512B-4427-88F3-27458EBDAC40}"/>
          </ac:spMkLst>
        </pc:spChg>
        <pc:spChg chg="add mod">
          <ac:chgData name="Yuly Andrea Castaneda Ramirez (CENIT)" userId="9d6b9224-b289-47c8-b6d4-3bf138101243" providerId="ADAL" clId="{0150EA7A-3692-4CE6-8414-A2D55987BE21}" dt="2020-06-17T00:57:35.383" v="1541" actId="14100"/>
          <ac:spMkLst>
            <pc:docMk/>
            <pc:sldMk cId="1881171097" sldId="2134804309"/>
            <ac:spMk id="76" creationId="{68D0324B-6F93-4628-91B6-C79861BBE01F}"/>
          </ac:spMkLst>
        </pc:spChg>
        <pc:spChg chg="add mod">
          <ac:chgData name="Yuly Andrea Castaneda Ramirez (CENIT)" userId="9d6b9224-b289-47c8-b6d4-3bf138101243" providerId="ADAL" clId="{0150EA7A-3692-4CE6-8414-A2D55987BE21}" dt="2020-06-17T00:57:44.270" v="1546" actId="1036"/>
          <ac:spMkLst>
            <pc:docMk/>
            <pc:sldMk cId="1881171097" sldId="2134804309"/>
            <ac:spMk id="77" creationId="{82EA84D5-1753-4B93-8376-CBA6A570815D}"/>
          </ac:spMkLst>
        </pc:spChg>
        <pc:spChg chg="add mod">
          <ac:chgData name="Yuly Andrea Castaneda Ramirez (CENIT)" userId="9d6b9224-b289-47c8-b6d4-3bf138101243" providerId="ADAL" clId="{0150EA7A-3692-4CE6-8414-A2D55987BE21}" dt="2020-06-17T00:57:42.065" v="1545" actId="1036"/>
          <ac:spMkLst>
            <pc:docMk/>
            <pc:sldMk cId="1881171097" sldId="2134804309"/>
            <ac:spMk id="78" creationId="{30621AE7-EF9C-4ABE-84F2-40370AA03E60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80" creationId="{4EA6D3FC-07C6-4F51-BF2B-C47DBDEE77C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0" creationId="{6E72C5D0-EAD5-49B9-B277-FD12B794BAA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1" creationId="{53925A36-5960-4CD9-AE25-50E0C7BC9A9C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81" creationId="{55664DF5-A233-44A7-9101-538787CD3FB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2" creationId="{BF4CB5E5-1DE4-44FD-81B8-89592A506BA0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82" creationId="{CFE2FDF7-7563-492B-AF58-DC091195DF0A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6:21.718" v="733" actId="21"/>
          <ac:spMkLst>
            <pc:docMk/>
            <pc:sldMk cId="1881171097" sldId="2134804309"/>
            <ac:spMk id="83" creationId="{82278C55-B34E-4403-84C6-0284BB21E30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3" creationId="{CE15EE06-1716-4A27-B708-4BB01C17DE60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6:21.718" v="733" actId="21"/>
          <ac:spMkLst>
            <pc:docMk/>
            <pc:sldMk cId="1881171097" sldId="2134804309"/>
            <ac:spMk id="84" creationId="{81C5D11B-6C10-47EC-9725-67D989458AC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4" creationId="{A2F057ED-AFB8-4F45-8C36-D5FB6097236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3:22.255" v="1206" actId="21"/>
          <ac:spMkLst>
            <pc:docMk/>
            <pc:sldMk cId="1881171097" sldId="2134804309"/>
            <ac:spMk id="85" creationId="{9F287BA6-6F52-496A-96CD-902D2B6DC87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5" creationId="{FAC4F22F-3414-44C1-A65D-540B9112C98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6" creationId="{620FDB6F-5071-4318-BDFE-2D1F9986390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3:22.255" v="1206" actId="21"/>
          <ac:spMkLst>
            <pc:docMk/>
            <pc:sldMk cId="1881171097" sldId="2134804309"/>
            <ac:spMk id="86" creationId="{69BE6FDF-22BC-411D-A95D-41CBCDE034B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7" creationId="{F24941ED-3972-4753-9445-8954FDD8DF8F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87" creationId="{FE811B0C-88CE-4A45-95A3-61C236577A9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3:22.255" v="1206" actId="21"/>
          <ac:spMkLst>
            <pc:docMk/>
            <pc:sldMk cId="1881171097" sldId="2134804309"/>
            <ac:spMk id="88" creationId="{937276FC-4238-4AA6-8D50-D428B08651F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8" creationId="{B561C3D5-A20C-493C-9C02-E2314860CB0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46:47.319" v="1341" actId="478"/>
          <ac:spMkLst>
            <pc:docMk/>
            <pc:sldMk cId="1881171097" sldId="2134804309"/>
            <ac:spMk id="90" creationId="{955BB129-0C1B-408A-B212-FFDA7FB1B19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92" creationId="{E621B45B-C605-46EF-8BAD-713A8EBB5BF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41:10.471" v="1293" actId="478"/>
          <ac:spMkLst>
            <pc:docMk/>
            <pc:sldMk cId="1881171097" sldId="2134804309"/>
            <ac:spMk id="93" creationId="{7FB27A17-D47B-4EFA-8880-9AA325F91D4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4" creationId="{7D1D4A17-C5B5-4909-8085-D935590F1CA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5" creationId="{BE3B4170-B32A-40FF-B5DE-DA6EBC5A676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6" creationId="{FAF863B0-6E98-4B56-A392-942449A11C4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7" creationId="{8899B45E-E2B7-4AC3-B2BB-693D2735369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8" creationId="{A68B0893-D689-4EE8-8D3E-54F73A9757E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9" creationId="{21738C4C-B6CA-45EC-8816-71F99EA0FEC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00" creationId="{65BEA0CF-3025-4182-BB7C-7FCB9677B09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01" creationId="{69EAD6EC-44EF-4157-BA6D-9433BAF52D3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2" creationId="{F8FA8ECE-E658-4C64-A3B1-6A806255C79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3" creationId="{0B0068DF-8560-4DE3-A5B3-C1B0DC13B991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03" creationId="{EAB5FB81-51BD-4B45-B02E-4D00C22C82C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4" creationId="{E701ACE9-46EE-422A-AE16-833BD058D39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5" creationId="{45CF518F-B271-43E8-B6A2-B64CBB97A470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06" creationId="{35E26E95-A46B-4DFF-AAB8-2D6D1A35193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6" creationId="{F44BB698-7111-4393-8AC4-ABEA13806C1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7" creationId="{15CD6DD8-D09F-44A5-AE7D-D7A57797EBC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8" creationId="{A395EA7F-CF32-480C-80C5-34EFCB04E1C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9" creationId="{142F92A7-9D21-447F-A2E7-82C0B84CAD5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10" creationId="{FF5CBA6A-80B4-47FC-9377-C9EA74D7610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11" creationId="{7DE6D372-1CE3-4F58-AF7B-63976926F0D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12" creationId="{7F0C49F2-B262-453A-8A98-455A0D6FD8F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13" creationId="{A1ADACBA-24CA-4485-BB08-E6C9F5317722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14" creationId="{5FC9CB71-87BB-40AF-8B70-47E1CB40C22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8:34.930" v="1995" actId="478"/>
          <ac:spMkLst>
            <pc:docMk/>
            <pc:sldMk cId="1881171097" sldId="2134804309"/>
            <ac:spMk id="115" creationId="{6CAC64A2-A363-4B91-8AEA-39062CEC425E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08.945" v="2068" actId="14100"/>
          <ac:spMkLst>
            <pc:docMk/>
            <pc:sldMk cId="1881171097" sldId="2134804309"/>
            <ac:spMk id="116" creationId="{5A16BED0-F706-4065-9F89-248100093201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14.514" v="2069" actId="14100"/>
          <ac:spMkLst>
            <pc:docMk/>
            <pc:sldMk cId="1881171097" sldId="2134804309"/>
            <ac:spMk id="117" creationId="{CD823FF2-16E5-48CF-8D46-A0FA3D6C7F8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6:48.002" v="1664" actId="207"/>
          <ac:spMkLst>
            <pc:docMk/>
            <pc:sldMk cId="1881171097" sldId="2134804309"/>
            <ac:spMk id="118" creationId="{4595D805-A213-43C8-B637-A714BE5381A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19" creationId="{7EC1E586-865D-4AE6-8E83-6DD1A461383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20" creationId="{8AC43903-3E05-4E77-83F5-D173AA753F73}"/>
          </ac:spMkLst>
        </pc:spChg>
        <pc:spChg chg="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21" creationId="{33D17D00-C5E0-4296-BB51-8B9CF48F67F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22" creationId="{977AA09D-5209-43EC-82D8-E76ADC7BF2E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23" creationId="{B7B2CB6A-5941-466A-A7D0-8B81D284EE83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24" creationId="{A4328D8F-5DD8-48CF-8F73-62B7720062CB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0" creationId="{4FD9B8CA-9352-41D3-88BC-F0C86CA4B007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0" creationId="{87BE4D39-585A-439A-9AD3-A09D201B12F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8:20.549" v="1992" actId="478"/>
          <ac:spMkLst>
            <pc:docMk/>
            <pc:sldMk cId="1881171097" sldId="2134804309"/>
            <ac:spMk id="131" creationId="{4B528B22-1701-45EE-B9A4-8C449FE60978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31" creationId="{8889283B-005D-488D-86F9-CDCDA28E5F7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3:49.406" v="1490" actId="12789"/>
          <ac:spMkLst>
            <pc:docMk/>
            <pc:sldMk cId="1881171097" sldId="2134804309"/>
            <ac:spMk id="132" creationId="{6A90B078-206F-4E1D-89A1-298F78E33B7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33" creationId="{DB96E95E-854F-43C5-96C3-F7AE75CE00DC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4" creationId="{2015B74C-B102-4125-897E-A341F263D14B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4" creationId="{E4A40521-62DA-4B43-B879-4935D7E2A31A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5" creationId="{965631E9-4740-4B58-A1AB-6ED9AA0B8ABC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5" creationId="{A96D59B7-AD0C-4A43-B666-01ACCBF85F75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6" creationId="{5890EB29-9FAA-4C90-A355-FBA18A97BDDE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6" creationId="{DC2DE3F9-ECAC-40AD-A20A-B32B38C58757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7" creationId="{2ED733E9-8720-4819-BEBA-1DF79F59A52E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7" creationId="{BDEF36B3-92BD-43BC-AD5C-2DF950D99692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8" creationId="{0A50029C-6FF1-4E5B-8FE3-9A0E8C0D7425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8" creationId="{47FFB5EB-8D30-4053-83FE-3EB0C26FC914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9" creationId="{BD162B85-53EB-43DE-ABAD-5EA1F4E7CB92}"/>
          </ac:spMkLst>
        </pc:spChg>
        <pc:spChg chg="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40" creationId="{2192EC14-9AFE-49A4-ACE7-7007DE21810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41" creationId="{69FF13A6-B914-4228-B818-FA84C77810D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42" creationId="{09BA4622-4FF0-4AE7-A2BE-CA9EB89C56FC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43" creationId="{3B6CC448-71E4-48AD-AC27-24C2C48F7494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3" creationId="{5C29BAE3-34CF-48B9-85BE-140234AE0E0E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4" creationId="{31297E8D-1EAA-46FA-A7B3-D13961584BDA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44" creationId="{459CE26A-2C70-483D-8505-6145B8B804E7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45" creationId="{73499BFD-F641-4498-BC47-3D42BE7BF515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5" creationId="{C35B3BDA-B5DD-49E4-869E-1BA753B77D0F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46" creationId="{044A596C-01C5-4049-AD23-91F31E1CC4A1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6" creationId="{3CD3EBB4-398A-4098-A764-49CE8DCD2DF5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7" creationId="{81EBC7C5-5794-471A-9D9A-8E79D7746286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47" creationId="{E4AEA615-7563-4C1B-A271-099D66D37367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8" creationId="{A1979FAB-B967-4CBE-BEB7-74EA805D3AE4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48" creationId="{C466D27F-D52B-4D18-AB1A-B4A5A9F42324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49" creationId="{26DDE36A-BBEB-4220-A185-CCDB2EE3D91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51.132" v="1930" actId="478"/>
          <ac:spMkLst>
            <pc:docMk/>
            <pc:sldMk cId="1881171097" sldId="2134804309"/>
            <ac:spMk id="149" creationId="{8E90A061-D8BE-4F9D-ADC6-A081ADBEFB89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50" creationId="{1C6B11C4-1308-4BF3-BB98-C70CE251845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16.059" v="1906" actId="478"/>
          <ac:spMkLst>
            <pc:docMk/>
            <pc:sldMk cId="1881171097" sldId="2134804309"/>
            <ac:spMk id="150" creationId="{EAE7DA8B-6063-454F-9BA8-7FB5BC4469F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48.250" v="1929" actId="478"/>
          <ac:spMkLst>
            <pc:docMk/>
            <pc:sldMk cId="1881171097" sldId="2134804309"/>
            <ac:spMk id="151" creationId="{8F03D81E-4AB8-400D-9E55-4662A8D8A5A7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51" creationId="{E1D12F42-18F9-40F6-8EFF-433E9B9F0592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52" creationId="{6249E4F1-2D8E-4097-9179-EBC1401827B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14.470" v="1905" actId="478"/>
          <ac:spMkLst>
            <pc:docMk/>
            <pc:sldMk cId="1881171097" sldId="2134804309"/>
            <ac:spMk id="152" creationId="{FE5F88C7-31ED-4BE9-995C-AF382C684243}"/>
          </ac:spMkLst>
        </pc:spChg>
        <pc:spChg chg="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53" creationId="{EBCEC452-242A-41DC-B20E-8FCEB57C4FE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19.448" v="1908" actId="478"/>
          <ac:spMkLst>
            <pc:docMk/>
            <pc:sldMk cId="1881171097" sldId="2134804309"/>
            <ac:spMk id="154" creationId="{30044D49-4489-47D1-B0CA-10EBA37E302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17.913" v="1907" actId="478"/>
          <ac:spMkLst>
            <pc:docMk/>
            <pc:sldMk cId="1881171097" sldId="2134804309"/>
            <ac:spMk id="155" creationId="{2DB40538-DD47-4D31-A9CA-CE4FD2C226EF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01.352" v="2067" actId="1038"/>
          <ac:spMkLst>
            <pc:docMk/>
            <pc:sldMk cId="1881171097" sldId="2134804309"/>
            <ac:spMk id="156" creationId="{490A74A3-1964-4E35-BB2D-A4095C49EEBB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01.352" v="2067" actId="1038"/>
          <ac:spMkLst>
            <pc:docMk/>
            <pc:sldMk cId="1881171097" sldId="2134804309"/>
            <ac:spMk id="157" creationId="{2FC4149F-5027-46B3-9E30-4BDE1F81B657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01.352" v="2067" actId="1038"/>
          <ac:spMkLst>
            <pc:docMk/>
            <pc:sldMk cId="1881171097" sldId="2134804309"/>
            <ac:spMk id="158" creationId="{2FD20487-A8FC-4169-8ACD-EEB7DE7361C9}"/>
          </ac:spMkLst>
        </pc:spChg>
        <pc:spChg chg="add mod">
          <ac:chgData name="Yuly Andrea Castaneda Ramirez (CENIT)" userId="9d6b9224-b289-47c8-b6d4-3bf138101243" providerId="ADAL" clId="{0150EA7A-3692-4CE6-8414-A2D55987BE21}" dt="2020-06-17T01:27:58.686" v="1744" actId="1076"/>
          <ac:spMkLst>
            <pc:docMk/>
            <pc:sldMk cId="1881171097" sldId="2134804309"/>
            <ac:spMk id="159" creationId="{B93976E5-27D0-4BF6-A212-0E310DF88389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16.781" v="1937" actId="404"/>
          <ac:spMkLst>
            <pc:docMk/>
            <pc:sldMk cId="1881171097" sldId="2134804309"/>
            <ac:spMk id="160" creationId="{2901AD0B-4413-40F5-ACFA-AFC448843BD0}"/>
          </ac:spMkLst>
        </pc:spChg>
        <pc:spChg chg="add mod">
          <ac:chgData name="Yuly Andrea Castaneda Ramirez (CENIT)" userId="9d6b9224-b289-47c8-b6d4-3bf138101243" providerId="ADAL" clId="{0150EA7A-3692-4CE6-8414-A2D55987BE21}" dt="2020-06-17T01:40:41.704" v="1885" actId="1582"/>
          <ac:spMkLst>
            <pc:docMk/>
            <pc:sldMk cId="1881171097" sldId="2134804309"/>
            <ac:spMk id="161" creationId="{4DFB72A5-4B3C-41DB-A5E7-D636B9A1ED41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62" creationId="{C80AAD0A-3366-4703-9780-480AA5B1EC87}"/>
          </ac:spMkLst>
        </pc:spChg>
        <pc:spChg chg="add mod">
          <ac:chgData name="Yuly Andrea Castaneda Ramirez (CENIT)" userId="9d6b9224-b289-47c8-b6d4-3bf138101243" providerId="ADAL" clId="{0150EA7A-3692-4CE6-8414-A2D55987BE21}" dt="2020-06-17T01:32:18.906" v="1805" actId="404"/>
          <ac:spMkLst>
            <pc:docMk/>
            <pc:sldMk cId="1881171097" sldId="2134804309"/>
            <ac:spMk id="163" creationId="{2B9AC342-E8FE-4143-925A-3CB829923C4D}"/>
          </ac:spMkLst>
        </pc:spChg>
        <pc:spChg chg="add mod">
          <ac:chgData name="Yuly Andrea Castaneda Ramirez (CENIT)" userId="9d6b9224-b289-47c8-b6d4-3bf138101243" providerId="ADAL" clId="{0150EA7A-3692-4CE6-8414-A2D55987BE21}" dt="2020-06-17T01:32:26.052" v="1811" actId="404"/>
          <ac:spMkLst>
            <pc:docMk/>
            <pc:sldMk cId="1881171097" sldId="2134804309"/>
            <ac:spMk id="164" creationId="{70748BF9-B4EA-4E45-A806-C5641A532561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07.723" v="1968" actId="1036"/>
          <ac:spMkLst>
            <pc:docMk/>
            <pc:sldMk cId="1881171097" sldId="2134804309"/>
            <ac:spMk id="165" creationId="{194EC9F5-F1D2-47AF-990B-CBCBFCC972F8}"/>
          </ac:spMkLst>
        </pc:spChg>
        <pc:spChg chg="add mod">
          <ac:chgData name="Yuly Andrea Castaneda Ramirez (CENIT)" userId="9d6b9224-b289-47c8-b6d4-3bf138101243" providerId="ADAL" clId="{0150EA7A-3692-4CE6-8414-A2D55987BE21}" dt="2020-06-17T01:32:14.877" v="1802" actId="404"/>
          <ac:spMkLst>
            <pc:docMk/>
            <pc:sldMk cId="1881171097" sldId="2134804309"/>
            <ac:spMk id="166" creationId="{3AAC2A12-F2F6-48CB-9F59-FACC86D61FA7}"/>
          </ac:spMkLst>
        </pc:spChg>
        <pc:spChg chg="add mod">
          <ac:chgData name="Yuly Andrea Castaneda Ramirez (CENIT)" userId="9d6b9224-b289-47c8-b6d4-3bf138101243" providerId="ADAL" clId="{0150EA7A-3692-4CE6-8414-A2D55987BE21}" dt="2020-06-17T01:28:58.105" v="1746" actId="1076"/>
          <ac:spMkLst>
            <pc:docMk/>
            <pc:sldMk cId="1881171097" sldId="2134804309"/>
            <ac:spMk id="167" creationId="{A5D3EC19-3BF6-4041-9828-93D1DE4CDAD0}"/>
          </ac:spMkLst>
        </pc:spChg>
        <pc:spChg chg="add mod">
          <ac:chgData name="Yuly Andrea Castaneda Ramirez (CENIT)" userId="9d6b9224-b289-47c8-b6d4-3bf138101243" providerId="ADAL" clId="{0150EA7A-3692-4CE6-8414-A2D55987BE21}" dt="2020-06-17T01:29:31.391" v="1782" actId="1076"/>
          <ac:spMkLst>
            <pc:docMk/>
            <pc:sldMk cId="1881171097" sldId="2134804309"/>
            <ac:spMk id="168" creationId="{A52E7ECA-65B4-453E-936A-E9AF2AAFD058}"/>
          </ac:spMkLst>
        </pc:spChg>
        <pc:spChg chg="add mod">
          <ac:chgData name="Yuly Andrea Castaneda Ramirez (CENIT)" userId="9d6b9224-b289-47c8-b6d4-3bf138101243" providerId="ADAL" clId="{0150EA7A-3692-4CE6-8414-A2D55987BE21}" dt="2020-06-17T01:29:43.384" v="1784" actId="1076"/>
          <ac:spMkLst>
            <pc:docMk/>
            <pc:sldMk cId="1881171097" sldId="2134804309"/>
            <ac:spMk id="169" creationId="{86DC604E-B99E-462C-9EA2-106AD4E6C314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23.064" v="1938" actId="108"/>
          <ac:spMkLst>
            <pc:docMk/>
            <pc:sldMk cId="1881171097" sldId="2134804309"/>
            <ac:spMk id="170" creationId="{54D05389-E3E9-4168-AFFF-27D476CAFCA2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26.236" v="1939" actId="108"/>
          <ac:spMkLst>
            <pc:docMk/>
            <pc:sldMk cId="1881171097" sldId="2134804309"/>
            <ac:spMk id="171" creationId="{497FA596-462E-412E-B356-7FBE349705A0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2.026" v="1946" actId="108"/>
          <ac:spMkLst>
            <pc:docMk/>
            <pc:sldMk cId="1881171097" sldId="2134804309"/>
            <ac:spMk id="172" creationId="{0C07494B-8798-4454-8C76-A3DF84B018D8}"/>
          </ac:spMkLst>
        </pc:spChg>
        <pc:spChg chg="add mod">
          <ac:chgData name="Yuly Andrea Castaneda Ramirez (CENIT)" userId="9d6b9224-b289-47c8-b6d4-3bf138101243" providerId="ADAL" clId="{0150EA7A-3692-4CE6-8414-A2D55987BE21}" dt="2020-06-17T01:33:54.281" v="1830" actId="1076"/>
          <ac:spMkLst>
            <pc:docMk/>
            <pc:sldMk cId="1881171097" sldId="2134804309"/>
            <ac:spMk id="173" creationId="{91CD8E64-8CB2-44A7-8795-E9D52032D305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3.636" v="1947" actId="108"/>
          <ac:spMkLst>
            <pc:docMk/>
            <pc:sldMk cId="1881171097" sldId="2134804309"/>
            <ac:spMk id="174" creationId="{4F7554FC-2E26-4AD3-96CD-552B818B62E9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46.507" v="1943" actId="108"/>
          <ac:spMkLst>
            <pc:docMk/>
            <pc:sldMk cId="1881171097" sldId="2134804309"/>
            <ac:spMk id="175" creationId="{0D55B3BB-A7B6-4628-8AA8-738A4C6F3437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0.296" v="1944" actId="108"/>
          <ac:spMkLst>
            <pc:docMk/>
            <pc:sldMk cId="1881171097" sldId="2134804309"/>
            <ac:spMk id="176" creationId="{393DD43E-1230-4F0C-9651-99E6BBD4FE05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1.375" v="1945" actId="108"/>
          <ac:spMkLst>
            <pc:docMk/>
            <pc:sldMk cId="1881171097" sldId="2134804309"/>
            <ac:spMk id="177" creationId="{521F6A96-E05A-4EBC-8A00-20717CBD3086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78" creationId="{76ED4BF6-4BF8-4724-854E-DCAD04C995BC}"/>
          </ac:spMkLst>
        </pc:spChg>
        <pc:spChg chg="add mod">
          <ac:chgData name="Yuly Andrea Castaneda Ramirez (CENIT)" userId="9d6b9224-b289-47c8-b6d4-3bf138101243" providerId="ADAL" clId="{0150EA7A-3692-4CE6-8414-A2D55987BE21}" dt="2020-06-17T01:40:49.637" v="1887" actId="20577"/>
          <ac:spMkLst>
            <pc:docMk/>
            <pc:sldMk cId="1881171097" sldId="2134804309"/>
            <ac:spMk id="179" creationId="{56D1A497-A8FE-4FC9-9783-FAE1DF97D648}"/>
          </ac:spMkLst>
        </pc:spChg>
        <pc:spChg chg="add mod">
          <ac:chgData name="Yuly Andrea Castaneda Ramirez (CENIT)" userId="9d6b9224-b289-47c8-b6d4-3bf138101243" providerId="ADAL" clId="{0150EA7A-3692-4CE6-8414-A2D55987BE21}" dt="2020-06-17T01:41:50.894" v="1904" actId="1582"/>
          <ac:spMkLst>
            <pc:docMk/>
            <pc:sldMk cId="1881171097" sldId="2134804309"/>
            <ac:spMk id="180" creationId="{0F422F67-327E-41CA-B2AE-E1590988ACD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4:22.023" v="1959" actId="20577"/>
          <ac:spMkLst>
            <pc:docMk/>
            <pc:sldMk cId="1881171097" sldId="2134804309"/>
            <ac:spMk id="181" creationId="{37080A62-F27F-4A20-A3F0-2EE06B877BC2}"/>
          </ac:spMkLst>
        </pc:spChg>
        <pc:cxnChg chg="add mod">
          <ac:chgData name="Yuly Andrea Castaneda Ramirez (CENIT)" userId="9d6b9224-b289-47c8-b6d4-3bf138101243" providerId="ADAL" clId="{0150EA7A-3692-4CE6-8414-A2D55987BE21}" dt="2020-06-17T01:45:03.018" v="1964" actId="1035"/>
          <ac:cxnSpMkLst>
            <pc:docMk/>
            <pc:sldMk cId="1881171097" sldId="2134804309"/>
            <ac:cxnSpMk id="89" creationId="{04477992-0B9B-4BEC-B170-FAA9A5EBAF51}"/>
          </ac:cxnSpMkLst>
        </pc:cxnChg>
        <pc:cxnChg chg="add del mod">
          <ac:chgData name="Yuly Andrea Castaneda Ramirez (CENIT)" userId="9d6b9224-b289-47c8-b6d4-3bf138101243" providerId="ADAL" clId="{0150EA7A-3692-4CE6-8414-A2D55987BE21}" dt="2020-06-17T00:43:09.340" v="1307" actId="478"/>
          <ac:cxnSpMkLst>
            <pc:docMk/>
            <pc:sldMk cId="1881171097" sldId="2134804309"/>
            <ac:cxnSpMk id="91" creationId="{02F6DB37-F9A7-4C02-9D10-7FFB9EF202B4}"/>
          </ac:cxnSpMkLst>
        </pc:cxnChg>
      </pc:sldChg>
    </pc:docChg>
  </pc:docChgLst>
  <pc:docChgLst>
    <pc:chgData name="Usuario invitado" userId="S::urn:spo:anon#6de606f2d18a836dd641fa4e7e10836e2511cc4d613c730fd3a33a3cc7de2012::" providerId="AD" clId="Web-{7341368A-C531-5AC5-7B7E-8DD3FCF9D1DE}"/>
    <pc:docChg chg="modSld">
      <pc:chgData name="Usuario invitado" userId="S::urn:spo:anon#6de606f2d18a836dd641fa4e7e10836e2511cc4d613c730fd3a33a3cc7de2012::" providerId="AD" clId="Web-{7341368A-C531-5AC5-7B7E-8DD3FCF9D1DE}" dt="2020-10-14T15:31:17.073" v="2" actId="20577"/>
      <pc:docMkLst>
        <pc:docMk/>
      </pc:docMkLst>
      <pc:sldChg chg="modSp">
        <pc:chgData name="Usuario invitado" userId="S::urn:spo:anon#6de606f2d18a836dd641fa4e7e10836e2511cc4d613c730fd3a33a3cc7de2012::" providerId="AD" clId="Web-{7341368A-C531-5AC5-7B7E-8DD3FCF9D1DE}" dt="2020-10-14T15:31:15.026" v="1" actId="20577"/>
        <pc:sldMkLst>
          <pc:docMk/>
          <pc:sldMk cId="1473259662" sldId="3418"/>
        </pc:sldMkLst>
        <pc:spChg chg="mod">
          <ac:chgData name="Usuario invitado" userId="S::urn:spo:anon#6de606f2d18a836dd641fa4e7e10836e2511cc4d613c730fd3a33a3cc7de2012::" providerId="AD" clId="Web-{7341368A-C531-5AC5-7B7E-8DD3FCF9D1DE}" dt="2020-10-14T15:31:15.026" v="1" actId="20577"/>
          <ac:spMkLst>
            <pc:docMk/>
            <pc:sldMk cId="1473259662" sldId="3418"/>
            <ac:spMk id="77" creationId="{F70C1A25-6771-5E41-B95D-AA209690DD7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12B216-019E-4036-8562-57EF95F31BD5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982204-AC2A-435A-8E03-13AC72C75B63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3148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132AF8-1D01-D044-82F4-18027017BC9E}" type="slidenum">
              <a:rPr lang="es-ES_tradnl" smtClean="0"/>
              <a:t>1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09427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82204-AC2A-435A-8E03-13AC72C75B63}" type="slidenum">
              <a:rPr lang="es-CO" smtClean="0"/>
              <a:t>2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49514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82204-AC2A-435A-8E03-13AC72C75B63}" type="slidenum">
              <a:rPr lang="es-CO" smtClean="0"/>
              <a:t>2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2563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82204-AC2A-435A-8E03-13AC72C75B63}" type="slidenum">
              <a:rPr lang="es-CO" smtClean="0"/>
              <a:t>26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52393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2.bin"/><Relationship Id="rId7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emf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0" Type="http://schemas.openxmlformats.org/officeDocument/2006/relationships/oleObject" Target="../embeddings/oleObject5.bin"/><Relationship Id="rId4" Type="http://schemas.openxmlformats.org/officeDocument/2006/relationships/image" Target="../media/image3.emf"/><Relationship Id="rId9" Type="http://schemas.openxmlformats.org/officeDocument/2006/relationships/oleObject" Target="../embeddings/oleObject4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/Relationships>
</file>

<file path=ppt/slideLayouts/_rels/slideLayout2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0.xml"/><Relationship Id="rId7" Type="http://schemas.openxmlformats.org/officeDocument/2006/relationships/image" Target="../media/image11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3.xml"/><Relationship Id="rId7" Type="http://schemas.openxmlformats.org/officeDocument/2006/relationships/image" Target="../media/image11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 flipH="1">
            <a:off x="1" y="2285784"/>
            <a:ext cx="12198481" cy="4573836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78">
              <a:solidFill>
                <a:srgbClr val="000000"/>
              </a:solidFill>
            </a:endParaRPr>
          </a:p>
        </p:txBody>
      </p:sp>
      <p:pic>
        <p:nvPicPr>
          <p:cNvPr id="18468" name="Picture 36" descr="http://inteligenciapetrolera.com.co/inicio/wp-content/uploads/2015/05/oleoductos-Colombia.jpg"/>
          <p:cNvPicPr>
            <a:picLocks noChangeAspect="1" noChangeArrowheads="1"/>
          </p:cNvPicPr>
          <p:nvPr/>
        </p:nvPicPr>
        <p:blipFill rotWithShape="1">
          <a:blip r:embed="rId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0"/>
            <a:ext cx="12198479" cy="2285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itleTopPlaceholder"/>
          <p:cNvSpPr>
            <a:spLocks noChangeArrowheads="1"/>
          </p:cNvSpPr>
          <p:nvPr/>
        </p:nvSpPr>
        <p:spPr bwMode="auto">
          <a:xfrm>
            <a:off x="1" y="1944"/>
            <a:ext cx="12198480" cy="2283840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7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98214" y="2808900"/>
            <a:ext cx="7973759" cy="369332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_tradnl" noProof="0"/>
              <a:t>Título de la Presentación (Arial, 24, Blanco)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98213" y="3883792"/>
            <a:ext cx="7973759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_tradnl" noProof="0"/>
              <a:t>Fecha de la presentación (DD de mes de AÑO) (Arial, 16, Azul Claro)</a:t>
            </a: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16593" y="372730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689" b="1" err="1">
                <a:solidFill>
                  <a:srgbClr val="DCEBF4">
                    <a:lumMod val="25000"/>
                  </a:srgbClr>
                </a:solidFill>
              </a:rPr>
              <a:t>WORKING</a:t>
            </a:r>
            <a:r>
              <a:rPr lang="es-ES_tradnl" sz="689" b="1">
                <a:solidFill>
                  <a:srgbClr val="DCEBF4">
                    <a:lumMod val="25000"/>
                  </a:srgbClr>
                </a:solidFill>
              </a:rPr>
              <a:t> </a:t>
            </a:r>
            <a:r>
              <a:rPr lang="es-ES_tradnl" sz="689" b="1" err="1">
                <a:solidFill>
                  <a:srgbClr val="DCEBF4">
                    <a:lumMod val="25000"/>
                  </a:srgbClr>
                </a:solidFill>
              </a:rPr>
              <a:t>DRAFT</a:t>
            </a:r>
            <a:endParaRPr lang="es-ES_tradnl" sz="689" b="1">
              <a:solidFill>
                <a:srgbClr val="DCEBF4">
                  <a:lumMod val="25000"/>
                </a:srgbClr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16591" y="531465"/>
            <a:ext cx="2447786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>
                <a:solidFill>
                  <a:srgbClr val="DCEBF4">
                    <a:lumMod val="25000"/>
                  </a:srgbClr>
                </a:solidFill>
              </a:rPr>
              <a:t>Last Modified 31/10/2016 3:14 p. m. SA Pacific Standard Time</a:t>
            </a:r>
            <a:endParaRPr lang="es-ES_tradnl" sz="689">
              <a:solidFill>
                <a:srgbClr val="DCEBF4">
                  <a:lumMod val="25000"/>
                </a:srgbClr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16592" y="691820"/>
            <a:ext cx="280526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689" err="1">
                <a:solidFill>
                  <a:srgbClr val="DCEBF4">
                    <a:lumMod val="25000"/>
                  </a:srgbClr>
                </a:solidFill>
              </a:rPr>
              <a:t>Printed</a:t>
            </a:r>
            <a:endParaRPr lang="es-ES_tradnl" sz="689">
              <a:solidFill>
                <a:srgbClr val="DCEBF4">
                  <a:lumMod val="25000"/>
                </a:srgbClr>
              </a:solidFill>
            </a:endParaRPr>
          </a:p>
        </p:txBody>
      </p:sp>
      <p:grpSp>
        <p:nvGrpSpPr>
          <p:cNvPr id="37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8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446901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39" name="Date" hidden="1"/>
            <p:cNvSpPr txBox="1">
              <a:spLocks noChangeArrowheads="1"/>
            </p:cNvSpPr>
            <p:nvPr/>
          </p:nvSpPr>
          <p:spPr bwMode="auto">
            <a:xfrm>
              <a:off x="2640013" y="5660798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Date</a:t>
              </a:r>
            </a:p>
          </p:txBody>
        </p:sp>
        <p:sp>
          <p:nvSpPr>
            <p:cNvPr id="40" name="Disclaimer" hidden="1"/>
            <p:cNvSpPr>
              <a:spLocks noChangeArrowheads="1"/>
            </p:cNvSpPr>
            <p:nvPr/>
          </p:nvSpPr>
          <p:spPr bwMode="auto">
            <a:xfrm>
              <a:off x="2640013" y="6143140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41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Rectangle 42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sp>
        <p:nvSpPr>
          <p:cNvPr id="19" name="Rectangle 87"/>
          <p:cNvSpPr>
            <a:spLocks noChangeArrowheads="1"/>
          </p:cNvSpPr>
          <p:nvPr/>
        </p:nvSpPr>
        <p:spPr bwMode="auto">
          <a:xfrm rot="16200000">
            <a:off x="2183495" y="3877869"/>
            <a:ext cx="1230716" cy="371949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0" name="Freeform 88"/>
          <p:cNvSpPr>
            <a:spLocks noEditPoints="1"/>
          </p:cNvSpPr>
          <p:nvPr/>
        </p:nvSpPr>
        <p:spPr bwMode="auto">
          <a:xfrm rot="16200000">
            <a:off x="323275" y="2551008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45" name="Rectangle 86"/>
          <p:cNvSpPr>
            <a:spLocks noChangeArrowheads="1"/>
          </p:cNvSpPr>
          <p:nvPr/>
        </p:nvSpPr>
        <p:spPr bwMode="auto">
          <a:xfrm rot="5400000">
            <a:off x="1493339" y="2412186"/>
            <a:ext cx="303144" cy="1259975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47" name="Freeform 88"/>
          <p:cNvSpPr>
            <a:spLocks noEditPoints="1"/>
          </p:cNvSpPr>
          <p:nvPr/>
        </p:nvSpPr>
        <p:spPr bwMode="auto">
          <a:xfrm rot="5400000">
            <a:off x="2357715" y="2756837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56" name="Rectangle 87"/>
          <p:cNvSpPr>
            <a:spLocks noChangeArrowheads="1"/>
          </p:cNvSpPr>
          <p:nvPr/>
        </p:nvSpPr>
        <p:spPr bwMode="auto">
          <a:xfrm rot="16200000">
            <a:off x="316141" y="2272856"/>
            <a:ext cx="349980" cy="371949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 rot="16200000" flipH="1">
            <a:off x="7067861" y="140198"/>
            <a:ext cx="580815" cy="9658831"/>
            <a:chOff x="1373570" y="4512865"/>
            <a:chExt cx="569252" cy="7099493"/>
          </a:xfrm>
        </p:grpSpPr>
        <p:sp>
          <p:nvSpPr>
            <p:cNvPr id="59" name="Rectangle 87"/>
            <p:cNvSpPr>
              <a:spLocks noChangeArrowheads="1"/>
            </p:cNvSpPr>
            <p:nvPr userDrawn="1"/>
          </p:nvSpPr>
          <p:spPr bwMode="auto">
            <a:xfrm rot="16200000">
              <a:off x="-1492699" y="8224274"/>
              <a:ext cx="6502776" cy="273392"/>
            </a:xfrm>
            <a:prstGeom prst="rect">
              <a:avLst/>
            </a:prstGeom>
            <a:solidFill>
              <a:schemeClr val="tx2">
                <a:lumMod val="60000"/>
                <a:lumOff val="40000"/>
                <a:alpha val="1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sz="1378">
                <a:solidFill>
                  <a:srgbClr val="000000"/>
                </a:solidFill>
              </a:endParaRPr>
            </a:p>
          </p:txBody>
        </p:sp>
        <p:sp>
          <p:nvSpPr>
            <p:cNvPr id="60" name="Freeform 88"/>
            <p:cNvSpPr>
              <a:spLocks noEditPoints="1"/>
            </p:cNvSpPr>
            <p:nvPr userDrawn="1"/>
          </p:nvSpPr>
          <p:spPr bwMode="auto">
            <a:xfrm rot="5400000">
              <a:off x="1359837" y="4526598"/>
              <a:ext cx="596717" cy="569252"/>
            </a:xfrm>
            <a:custGeom>
              <a:avLst/>
              <a:gdLst>
                <a:gd name="T0" fmla="*/ 176 w 201"/>
                <a:gd name="T1" fmla="*/ 16 h 192"/>
                <a:gd name="T2" fmla="*/ 97 w 201"/>
                <a:gd name="T3" fmla="*/ 16 h 192"/>
                <a:gd name="T4" fmla="*/ 17 w 201"/>
                <a:gd name="T5" fmla="*/ 92 h 192"/>
                <a:gd name="T6" fmla="*/ 17 w 201"/>
                <a:gd name="T7" fmla="*/ 167 h 192"/>
                <a:gd name="T8" fmla="*/ 0 w 201"/>
                <a:gd name="T9" fmla="*/ 167 h 192"/>
                <a:gd name="T10" fmla="*/ 0 w 201"/>
                <a:gd name="T11" fmla="*/ 192 h 192"/>
                <a:gd name="T12" fmla="*/ 134 w 201"/>
                <a:gd name="T13" fmla="*/ 192 h 192"/>
                <a:gd name="T14" fmla="*/ 134 w 201"/>
                <a:gd name="T15" fmla="*/ 167 h 192"/>
                <a:gd name="T16" fmla="*/ 117 w 201"/>
                <a:gd name="T17" fmla="*/ 167 h 192"/>
                <a:gd name="T18" fmla="*/ 117 w 201"/>
                <a:gd name="T19" fmla="*/ 136 h 192"/>
                <a:gd name="T20" fmla="*/ 142 w 201"/>
                <a:gd name="T21" fmla="*/ 108 h 192"/>
                <a:gd name="T22" fmla="*/ 176 w 201"/>
                <a:gd name="T23" fmla="*/ 108 h 192"/>
                <a:gd name="T24" fmla="*/ 176 w 201"/>
                <a:gd name="T25" fmla="*/ 125 h 192"/>
                <a:gd name="T26" fmla="*/ 201 w 201"/>
                <a:gd name="T27" fmla="*/ 125 h 192"/>
                <a:gd name="T28" fmla="*/ 201 w 201"/>
                <a:gd name="T29" fmla="*/ 0 h 192"/>
                <a:gd name="T30" fmla="*/ 176 w 201"/>
                <a:gd name="T31" fmla="*/ 0 h 192"/>
                <a:gd name="T32" fmla="*/ 176 w 201"/>
                <a:gd name="T33" fmla="*/ 16 h 192"/>
                <a:gd name="T34" fmla="*/ 176 w 201"/>
                <a:gd name="T35" fmla="*/ 16 h 192"/>
                <a:gd name="T36" fmla="*/ 176 w 201"/>
                <a:gd name="T37" fmla="*/ 1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1" h="192">
                  <a:moveTo>
                    <a:pt x="176" y="16"/>
                  </a:moveTo>
                  <a:cubicBezTo>
                    <a:pt x="97" y="16"/>
                    <a:pt x="97" y="16"/>
                    <a:pt x="97" y="16"/>
                  </a:cubicBezTo>
                  <a:cubicBezTo>
                    <a:pt x="17" y="16"/>
                    <a:pt x="17" y="92"/>
                    <a:pt x="17" y="92"/>
                  </a:cubicBezTo>
                  <a:cubicBezTo>
                    <a:pt x="17" y="167"/>
                    <a:pt x="17" y="167"/>
                    <a:pt x="17" y="167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34" y="192"/>
                    <a:pt x="134" y="192"/>
                    <a:pt x="134" y="192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17" y="167"/>
                    <a:pt x="117" y="167"/>
                    <a:pt x="117" y="167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7" y="136"/>
                    <a:pt x="115" y="108"/>
                    <a:pt x="142" y="108"/>
                  </a:cubicBezTo>
                  <a:cubicBezTo>
                    <a:pt x="176" y="108"/>
                    <a:pt x="176" y="108"/>
                    <a:pt x="176" y="108"/>
                  </a:cubicBezTo>
                  <a:cubicBezTo>
                    <a:pt x="176" y="125"/>
                    <a:pt x="176" y="125"/>
                    <a:pt x="176" y="125"/>
                  </a:cubicBezTo>
                  <a:cubicBezTo>
                    <a:pt x="201" y="125"/>
                    <a:pt x="201" y="125"/>
                    <a:pt x="201" y="125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176" y="0"/>
                    <a:pt x="176" y="0"/>
                    <a:pt x="176" y="0"/>
                  </a:cubicBezTo>
                  <a:lnTo>
                    <a:pt x="176" y="16"/>
                  </a:lnTo>
                  <a:close/>
                  <a:moveTo>
                    <a:pt x="176" y="16"/>
                  </a:moveTo>
                  <a:cubicBezTo>
                    <a:pt x="176" y="16"/>
                    <a:pt x="176" y="16"/>
                    <a:pt x="176" y="16"/>
                  </a:cubicBezTo>
                </a:path>
              </a:pathLst>
            </a:custGeom>
            <a:solidFill>
              <a:schemeClr val="tx2">
                <a:lumMod val="60000"/>
                <a:lumOff val="40000"/>
                <a:alpha val="1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28" name="Object 2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32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Rectangle 45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48" name="Object 4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5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52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Rectangle 5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8" name="Object 5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58" name="Object 5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1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62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63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64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65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Rectangle 6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78">
                <a:solidFill>
                  <a:srgbClr val="000000"/>
                </a:solidFill>
              </a:endParaRPr>
            </a:p>
          </p:txBody>
        </p:sp>
      </p:grpSp>
      <p:pic>
        <p:nvPicPr>
          <p:cNvPr id="68" name="Picture 2" descr="https://www.cenit-transporte.com/wp-content/uploads/2013/01/cenit_logo-mob-retina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371" y="833131"/>
            <a:ext cx="1509429" cy="1132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5144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E411AF-5418-4C83-BA51-28505081766E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D1913-40D6-4ABE-93D6-D1AE9FF6CAC8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55948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AD122B0-0412-4D7A-B617-BEA6F282AA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250734F-2247-4ABB-A230-873FA3B094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A6EDFCF-C38D-415B-97D0-9B9798F80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54CEF5C-99E0-4B86-84A7-E61CF66CC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8F52087-CE37-4828-92C7-559F4BF19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5165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94D4E55-43B6-44E2-91A9-77EE387A2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FE1BBFD-D1D8-4954-8A62-8B4339BC46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C98F14F-4D87-419F-B2DC-5CB5B474C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C667438-696A-4E4F-84E2-A47C35536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6636E6F-DBED-4DC2-AE30-E29ED4644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721412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0B4E65-D991-4150-9F06-3A4AEF031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15A7DF2-CE62-41DA-9DAE-0F0C7F4712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340ADDD-38DB-4725-9259-755508520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7A41632-0B3A-47C5-802C-32F5FFA9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5F5C36-67A7-4105-9B53-8DF5FA9C3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612549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CD9991-AD6A-4064-A5CE-4CB483A49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6A01B24-B4AF-4C9B-89C8-12816470EB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5A31059-5DE2-46C0-ACE4-7290745559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A4B9DFA-1DFE-4413-B519-DD4197B31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618CFDB-632B-4511-ACC7-D64AC7084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79EEAC8-5F73-4290-845A-8A892A3EE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542531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20AC4D-1013-4C0A-BD3A-61FD76DC0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D0DC0D9-01B1-4B64-8D9E-DBC7291DB5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FFB5FD5-1C25-44DE-888C-E9C9DF5397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EE2355A5-1B85-441E-ABFA-9AC7D4E23A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8013EA6-796B-4935-8EC7-2EB0482362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995C99AF-0A72-44E7-8684-A5BBE2D79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087E52CF-7EF6-4452-87AB-662A2EA48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2CB858EB-81E3-425C-8375-AC15BE945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612592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0331F2-FD51-42EB-9F87-98EF25CC0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9C5BEE8-0DD7-4061-9848-7895E92EF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0C94C06-01FA-4533-927C-918CF8D34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A4B0F9C-0747-4E54-A16E-6926F7D25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146934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8A7DC31C-A969-40AF-B93E-CFE58EAC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63DF1604-3C41-4294-BED7-9FE66C07D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28572EE-1C2E-4539-924D-FE4678F4C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018847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50FA73-BE18-4889-B13F-D3576AFF5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5FE3B0B-E9A2-40D7-966B-6C67C491FD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B9F0437-AA3C-4DBA-88CD-6E6670DB61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78E75E2-F638-4146-BC0D-F1C4507E9F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CA58B67-0620-4478-99B6-A3AF79303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4BE2D1E-5AD2-41A3-BD33-5D889657E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658534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D0AC813-DDE5-472B-94D8-667E1D6C2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4BB18D3-E6FF-4885-8A11-B711A866BF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069E3CA-41C4-432D-89E2-B09FF46E52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38E9A9C-0363-4185-89EB-1788D502BE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9DB738A-7BAD-4A0E-926D-67DC5DB9A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BE68C4D-A3DC-4F49-A8B7-DD63A1733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47422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53"/>
          <p:cNvSpPr/>
          <p:nvPr/>
        </p:nvSpPr>
        <p:spPr>
          <a:xfrm flipH="1">
            <a:off x="1" y="2285784"/>
            <a:ext cx="12198481" cy="45738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78">
              <a:solidFill>
                <a:srgbClr val="000000"/>
              </a:solidFill>
            </a:endParaRPr>
          </a:p>
        </p:txBody>
      </p:sp>
      <p:pic>
        <p:nvPicPr>
          <p:cNvPr id="5" name="Picture 36" descr="http://inteligenciapetrolera.com.co/inicio/wp-content/uploads/2015/05/oleoductos-Colombia.jpg"/>
          <p:cNvPicPr>
            <a:picLocks noChangeAspect="1" noChangeArrowheads="1"/>
          </p:cNvPicPr>
          <p:nvPr/>
        </p:nvPicPr>
        <p:blipFill rotWithShape="1"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0"/>
            <a:ext cx="12198479" cy="2285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98214" y="3514460"/>
            <a:ext cx="7973759" cy="369332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noProof="0"/>
              <a:t>Título de la Sección (Arial, 24, Azul Oscuro)</a:t>
            </a:r>
          </a:p>
        </p:txBody>
      </p:sp>
      <p:sp>
        <p:nvSpPr>
          <p:cNvPr id="8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31362" y="6419408"/>
            <a:ext cx="7973759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noProof="0"/>
              <a:t>Título de la Presentación (Arial, 16, Azul Oscuro)</a:t>
            </a:r>
          </a:p>
        </p:txBody>
      </p:sp>
      <p:grpSp>
        <p:nvGrpSpPr>
          <p:cNvPr id="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1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446901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11" name="Date" hidden="1"/>
            <p:cNvSpPr txBox="1">
              <a:spLocks noChangeArrowheads="1"/>
            </p:cNvSpPr>
            <p:nvPr/>
          </p:nvSpPr>
          <p:spPr bwMode="auto">
            <a:xfrm>
              <a:off x="2640013" y="5660798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2" name="Disclaimer" hidden="1"/>
            <p:cNvSpPr>
              <a:spLocks noChangeArrowheads="1"/>
            </p:cNvSpPr>
            <p:nvPr/>
          </p:nvSpPr>
          <p:spPr bwMode="auto">
            <a:xfrm>
              <a:off x="2640013" y="6143140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Rectangle 42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87"/>
          <p:cNvSpPr>
            <a:spLocks noChangeArrowheads="1"/>
          </p:cNvSpPr>
          <p:nvPr/>
        </p:nvSpPr>
        <p:spPr bwMode="auto">
          <a:xfrm rot="16200000">
            <a:off x="2183495" y="3877869"/>
            <a:ext cx="1230716" cy="371949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7" name="Freeform 88"/>
          <p:cNvSpPr>
            <a:spLocks noEditPoints="1"/>
          </p:cNvSpPr>
          <p:nvPr/>
        </p:nvSpPr>
        <p:spPr bwMode="auto">
          <a:xfrm rot="16200000">
            <a:off x="323275" y="2551008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8" name="Rectangle 86"/>
          <p:cNvSpPr>
            <a:spLocks noChangeArrowheads="1"/>
          </p:cNvSpPr>
          <p:nvPr/>
        </p:nvSpPr>
        <p:spPr bwMode="auto">
          <a:xfrm rot="5400000">
            <a:off x="1493339" y="2412186"/>
            <a:ext cx="303144" cy="1259975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9" name="Freeform 88"/>
          <p:cNvSpPr>
            <a:spLocks noEditPoints="1"/>
          </p:cNvSpPr>
          <p:nvPr/>
        </p:nvSpPr>
        <p:spPr bwMode="auto">
          <a:xfrm rot="5400000">
            <a:off x="2357715" y="2756837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0" name="Rectangle 87"/>
          <p:cNvSpPr>
            <a:spLocks noChangeArrowheads="1"/>
          </p:cNvSpPr>
          <p:nvPr/>
        </p:nvSpPr>
        <p:spPr bwMode="auto">
          <a:xfrm rot="16200000">
            <a:off x="316141" y="2272856"/>
            <a:ext cx="349980" cy="371949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2" name="Rectangle 87"/>
          <p:cNvSpPr>
            <a:spLocks noChangeArrowheads="1"/>
          </p:cNvSpPr>
          <p:nvPr/>
        </p:nvSpPr>
        <p:spPr bwMode="auto">
          <a:xfrm flipH="1">
            <a:off x="3340684" y="4932675"/>
            <a:ext cx="8847000" cy="278945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3" name="Freeform 88"/>
          <p:cNvSpPr>
            <a:spLocks noEditPoints="1"/>
          </p:cNvSpPr>
          <p:nvPr/>
        </p:nvSpPr>
        <p:spPr bwMode="auto">
          <a:xfrm rot="10800000" flipH="1">
            <a:off x="2528854" y="4679205"/>
            <a:ext cx="811831" cy="58081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grpSp>
        <p:nvGrpSpPr>
          <p:cNvPr id="24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25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27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 45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pSp>
        <p:nvGrpSpPr>
          <p:cNvPr id="31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2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34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Rectangle 5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pSp>
        <p:nvGrpSpPr>
          <p:cNvPr id="38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4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41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4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6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78">
                <a:solidFill>
                  <a:srgbClr val="000000"/>
                </a:solidFill>
              </a:endParaRPr>
            </a:p>
          </p:txBody>
        </p:sp>
      </p:grpSp>
      <p:sp>
        <p:nvSpPr>
          <p:cNvPr id="4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chemeClr val="tx2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9" name="TitleTopPlaceholder"/>
          <p:cNvSpPr>
            <a:spLocks noChangeArrowheads="1"/>
          </p:cNvSpPr>
          <p:nvPr/>
        </p:nvSpPr>
        <p:spPr bwMode="auto">
          <a:xfrm>
            <a:off x="1" y="1944"/>
            <a:ext cx="12198480" cy="2283840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5" name="Picture 2" descr="https://www.cenit-transporte.com/wp-content/uploads/2013/01/cenit_logo-mob-retin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371" y="833131"/>
            <a:ext cx="1509429" cy="1132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4937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6247A5-8B8C-461C-8CDE-A56F23DAF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6EFD238-BF68-42D0-BADD-C12AD34063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8EC7B95-DF5D-4895-8A1A-ACA04B24F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329D4ED-3D2E-408E-9347-E59E5101D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8F796B8-CF7E-4E3C-96D4-7C210A748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344282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154E65A-3C66-4FDC-B9CA-62C6BC81EB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E404ACC-FEC1-4FAD-8303-B1336598F8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2973CD9-F94B-4482-8E98-E1F9A6476F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1A753E0-BEF8-43BC-A838-C95BA43F2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00E3D86-68EB-4C43-82B4-F849C3461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92389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1515981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1BD27B-DA0D-4005-880D-6F36CC0E8F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58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Imagen 7">
            <a:extLst>
              <a:ext uri="{FF2B5EF4-FFF2-40B4-BE49-F238E27FC236}">
                <a16:creationId xmlns:a16="http://schemas.microsoft.com/office/drawing/2014/main" id="{3E07FF20-6D9C-430B-B0A9-077587E6CC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12428776" cy="6997297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10" y="37257"/>
            <a:ext cx="401720" cy="124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s-ES" sz="853" baseline="0" noProof="0" dirty="0">
              <a:solidFill>
                <a:srgbClr val="482A06"/>
              </a:solidFill>
              <a:latin typeface="+mn-lt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/>
        </p:nvGrpSpPr>
        <p:grpSpPr bwMode="auto">
          <a:xfrm>
            <a:off x="3090575" y="263460"/>
            <a:ext cx="1741648" cy="553874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279">
                <a:latin typeface="+mn-lt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279">
                <a:latin typeface="+mn-lt"/>
              </a:endParaRPr>
            </a:p>
          </p:txBody>
        </p:sp>
      </p:grp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EFCD2F8A-3DC4-421F-A722-D929B41B3219}"/>
              </a:ext>
            </a:extLst>
          </p:cNvPr>
          <p:cNvSpPr/>
          <p:nvPr/>
        </p:nvSpPr>
        <p:spPr>
          <a:xfrm rot="5400000">
            <a:off x="-301145" y="4206677"/>
            <a:ext cx="1870183" cy="1267891"/>
          </a:xfrm>
          <a:prstGeom prst="triangle">
            <a:avLst>
              <a:gd name="adj" fmla="val 5804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367396" y="121514"/>
            <a:ext cx="900497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64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367396" y="247125"/>
            <a:ext cx="3815785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40" baseline="0" noProof="0">
                <a:solidFill>
                  <a:schemeClr val="bg1"/>
                </a:solidFill>
                <a:latin typeface="+mn-lt"/>
              </a:rPr>
              <a:t>Last Modified 8/27/2019 06:39 Central Standard Time</a:t>
            </a:r>
            <a:endParaRPr lang="es-ES" sz="64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367398" y="372737"/>
            <a:ext cx="3618996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64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90893" y="747983"/>
            <a:ext cx="6357713" cy="393605"/>
          </a:xfrm>
          <a:prstGeom prst="rect">
            <a:avLst/>
          </a:prstGeom>
        </p:spPr>
        <p:txBody>
          <a:bodyPr/>
          <a:lstStyle>
            <a:lvl1pPr>
              <a:defRPr sz="2558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s-E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90895" y="2628592"/>
            <a:ext cx="3720470" cy="1721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19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s-E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90895" y="3150697"/>
            <a:ext cx="3720470" cy="172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1119" baseline="0" noProof="0" dirty="0">
                <a:solidFill>
                  <a:schemeClr val="bg1"/>
                </a:solidFill>
                <a:latin typeface="+mn-lt"/>
              </a:rPr>
              <a:t>Tipo de Documento | Fecha</a:t>
            </a:r>
          </a:p>
        </p:txBody>
      </p:sp>
      <p:sp>
        <p:nvSpPr>
          <p:cNvPr id="26" name="Disclaimer-Spanish (Spain Traditional Sort)" hidden="1"/>
          <p:cNvSpPr>
            <a:spLocks noChangeArrowheads="1"/>
          </p:cNvSpPr>
          <p:nvPr/>
        </p:nvSpPr>
        <p:spPr bwMode="black">
          <a:xfrm>
            <a:off x="147168" y="6494737"/>
            <a:ext cx="2943404" cy="196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57894" eaLnBrk="0" hangingPunct="0"/>
            <a:r>
              <a:rPr lang="es-CO" sz="640" baseline="0" dirty="0">
                <a:solidFill>
                  <a:schemeClr val="bg1"/>
                </a:solidFill>
                <a:latin typeface="+mn-lt"/>
              </a:rPr>
              <a:t>DOCUMENTO CONFIDENCIAL</a:t>
            </a:r>
          </a:p>
          <a:p>
            <a:pPr defTabSz="857894" eaLnBrk="0" hangingPunct="0"/>
            <a:r>
              <a:rPr lang="es-CO" sz="640" baseline="0" dirty="0">
                <a:solidFill>
                  <a:schemeClr val="bg1"/>
                </a:solidFill>
                <a:latin typeface="+mn-lt"/>
              </a:rPr>
              <a:t>Queda prohibido su uso y distribución sin autorización expresa</a:t>
            </a:r>
            <a:endParaRPr lang="es-ES" sz="640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24582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4" y="6424796"/>
            <a:ext cx="144270" cy="9848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640" smtClean="0">
                <a:solidFill>
                  <a:schemeClr val="accent6"/>
                </a:solidFill>
              </a:rPr>
              <a:pPr lvl="0"/>
              <a:t>‹Nº›</a:t>
            </a:fld>
            <a:endParaRPr lang="es-ES" sz="640" dirty="0">
              <a:solidFill>
                <a:schemeClr val="accent6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10416" y="6654029"/>
            <a:ext cx="804707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4342"/>
            <a:r>
              <a:rPr lang="es-ES" sz="64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54342"/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BD4377D-3D28-4068-BD37-5FDE5350B1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10088739" y="6155681"/>
            <a:ext cx="1356175" cy="61039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C256ADF-7EE7-4BD6-BAD6-E17061C626F9}"/>
              </a:ext>
            </a:extLst>
          </p:cNvPr>
          <p:cNvCxnSpPr/>
          <p:nvPr/>
        </p:nvCxnSpPr>
        <p:spPr>
          <a:xfrm>
            <a:off x="11493879" y="6321218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2FF67A-19B3-4143-937B-376342A39852}"/>
              </a:ext>
            </a:extLst>
          </p:cNvPr>
          <p:cNvCxnSpPr/>
          <p:nvPr/>
        </p:nvCxnSpPr>
        <p:spPr>
          <a:xfrm>
            <a:off x="10777293" y="6321218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4364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961">
          <p15:clr>
            <a:srgbClr val="F26B43"/>
          </p15:clr>
        </p15:guide>
        <p15:guide id="2" pos="107">
          <p15:clr>
            <a:srgbClr val="F26B43"/>
          </p15:clr>
        </p15:guide>
        <p15:guide id="3" orient="horz" pos="959">
          <p15:clr>
            <a:srgbClr val="F26B43"/>
          </p15:clr>
        </p15:guide>
        <p15:guide id="4" orient="horz" pos="5445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3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86" imgH="386" progId="TCLayout.ActiveDocument.1">
                  <p:embed/>
                </p:oleObj>
              </mc:Choice>
              <mc:Fallback>
                <p:oleObj name="Diapositiva de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3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35DEC-47F0-49DB-96EC-E2391B556E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98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3C6511-9021-4F94-B9FB-6664A8A5B8CC}"/>
              </a:ext>
            </a:extLst>
          </p:cNvPr>
          <p:cNvSpPr/>
          <p:nvPr/>
        </p:nvSpPr>
        <p:spPr>
          <a:xfrm>
            <a:off x="3" y="0"/>
            <a:ext cx="5864858" cy="3484012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095" tIns="36548" rIns="73095" bIns="365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51C5CF7B-3EBA-404B-AD28-C33560F6373D}"/>
              </a:ext>
            </a:extLst>
          </p:cNvPr>
          <p:cNvSpPr/>
          <p:nvPr/>
        </p:nvSpPr>
        <p:spPr>
          <a:xfrm rot="5400000">
            <a:off x="-452076" y="2975662"/>
            <a:ext cx="2242800" cy="1338646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918" y="234866"/>
            <a:ext cx="11366552" cy="430626"/>
          </a:xfrm>
        </p:spPr>
        <p:txBody>
          <a:bodyPr/>
          <a:lstStyle>
            <a:lvl1pPr>
              <a:defRPr sz="27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10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0710416" y="6654029"/>
            <a:ext cx="804707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4342"/>
            <a:r>
              <a:rPr lang="es-ES" sz="64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54342"/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18" name="Imagen 5">
            <a:extLst>
              <a:ext uri="{FF2B5EF4-FFF2-40B4-BE49-F238E27FC236}">
                <a16:creationId xmlns:a16="http://schemas.microsoft.com/office/drawing/2014/main" id="{65174F25-BF49-48CC-A0E9-3A858A266F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520918" y="1634524"/>
            <a:ext cx="1974585" cy="888740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23135CA-97A1-4085-A6F2-CECBD884991E}"/>
              </a:ext>
            </a:extLst>
          </p:cNvPr>
          <p:cNvSpPr/>
          <p:nvPr/>
        </p:nvSpPr>
        <p:spPr>
          <a:xfrm rot="10800000">
            <a:off x="9648740" y="5347174"/>
            <a:ext cx="2543263" cy="1510822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095" tIns="36548" rIns="73095" bIns="365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A6299710-8558-4D8F-B2F7-688E18B94C4C}"/>
              </a:ext>
            </a:extLst>
          </p:cNvPr>
          <p:cNvSpPr/>
          <p:nvPr/>
        </p:nvSpPr>
        <p:spPr>
          <a:xfrm rot="16200000">
            <a:off x="11415465" y="4987119"/>
            <a:ext cx="972579" cy="580497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095" tIns="36548" rIns="73095" bIns="365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52054" y="6424796"/>
            <a:ext cx="144270" cy="9848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640" smtClean="0">
                <a:solidFill>
                  <a:schemeClr val="bg1"/>
                </a:solidFill>
              </a:rPr>
              <a:pPr lvl="0"/>
              <a:t>‹Nº›</a:t>
            </a:fld>
            <a:endParaRPr lang="es-ES" sz="640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53CD2E-1E01-4C1C-B0D0-9E4FFF45EE74}"/>
              </a:ext>
            </a:extLst>
          </p:cNvPr>
          <p:cNvCxnSpPr/>
          <p:nvPr/>
        </p:nvCxnSpPr>
        <p:spPr>
          <a:xfrm>
            <a:off x="11493879" y="6321218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6124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32">
          <p15:clr>
            <a:srgbClr val="000000"/>
          </p15:clr>
        </p15:guide>
        <p15:guide id="2" orient="horz" pos="794">
          <p15:clr>
            <a:srgbClr val="000000"/>
          </p15:clr>
        </p15:guide>
        <p15:guide id="3" orient="horz" pos="5449">
          <p15:clr>
            <a:srgbClr val="000000"/>
          </p15:clr>
        </p15:guide>
        <p15:guide id="4" pos="104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0723D-443E-4746-A65F-E087C0A43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4477D9-A47B-4436-8B16-5BB9047A66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833030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7C2F7BF-1244-4313-A956-D8657B88E0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3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ACA34F7-D5EA-41BC-A525-6FC78B45F9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3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6" indent="0" algn="ctr">
              <a:buNone/>
              <a:defRPr sz="2000"/>
            </a:lvl2pPr>
            <a:lvl3pPr marL="914413" indent="0" algn="ctr">
              <a:buNone/>
              <a:defRPr sz="1800"/>
            </a:lvl3pPr>
            <a:lvl4pPr marL="1371620" indent="0" algn="ctr">
              <a:buNone/>
              <a:defRPr sz="1600"/>
            </a:lvl4pPr>
            <a:lvl5pPr marL="1828827" indent="0" algn="ctr">
              <a:buNone/>
              <a:defRPr sz="1600"/>
            </a:lvl5pPr>
            <a:lvl6pPr marL="2286033" indent="0" algn="ctr">
              <a:buNone/>
              <a:defRPr sz="1600"/>
            </a:lvl6pPr>
            <a:lvl7pPr marL="2743240" indent="0" algn="ctr">
              <a:buNone/>
              <a:defRPr sz="1600"/>
            </a:lvl7pPr>
            <a:lvl8pPr marL="3200446" indent="0" algn="ctr">
              <a:buNone/>
              <a:defRPr sz="1600"/>
            </a:lvl8pPr>
            <a:lvl9pPr marL="3657654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D09AB97-9F84-47DB-835A-44EEDBB121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9E8192B-EAF5-4BFA-9C5E-2FD806076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9BBEE40-6480-417A-B0F9-4B05F97E3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473865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384C291-C3BD-4468-802B-020794658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6FB7BA3-0E23-4C5D-BCE3-4B5032437E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600D109-8A87-4CCD-91F9-015DB8439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C21AB8D-D711-40B6-97E9-E17DE2799C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2503313-D75A-4139-83A8-ACE8145E7F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850273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940EABD-8DB5-4E79-A504-762DF0638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3E9B696-4202-4585-AFAA-9EA0803E7B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104D379-3C25-4CCB-A1A4-6EA64F920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460A7E8-8791-4B00-AC3E-2699F1F307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A17A7FF-4A27-4A29-88AB-1325E0618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856934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42918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CA027A8-16D0-41D9-8122-22B335671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91256AB-C5FE-4871-B726-054AC5F6878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CECDBE1-7DC3-4B62-B0E4-C28E7E2E51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3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54CFCCC-A0D2-49BB-85E2-CEFBFC849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1E8857A-8D71-4EBC-A97C-3D21926D0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0BC408F-0A58-4400-B610-D6BCBDB08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02507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50F80EA-457A-4128-9D58-89C734690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625C40E-04EE-4B7B-AAD5-5ECF08B5FE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1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3" indent="0">
              <a:buNone/>
              <a:defRPr sz="1800" b="1"/>
            </a:lvl3pPr>
            <a:lvl4pPr marL="1371620" indent="0">
              <a:buNone/>
              <a:defRPr sz="1600" b="1"/>
            </a:lvl4pPr>
            <a:lvl5pPr marL="1828827" indent="0">
              <a:buNone/>
              <a:defRPr sz="1600" b="1"/>
            </a:lvl5pPr>
            <a:lvl6pPr marL="2286033" indent="0">
              <a:buNone/>
              <a:defRPr sz="1600" b="1"/>
            </a:lvl6pPr>
            <a:lvl7pPr marL="2743240" indent="0">
              <a:buNone/>
              <a:defRPr sz="1600" b="1"/>
            </a:lvl7pPr>
            <a:lvl8pPr marL="3200446" indent="0">
              <a:buNone/>
              <a:defRPr sz="1600" b="1"/>
            </a:lvl8pPr>
            <a:lvl9pPr marL="3657654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E37929A-D7AE-4892-8012-3AAA2FE588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1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F92C30D1-FAD6-4E86-A1AE-C5840849C6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3" indent="0">
              <a:buNone/>
              <a:defRPr sz="1800" b="1"/>
            </a:lvl3pPr>
            <a:lvl4pPr marL="1371620" indent="0">
              <a:buNone/>
              <a:defRPr sz="1600" b="1"/>
            </a:lvl4pPr>
            <a:lvl5pPr marL="1828827" indent="0">
              <a:buNone/>
              <a:defRPr sz="1600" b="1"/>
            </a:lvl5pPr>
            <a:lvl6pPr marL="2286033" indent="0">
              <a:buNone/>
              <a:defRPr sz="1600" b="1"/>
            </a:lvl6pPr>
            <a:lvl7pPr marL="2743240" indent="0">
              <a:buNone/>
              <a:defRPr sz="1600" b="1"/>
            </a:lvl7pPr>
            <a:lvl8pPr marL="3200446" indent="0">
              <a:buNone/>
              <a:defRPr sz="1600" b="1"/>
            </a:lvl8pPr>
            <a:lvl9pPr marL="3657654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C17E1EC9-75D4-4AA1-BB8D-42530EE1DB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865BC940-90EB-487A-907A-05519824A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AF7AFB42-7DFE-422D-8047-EDFD89CAB2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9788D2D5-1C2E-408E-B5D0-F608D1341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425160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4C5A1A6-D8F9-421F-8819-BFD8899B2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9B1AA83-B527-47D1-ACC8-F7D638F26C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98A0B1-056B-497D-BACF-6D2DFE6899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42967F0-30D6-4655-8F21-9E260DEDD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559794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D20A4199-4350-4E1E-B305-479B1A359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EC97DC0-49E0-4CF1-9F2D-EDE7C5618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F93AFB1-127A-4BF8-874F-67CF05121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806260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CE93B69-A972-4A99-B5AF-77454743C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914BD75-CF30-4710-85A4-9A6DD4D232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31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CC633375-F572-4BF9-8D86-1201007852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0"/>
            </a:lvl2pPr>
            <a:lvl3pPr marL="914413" indent="0">
              <a:buNone/>
              <a:defRPr sz="1200"/>
            </a:lvl3pPr>
            <a:lvl4pPr marL="1371620" indent="0">
              <a:buNone/>
              <a:defRPr sz="1000"/>
            </a:lvl4pPr>
            <a:lvl5pPr marL="1828827" indent="0">
              <a:buNone/>
              <a:defRPr sz="1000"/>
            </a:lvl5pPr>
            <a:lvl6pPr marL="2286033" indent="0">
              <a:buNone/>
              <a:defRPr sz="1000"/>
            </a:lvl6pPr>
            <a:lvl7pPr marL="2743240" indent="0">
              <a:buNone/>
              <a:defRPr sz="1000"/>
            </a:lvl7pPr>
            <a:lvl8pPr marL="3200446" indent="0">
              <a:buNone/>
              <a:defRPr sz="1000"/>
            </a:lvl8pPr>
            <a:lvl9pPr marL="3657654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333CE00-221B-40C8-9D54-49B8FE8958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97E8BE3-716B-4F52-9072-91429E678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99F02F3-2456-4DD9-B1C6-BAEA70D7B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823867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F0BC909-D04F-4B44-97B3-67FE6492A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5EBECACC-4893-4DE3-ABE0-6D461516E8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31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6" indent="0">
              <a:buNone/>
              <a:defRPr sz="2800"/>
            </a:lvl2pPr>
            <a:lvl3pPr marL="914413" indent="0">
              <a:buNone/>
              <a:defRPr sz="2400"/>
            </a:lvl3pPr>
            <a:lvl4pPr marL="1371620" indent="0">
              <a:buNone/>
              <a:defRPr sz="2000"/>
            </a:lvl4pPr>
            <a:lvl5pPr marL="1828827" indent="0">
              <a:buNone/>
              <a:defRPr sz="2000"/>
            </a:lvl5pPr>
            <a:lvl6pPr marL="2286033" indent="0">
              <a:buNone/>
              <a:defRPr sz="2000"/>
            </a:lvl6pPr>
            <a:lvl7pPr marL="2743240" indent="0">
              <a:buNone/>
              <a:defRPr sz="2000"/>
            </a:lvl7pPr>
            <a:lvl8pPr marL="3200446" indent="0">
              <a:buNone/>
              <a:defRPr sz="2000"/>
            </a:lvl8pPr>
            <a:lvl9pPr marL="3657654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6FCD4FB0-1A93-4914-913A-2BB819E023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0"/>
            </a:lvl2pPr>
            <a:lvl3pPr marL="914413" indent="0">
              <a:buNone/>
              <a:defRPr sz="1200"/>
            </a:lvl3pPr>
            <a:lvl4pPr marL="1371620" indent="0">
              <a:buNone/>
              <a:defRPr sz="1000"/>
            </a:lvl4pPr>
            <a:lvl5pPr marL="1828827" indent="0">
              <a:buNone/>
              <a:defRPr sz="1000"/>
            </a:lvl5pPr>
            <a:lvl6pPr marL="2286033" indent="0">
              <a:buNone/>
              <a:defRPr sz="1000"/>
            </a:lvl6pPr>
            <a:lvl7pPr marL="2743240" indent="0">
              <a:buNone/>
              <a:defRPr sz="1000"/>
            </a:lvl7pPr>
            <a:lvl8pPr marL="3200446" indent="0">
              <a:buNone/>
              <a:defRPr sz="1000"/>
            </a:lvl8pPr>
            <a:lvl9pPr marL="3657654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4C674C49-0DCC-4E89-9F0B-3A8F39D95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CEA48D1-AD79-4AAE-B689-726CFF466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BF29FCD-D1A3-4221-8727-382507E3C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114453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1B9B7D-CC3D-4D9D-9961-5292EF2B2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45041D41-6CFB-461F-BA99-32C552A81A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45EBD29-8205-4959-BA60-250B87902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31147CD-54B4-4C92-AA0D-18B51CFBC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0E7B606-C985-4228-97E4-82E0A41FA3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16879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D3125A4-840A-4D38-ADF0-D898F58840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866FC5E-C4B6-468B-A4C3-2DD2FD8134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DAA408D-9264-4795-8DD6-8831BFCFCD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D1B02EC-86D3-4839-8F95-93F3A3653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78E5E8-75B3-413D-8BD3-7C0A6190E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864331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1BD27B-DA0D-4005-880D-6F36CC0E8F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Imagen 7">
            <a:extLst>
              <a:ext uri="{FF2B5EF4-FFF2-40B4-BE49-F238E27FC236}">
                <a16:creationId xmlns:a16="http://schemas.microsoft.com/office/drawing/2014/main" id="{3E07FF20-6D9C-430B-B0A9-077587E6CC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"/>
            <a:ext cx="12428776" cy="6997297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s-ES" sz="1089" baseline="0" noProof="0">
              <a:solidFill>
                <a:srgbClr val="482A06"/>
              </a:solidFill>
              <a:latin typeface="+mn-lt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37">
                <a:latin typeface="+mn-lt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37">
                <a:latin typeface="+mn-lt"/>
              </a:endParaRPr>
            </a:p>
          </p:txBody>
        </p:sp>
      </p:grp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EFCD2F8A-3DC4-421F-A722-D929B41B3219}"/>
              </a:ext>
            </a:extLst>
          </p:cNvPr>
          <p:cNvSpPr/>
          <p:nvPr/>
        </p:nvSpPr>
        <p:spPr>
          <a:xfrm rot="5400000">
            <a:off x="-301147" y="4206675"/>
            <a:ext cx="1870184" cy="1267892"/>
          </a:xfrm>
          <a:prstGeom prst="triangle">
            <a:avLst>
              <a:gd name="adj" fmla="val 5804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367394" y="121512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816" b="1" baseline="0" noProof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367395" y="2471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8/27/2019 06:39 Central Standard Time</a:t>
            </a:r>
            <a:endParaRPr lang="es-ES" sz="816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367396" y="372737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816" baseline="0" noProof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90893" y="747982"/>
            <a:ext cx="635771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90893" y="2628591"/>
            <a:ext cx="372047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s-ES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90893" y="3098719"/>
            <a:ext cx="3720470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1428" baseline="0" noProof="0">
                <a:solidFill>
                  <a:schemeClr val="bg1"/>
                </a:solidFill>
                <a:latin typeface="+mn-lt"/>
              </a:rPr>
              <a:t>Tipo de Documento | Fecha</a:t>
            </a:r>
          </a:p>
        </p:txBody>
      </p:sp>
      <p:sp>
        <p:nvSpPr>
          <p:cNvPr id="26" name="Disclaimer-Spanish (Spain Traditional Sort)" hidden="1"/>
          <p:cNvSpPr>
            <a:spLocks noChangeArrowheads="1"/>
          </p:cNvSpPr>
          <p:nvPr/>
        </p:nvSpPr>
        <p:spPr bwMode="black">
          <a:xfrm>
            <a:off x="147169" y="6494736"/>
            <a:ext cx="294340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1094990" eaLnBrk="0" hangingPunct="0"/>
            <a:r>
              <a:rPr lang="es-CO" sz="816" baseline="0">
                <a:solidFill>
                  <a:schemeClr val="bg1"/>
                </a:solidFill>
                <a:latin typeface="+mn-lt"/>
              </a:rPr>
              <a:t>DOCUMENTO CONFIDENCIAL</a:t>
            </a:r>
          </a:p>
          <a:p>
            <a:pPr defTabSz="1094990" eaLnBrk="0" hangingPunct="0"/>
            <a:r>
              <a:rPr lang="es-CO" sz="816" baseline="0">
                <a:solidFill>
                  <a:schemeClr val="bg1"/>
                </a:solidFill>
                <a:latin typeface="+mn-lt"/>
              </a:rPr>
              <a:t>Queda prohibido su uso y distribución sin autorización expresa</a:t>
            </a:r>
            <a:endParaRPr lang="es-ES" sz="816" baseline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396689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816" smtClean="0">
                <a:solidFill>
                  <a:schemeClr val="accent6"/>
                </a:solidFill>
              </a:rPr>
              <a:pPr lvl="0"/>
              <a:t>‹Nº›</a:t>
            </a:fld>
            <a:endParaRPr lang="es-ES" sz="816">
              <a:solidFill>
                <a:schemeClr val="accent6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BD4377D-3D28-4068-BD37-5FDE5350B1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10088738" y="6155680"/>
            <a:ext cx="1356174" cy="61039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C256ADF-7EE7-4BD6-BAD6-E17061C626F9}"/>
              </a:ext>
            </a:extLst>
          </p:cNvPr>
          <p:cNvCxnSpPr/>
          <p:nvPr/>
        </p:nvCxnSpPr>
        <p:spPr>
          <a:xfrm>
            <a:off x="11493879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2FF67A-19B3-4143-937B-376342A39852}"/>
              </a:ext>
            </a:extLst>
          </p:cNvPr>
          <p:cNvCxnSpPr/>
          <p:nvPr/>
        </p:nvCxnSpPr>
        <p:spPr>
          <a:xfrm>
            <a:off x="10777293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8852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Contenido_So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 baseline="0"/>
            </a:lvl1pPr>
          </a:lstStyle>
          <a:p>
            <a:r>
              <a:rPr lang="es-ES_tradnl"/>
              <a:t>Título de la diapositiva (Arial, 20, Azul)</a:t>
            </a:r>
          </a:p>
        </p:txBody>
      </p:sp>
    </p:spTree>
    <p:extLst>
      <p:ext uri="{BB962C8B-B14F-4D97-AF65-F5344CB8AC3E}">
        <p14:creationId xmlns:p14="http://schemas.microsoft.com/office/powerpoint/2010/main" val="24006142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86" imgH="386" progId="TCLayout.ActiveDocument.1">
                  <p:embed/>
                </p:oleObj>
              </mc:Choice>
              <mc:Fallback>
                <p:oleObj name="Diapositiva de think-cell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35DEC-47F0-49DB-96EC-E2391B556E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71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3C6511-9021-4F94-B9FB-6664A8A5B8CC}"/>
              </a:ext>
            </a:extLst>
          </p:cNvPr>
          <p:cNvSpPr/>
          <p:nvPr/>
        </p:nvSpPr>
        <p:spPr>
          <a:xfrm>
            <a:off x="0" y="0"/>
            <a:ext cx="5864858" cy="3484012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51C5CF7B-3EBA-404B-AD28-C33560F6373D}"/>
              </a:ext>
            </a:extLst>
          </p:cNvPr>
          <p:cNvSpPr/>
          <p:nvPr/>
        </p:nvSpPr>
        <p:spPr>
          <a:xfrm rot="5400000">
            <a:off x="-452077" y="2975662"/>
            <a:ext cx="2242800" cy="1338646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917" y="234865"/>
            <a:ext cx="11366553" cy="549549"/>
          </a:xfrm>
        </p:spPr>
        <p:txBody>
          <a:bodyPr/>
          <a:lstStyle>
            <a:lvl1pPr>
              <a:defRPr sz="357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10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18" name="Imagen 5">
            <a:extLst>
              <a:ext uri="{FF2B5EF4-FFF2-40B4-BE49-F238E27FC236}">
                <a16:creationId xmlns:a16="http://schemas.microsoft.com/office/drawing/2014/main" id="{65174F25-BF49-48CC-A0E9-3A858A266FF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520918" y="1634523"/>
            <a:ext cx="1974585" cy="888739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23135CA-97A1-4085-A6F2-CECBD884991E}"/>
              </a:ext>
            </a:extLst>
          </p:cNvPr>
          <p:cNvSpPr/>
          <p:nvPr/>
        </p:nvSpPr>
        <p:spPr>
          <a:xfrm rot="10800000">
            <a:off x="9648737" y="5347174"/>
            <a:ext cx="2543263" cy="1510823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A6299710-8558-4D8F-B2F7-688E18B94C4C}"/>
              </a:ext>
            </a:extLst>
          </p:cNvPr>
          <p:cNvSpPr/>
          <p:nvPr/>
        </p:nvSpPr>
        <p:spPr>
          <a:xfrm rot="16200000">
            <a:off x="11415464" y="4987120"/>
            <a:ext cx="972579" cy="580497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816" smtClean="0">
                <a:solidFill>
                  <a:schemeClr val="bg1"/>
                </a:solidFill>
              </a:rPr>
              <a:pPr lvl="0"/>
              <a:t>‹Nº›</a:t>
            </a:fld>
            <a:endParaRPr lang="es-ES" sz="816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53CD2E-1E01-4C1C-B0D0-9E4FFF45EE74}"/>
              </a:ext>
            </a:extLst>
          </p:cNvPr>
          <p:cNvCxnSpPr/>
          <p:nvPr/>
        </p:nvCxnSpPr>
        <p:spPr>
          <a:xfrm>
            <a:off x="11493879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3259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0723D-443E-4746-A65F-E087C0A43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4477D9-A47B-4436-8B16-5BB9047A66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213206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s-ES_tradnl"/>
              <a:t>Título de la diapositiva (Arial, 20, Azul)</a:t>
            </a:r>
          </a:p>
        </p:txBody>
      </p:sp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rgbClr val="25546D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cxnSp>
        <p:nvCxnSpPr>
          <p:cNvPr id="8" name="Straight Connector 6"/>
          <p:cNvCxnSpPr/>
          <p:nvPr/>
        </p:nvCxnSpPr>
        <p:spPr>
          <a:xfrm>
            <a:off x="11344876" y="6315773"/>
            <a:ext cx="0" cy="327998"/>
          </a:xfrm>
          <a:prstGeom prst="line">
            <a:avLst/>
          </a:prstGeom>
          <a:noFill/>
          <a:ln w="3175">
            <a:solidFill>
              <a:srgbClr val="3377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Marcador de contenido 2"/>
          <p:cNvSpPr>
            <a:spLocks noGrp="1"/>
          </p:cNvSpPr>
          <p:nvPr>
            <p:ph sz="quarter" idx="10"/>
          </p:nvPr>
        </p:nvSpPr>
        <p:spPr>
          <a:xfrm>
            <a:off x="330506" y="1068636"/>
            <a:ext cx="11530988" cy="51448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148205" indent="-146990">
              <a:buFont typeface="Arial" panose="020B0604020202020204" pitchFamily="34" charset="0"/>
              <a:buChar char="•"/>
              <a:defRPr sz="1800"/>
            </a:lvl2pPr>
            <a:lvl3pPr>
              <a:defRPr sz="1600"/>
            </a:lvl3pPr>
            <a:lvl4pPr marL="470126" indent="-119050"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</p:txBody>
      </p:sp>
    </p:spTree>
    <p:extLst>
      <p:ext uri="{BB962C8B-B14F-4D97-AF65-F5344CB8AC3E}">
        <p14:creationId xmlns:p14="http://schemas.microsoft.com/office/powerpoint/2010/main" val="28849951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s-ES_tradnl"/>
              <a:t>Título de la diapositiva (Arial, 20, Azul)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11"/>
          </p:nvPr>
        </p:nvSpPr>
        <p:spPr>
          <a:xfrm>
            <a:off x="330506" y="1162756"/>
            <a:ext cx="5667375" cy="475262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contenido 5"/>
          <p:cNvSpPr>
            <a:spLocks noGrp="1"/>
          </p:cNvSpPr>
          <p:nvPr>
            <p:ph sz="quarter" idx="12"/>
          </p:nvPr>
        </p:nvSpPr>
        <p:spPr>
          <a:xfrm>
            <a:off x="6194119" y="1162756"/>
            <a:ext cx="5667375" cy="475262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597560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211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329B7-5B88-CC41-8991-D88408B32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BA3371-5127-5446-8196-249F0AD4CA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101898-25FC-4C43-89DD-D41CE6F9B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16FDB-40E5-F744-A407-CCA15F7D9349}" type="datetimeFigureOut">
              <a:rPr lang="es-ES_tradnl" smtClean="0"/>
              <a:t>11/12/2020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162C0-FCAB-074E-A9D6-4D25F292D5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967365-EFE7-6542-B2CA-AF3655FAD3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D57BF-6487-F840-AF2A-7FB0C751C27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05177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90875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.emf"/><Relationship Id="rId5" Type="http://schemas.openxmlformats.org/officeDocument/2006/relationships/theme" Target="../theme/theme3.xml"/><Relationship Id="rId15" Type="http://schemas.openxmlformats.org/officeDocument/2006/relationships/tags" Target="../tags/tag17.xml"/><Relationship Id="rId23" Type="http://schemas.openxmlformats.org/officeDocument/2006/relationships/oleObject" Target="../embeddings/oleObject6.bin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slideLayout" Target="../slideLayouts/slideLayout38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image" Target="../media/image1.emf"/><Relationship Id="rId5" Type="http://schemas.openxmlformats.org/officeDocument/2006/relationships/theme" Target="../theme/theme5.xml"/><Relationship Id="rId15" Type="http://schemas.openxmlformats.org/officeDocument/2006/relationships/tags" Target="../tags/tag40.xml"/><Relationship Id="rId23" Type="http://schemas.openxmlformats.org/officeDocument/2006/relationships/oleObject" Target="../embeddings/oleObject9.bin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270" imgH="270" progId="TCLayout.ActiveDocument.1">
                  <p:embed/>
                </p:oleObj>
              </mc:Choice>
              <mc:Fallback>
                <p:oleObj name="Diapositiva de think-cell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BottomBar"/>
          <p:cNvSpPr>
            <a:spLocks noChangeArrowheads="1"/>
          </p:cNvSpPr>
          <p:nvPr/>
        </p:nvSpPr>
        <p:spPr bwMode="auto">
          <a:xfrm>
            <a:off x="0" y="6315773"/>
            <a:ext cx="12192000" cy="543848"/>
          </a:xfrm>
          <a:prstGeom prst="rect">
            <a:avLst/>
          </a:prstGeom>
          <a:solidFill>
            <a:srgbClr val="C3DDEB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s-ES_tradnl" sz="612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97870" y="1991783"/>
            <a:ext cx="159819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>
                <a:solidFill>
                  <a:srgbClr val="000000"/>
                </a:solidFill>
              </a:rPr>
              <a:t>Last Modified 31/10/2016 3:14 p. m. SA Pacific Standard Time</a:t>
            </a:r>
            <a:endParaRPr lang="es-ES_tradnl" sz="1224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2005598" y="4209763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459" err="1">
                <a:solidFill>
                  <a:srgbClr val="000000"/>
                </a:solidFill>
              </a:rPr>
              <a:t>Printed</a:t>
            </a:r>
            <a:endParaRPr lang="es-ES_tradnl" sz="1224">
              <a:solidFill>
                <a:srgbClr val="000000"/>
              </a:solidFill>
            </a:endParaRPr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</a:rPr>
              <a:t>Unit</a:t>
            </a:r>
            <a:r>
              <a:rPr lang="es-ES_tradnl" sz="1224">
                <a:solidFill>
                  <a:srgbClr val="808080"/>
                </a:solidFill>
              </a:rPr>
              <a:t> of </a:t>
            </a:r>
            <a:r>
              <a:rPr lang="es-ES_tradnl" sz="1224" err="1">
                <a:solidFill>
                  <a:srgbClr val="808080"/>
                </a:solidFill>
              </a:rPr>
              <a:t>measure</a:t>
            </a:r>
            <a:endParaRPr lang="es-ES_tradnl" sz="1224">
              <a:solidFill>
                <a:srgbClr val="808080"/>
              </a:solidFill>
            </a:endParaRPr>
          </a:p>
        </p:txBody>
      </p:sp>
      <p:grpSp>
        <p:nvGrpSpPr>
          <p:cNvPr id="13" name="Slide Elements" hidden="1"/>
          <p:cNvGrpSpPr>
            <a:grpSpLocks/>
          </p:cNvGrpSpPr>
          <p:nvPr/>
        </p:nvGrpSpPr>
        <p:grpSpPr bwMode="auto">
          <a:xfrm>
            <a:off x="161986" y="6240885"/>
            <a:ext cx="11630455" cy="476206"/>
            <a:chOff x="75" y="3853"/>
            <a:chExt cx="5385" cy="294"/>
          </a:xfrm>
        </p:grpSpPr>
        <p:sp>
          <p:nvSpPr>
            <p:cNvPr id="14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5. Source"/>
            <p:cNvSpPr>
              <a:spLocks noChangeArrowheads="1"/>
            </p:cNvSpPr>
            <p:nvPr/>
          </p:nvSpPr>
          <p:spPr bwMode="auto">
            <a:xfrm>
              <a:off x="75" y="4074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FUENTE: Análisis equipo de trabajo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</a:rPr>
                <a:t>Title</a:t>
              </a:r>
              <a:endParaRPr lang="es-ES_tradnl" sz="1378" b="1">
                <a:solidFill>
                  <a:srgbClr val="000000"/>
                </a:solidFill>
              </a:endParaRPr>
            </a:p>
            <a:p>
              <a:r>
                <a:rPr lang="es-ES_tradnl" sz="1378" err="1">
                  <a:solidFill>
                    <a:srgbClr val="808080"/>
                  </a:solidFill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</a:rPr>
                <a:t>measure</a:t>
              </a:r>
              <a:endParaRPr lang="es-ES_tradnl" sz="1378">
                <a:solidFill>
                  <a:srgbClr val="808080"/>
                </a:solidFill>
              </a:endParaRPr>
            </a:p>
          </p:txBody>
        </p:sp>
      </p:grpSp>
      <p:sp>
        <p:nvSpPr>
          <p:cNvPr id="2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2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  <a:latin typeface="Arial"/>
              </a:rPr>
              <a:t>Unit</a:t>
            </a:r>
            <a:r>
              <a:rPr lang="es-ES_tradnl" sz="1224">
                <a:solidFill>
                  <a:srgbClr val="808080"/>
                </a:solidFill>
                <a:latin typeface="Arial"/>
              </a:rPr>
              <a:t> of </a:t>
            </a:r>
            <a:r>
              <a:rPr lang="es-ES_tradnl" sz="1224" err="1">
                <a:solidFill>
                  <a:srgbClr val="808080"/>
                </a:solidFill>
                <a:latin typeface="Arial"/>
              </a:rPr>
              <a:t>measure</a:t>
            </a:r>
            <a:endParaRPr lang="es-ES_tradnl" sz="1224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2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Footnot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r>
                <a:rPr lang="es-ES_tradnl" sz="765">
                  <a:solidFill>
                    <a:srgbClr val="000000"/>
                  </a:solidFill>
                  <a:latin typeface="Arial"/>
                </a:rPr>
                <a:t>: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2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  <a:latin typeface="Arial"/>
                </a:rPr>
                <a:t>Title</a:t>
              </a:r>
              <a:endParaRPr lang="es-ES_tradnl" sz="1378" b="1">
                <a:solidFill>
                  <a:srgbClr val="000000"/>
                </a:solidFill>
                <a:latin typeface="Arial"/>
              </a:endParaRPr>
            </a:p>
            <a:p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  <a:latin typeface="Arial"/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measure</a:t>
              </a:r>
              <a:endParaRPr lang="es-ES_tradnl" sz="1378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3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  <a:latin typeface="Arial"/>
              </a:rPr>
              <a:t>Unit</a:t>
            </a:r>
            <a:r>
              <a:rPr lang="es-ES_tradnl" sz="1224">
                <a:solidFill>
                  <a:srgbClr val="808080"/>
                </a:solidFill>
                <a:latin typeface="Arial"/>
              </a:rPr>
              <a:t> of </a:t>
            </a:r>
            <a:r>
              <a:rPr lang="es-ES_tradnl" sz="1224" err="1">
                <a:solidFill>
                  <a:srgbClr val="808080"/>
                </a:solidFill>
                <a:latin typeface="Arial"/>
              </a:rPr>
              <a:t>measure</a:t>
            </a:r>
            <a:endParaRPr lang="es-ES_tradnl" sz="1224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3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3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Footnot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r>
                <a:rPr lang="es-ES_tradnl" sz="765">
                  <a:solidFill>
                    <a:srgbClr val="000000"/>
                  </a:solidFill>
                  <a:latin typeface="Arial"/>
                </a:rPr>
                <a:t>: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3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  <a:latin typeface="Arial"/>
                </a:rPr>
                <a:t>Title</a:t>
              </a:r>
              <a:endParaRPr lang="es-ES_tradnl" sz="1378" b="1">
                <a:solidFill>
                  <a:srgbClr val="000000"/>
                </a:solidFill>
                <a:latin typeface="Arial"/>
              </a:endParaRPr>
            </a:p>
            <a:p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  <a:latin typeface="Arial"/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measure</a:t>
              </a:r>
              <a:endParaRPr lang="es-ES_tradnl" sz="1378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41" name="SlideLogoText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0368511" y="6585333"/>
            <a:ext cx="968214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45"/>
            <a:r>
              <a:rPr lang="es-ES_tradnl" sz="765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4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4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4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765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4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n-US" sz="765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4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4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378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378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cxnSp>
        <p:nvCxnSpPr>
          <p:cNvPr id="52" name="Straight Connector 6"/>
          <p:cNvCxnSpPr/>
          <p:nvPr/>
        </p:nvCxnSpPr>
        <p:spPr>
          <a:xfrm>
            <a:off x="11344876" y="6315773"/>
            <a:ext cx="0" cy="327998"/>
          </a:xfrm>
          <a:prstGeom prst="line">
            <a:avLst/>
          </a:prstGeom>
          <a:noFill/>
          <a:ln w="3175">
            <a:solidFill>
              <a:srgbClr val="3377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3" name="Imagen 52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3811" y="6359097"/>
            <a:ext cx="652928" cy="457200"/>
          </a:xfrm>
          <a:prstGeom prst="rect">
            <a:avLst/>
          </a:prstGeom>
        </p:spPr>
      </p:pic>
      <p:sp>
        <p:nvSpPr>
          <p:cNvPr id="54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rgbClr val="25546D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12954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73329" algn="l"/>
        </a:tabLst>
        <a:defRPr sz="1454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>
          <a:solidFill>
            <a:schemeClr val="tx1"/>
          </a:solidFill>
          <a:latin typeface="+mn-lt"/>
          <a:ea typeface="+mn-ea"/>
          <a:cs typeface="+mn-cs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>
          <a:solidFill>
            <a:schemeClr val="tx1"/>
          </a:solidFill>
          <a:latin typeface="+mn-lt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>
          <a:solidFill>
            <a:schemeClr val="tx1"/>
          </a:solidFill>
          <a:latin typeface="+mn-lt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>
          <a:solidFill>
            <a:schemeClr val="tx1"/>
          </a:solidFill>
          <a:latin typeface="+mn-lt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AD902B8-55C1-4278-A86B-6A98FA313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14CE6F3-988A-44E4-A56D-6989F4B3C1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0957870-A081-4459-8A6F-CA8B2BC22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5393CC-A1E3-46BF-8B50-8C9CD2C8FA82}" type="datetimeFigureOut">
              <a:rPr lang="es-CO" smtClean="0"/>
              <a:t>11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19CA791-CCEA-434F-BC61-123A4C7C6E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2168022-F52F-4571-A9E6-6C7D67EA70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66741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3" imgW="270" imgH="270" progId="TCLayout.ActiveDocument.1">
                  <p:embed/>
                </p:oleObj>
              </mc:Choice>
              <mc:Fallback>
                <p:oleObj name="Diapositiva de think-cell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ES" sz="1705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54342"/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366803" y="1990181"/>
            <a:ext cx="1460336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48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8/27/2019 06:39 Central Standard Time</a:t>
            </a:r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99187" y="4208162"/>
            <a:ext cx="195566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48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8" y="234866"/>
            <a:ext cx="11725484" cy="246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E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77303"/>
            <a:ext cx="490519" cy="122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" sz="799" cap="all" baseline="0" noProof="0" dirty="0">
                <a:solidFill>
                  <a:schemeClr val="accent2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8" y="566137"/>
            <a:ext cx="11725484" cy="196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" sz="1279" baseline="0" noProof="0" dirty="0">
                <a:solidFill>
                  <a:schemeClr val="accent2"/>
                </a:solidFill>
                <a:latin typeface="+mn-lt"/>
                <a:ea typeface="+mn-ea"/>
              </a:rPr>
              <a:t>NOMBRE DEL CLIENT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8" y="6461882"/>
            <a:ext cx="9830693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8527" indent="-68527">
              <a:defRPr/>
            </a:pPr>
            <a:r>
              <a:rPr lang="es-ES" sz="640" baseline="0" noProof="0" dirty="0">
                <a:solidFill>
                  <a:schemeClr val="accent6"/>
                </a:solidFill>
                <a:latin typeface="+mn-lt"/>
                <a:ea typeface="+mn-ea"/>
              </a:rPr>
              <a:t>1 Nota al pi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8" y="6667591"/>
            <a:ext cx="9830693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94662" indent="-394662" defTabSz="954342">
              <a:tabLst/>
            </a:pPr>
            <a:r>
              <a:rPr lang="es-ES" sz="640" baseline="0" noProof="0" dirty="0">
                <a:solidFill>
                  <a:schemeClr val="accent6"/>
                </a:solidFill>
                <a:latin typeface="+mn-lt"/>
                <a:ea typeface="+mn-ea"/>
              </a:rPr>
              <a:t>FUENTE: Fuent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390209"/>
            <a:ext cx="5801188" cy="411416"/>
            <a:chOff x="915" y="776"/>
            <a:chExt cx="2686" cy="25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76"/>
              <a:ext cx="2686" cy="2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" sz="1279" b="1" baseline="0" noProof="0" dirty="0">
                  <a:latin typeface="+mn-lt"/>
                  <a:ea typeface="+mn-ea"/>
                </a:rPr>
                <a:t>Título</a:t>
              </a:r>
            </a:p>
            <a:p>
              <a:r>
                <a:rPr lang="es-ES" sz="1279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505474" y="291553"/>
            <a:ext cx="381963" cy="126188"/>
            <a:chOff x="8460021" y="285750"/>
            <a:chExt cx="280754" cy="12367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60021" y="285750"/>
              <a:ext cx="280754" cy="1236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4342">
                <a:buClr>
                  <a:schemeClr val="tx2"/>
                </a:buClr>
              </a:pPr>
              <a:r>
                <a:rPr lang="es-ES" sz="64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60021" y="285750"/>
              <a:ext cx="0" cy="12367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60021" y="409427"/>
              <a:ext cx="28075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79" y="285077"/>
            <a:ext cx="672738" cy="1004242"/>
            <a:chOff x="7835905" y="279400"/>
            <a:chExt cx="659337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05337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05337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05337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19" y="285076"/>
            <a:ext cx="986972" cy="704798"/>
            <a:chOff x="7540629" y="279400"/>
            <a:chExt cx="967311" cy="690768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49" y="255920"/>
            <a:ext cx="740768" cy="1333053"/>
            <a:chOff x="7769225" y="250825"/>
            <a:chExt cx="726012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05336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20" y="6639739"/>
            <a:ext cx="46648" cy="12633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279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3" y="1991017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78172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</p:sldLayoutIdLst>
  <p:hf hdr="0" ftr="0" dt="0"/>
  <p:txStyles>
    <p:titleStyle>
      <a:lvl1pPr algn="l" defTabSz="954342" rtl="0" eaLnBrk="1" fontAlgn="base" hangingPunct="1">
        <a:spcBef>
          <a:spcPct val="0"/>
        </a:spcBef>
        <a:spcAft>
          <a:spcPct val="0"/>
        </a:spcAft>
        <a:tabLst>
          <a:tab pos="287656" algn="l"/>
        </a:tabLst>
        <a:defRPr sz="1599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2pPr>
      <a:lvl3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3pPr>
      <a:lvl4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4pPr>
      <a:lvl5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5pPr>
      <a:lvl6pPr marL="487323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6pPr>
      <a:lvl7pPr marL="974648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7pPr>
      <a:lvl8pPr marL="1461971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8pPr>
      <a:lvl9pPr marL="1949296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55398" indent="-152521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56841" indent="-198565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92096" indent="-123744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98573" indent="-103599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6pPr>
      <a:lvl7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7pPr>
      <a:lvl8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8pPr>
      <a:lvl9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1pPr>
      <a:lvl2pPr marL="487323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2pPr>
      <a:lvl3pPr marL="974648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3pPr>
      <a:lvl4pPr marL="1461971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4pPr>
      <a:lvl5pPr marL="1949296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5pPr>
      <a:lvl6pPr marL="2436619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6pPr>
      <a:lvl7pPr marL="2923943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7pPr>
      <a:lvl8pPr marL="3411267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8pPr>
      <a:lvl9pPr marL="3898590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3EAE346-DC53-4A6A-8550-6F36B792D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5253C59-CBD9-4F4A-BEAF-CB8BC19BCC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76AB96-DF7A-41D6-BE9C-A98582246C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12/2020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8172472-1EAD-4B6F-A050-3382DC1DBD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9D2C652-4950-4D72-A906-1A5CC09029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3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52116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txStyles>
    <p:titleStyle>
      <a:lvl1pPr algn="l" defTabSz="91441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3" indent="-228603" algn="l" defTabSz="91441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0" indent="-228603" algn="l" defTabSz="91441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7" indent="-228603" algn="l" defTabSz="91441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24" indent="-228603" algn="l" defTabSz="91441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30" indent="-228603" algn="l" defTabSz="91441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7" indent="-228603" algn="l" defTabSz="91441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3" indent="-228603" algn="l" defTabSz="91441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1" indent="-228603" algn="l" defTabSz="91441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57" indent="-228603" algn="l" defTabSz="91441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3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0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7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3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0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6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4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3" imgW="270" imgH="270" progId="TCLayout.ActiveDocument.1">
                  <p:embed/>
                </p:oleObj>
              </mc:Choice>
              <mc:Fallback>
                <p:oleObj name="Diapositiva de think-cell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ES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45072" y="1979060"/>
            <a:ext cx="1903795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8/27/2019 06:39 Central Standard Time</a:t>
            </a:r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612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E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3"/>
            <a:ext cx="6362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" sz="1020" cap="all" baseline="0" noProof="0">
                <a:solidFill>
                  <a:schemeClr val="accent2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" sz="1632" baseline="0" noProof="0">
                <a:solidFill>
                  <a:schemeClr val="accent2"/>
                </a:solidFill>
                <a:latin typeface="+mn-lt"/>
                <a:ea typeface="+mn-ea"/>
              </a:rPr>
              <a:t>NOMBRE DEL CLIENT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432273"/>
            <a:ext cx="9830692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s-ES" sz="816" baseline="0" noProof="0">
                <a:solidFill>
                  <a:schemeClr val="accent6"/>
                </a:solidFill>
                <a:latin typeface="+mn-lt"/>
                <a:ea typeface="+mn-ea"/>
              </a:rPr>
              <a:t>1 Nota al pi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37982"/>
            <a:ext cx="9830692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s-ES" sz="816" baseline="0" noProof="0">
                <a:solidFill>
                  <a:schemeClr val="accent6"/>
                </a:solidFill>
                <a:latin typeface="+mn-lt"/>
                <a:ea typeface="+mn-ea"/>
              </a:rPr>
              <a:t>FUENTE: Fuent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" sz="1632" b="1" baseline="0" noProof="0">
                  <a:latin typeface="+mn-lt"/>
                  <a:ea typeface="+mn-ea"/>
                </a:rPr>
                <a:t>Título</a:t>
              </a:r>
            </a:p>
            <a:p>
              <a:r>
                <a:rPr lang="es-ES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s-ES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37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65719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5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64.xml"/><Relationship Id="rId7" Type="http://schemas.openxmlformats.org/officeDocument/2006/relationships/image" Target="../media/image26.emf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58.sv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57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56.sv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grass, sitting, small, plane&#10;&#10;Description automatically generated">
            <a:extLst>
              <a:ext uri="{FF2B5EF4-FFF2-40B4-BE49-F238E27FC236}">
                <a16:creationId xmlns:a16="http://schemas.microsoft.com/office/drawing/2014/main" id="{C6562ECF-1AA1-E74B-9CEB-3FBAB0EB4C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6" y="0"/>
            <a:ext cx="12173964" cy="6858000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4D5F0815-E5B4-4E74-8145-A182522C6A3D}"/>
              </a:ext>
            </a:extLst>
          </p:cNvPr>
          <p:cNvSpPr txBox="1">
            <a:spLocks/>
          </p:cNvSpPr>
          <p:nvPr/>
        </p:nvSpPr>
        <p:spPr>
          <a:xfrm>
            <a:off x="307197" y="365684"/>
            <a:ext cx="6544829" cy="2152664"/>
          </a:xfrm>
          <a:prstGeom prst="rect">
            <a:avLst/>
          </a:prstGeom>
        </p:spPr>
        <p:txBody>
          <a:bodyPr/>
          <a:lstStyle>
            <a:lvl1pPr algn="l" defTabSz="68514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3329" algn="l"/>
              </a:tabLst>
              <a:defRPr sz="24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419" sz="3600" b="1" dirty="0">
                <a:solidFill>
                  <a:schemeClr val="tx2"/>
                </a:solidFill>
              </a:rPr>
              <a:t>Vicepresidencia de HSE y Sostenibilidad</a:t>
            </a: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ES" sz="2000" b="1" kern="0" dirty="0">
                <a:solidFill>
                  <a:schemeClr val="tx2"/>
                </a:solidFill>
                <a:latin typeface="Arial" panose="020B0604020202020204"/>
              </a:rPr>
              <a:t>Taller Proyecto de Gobierno Corporativo</a:t>
            </a: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endParaRPr kumimoji="0" lang="es-ES" sz="2000" b="1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ES" sz="2000" b="1" kern="0" dirty="0">
                <a:solidFill>
                  <a:srgbClr val="4472C4">
                    <a:lumMod val="50000"/>
                  </a:srgbClr>
                </a:solidFill>
                <a:latin typeface="Arial" panose="020B0604020202020204"/>
              </a:rPr>
              <a:t>Octubre</a:t>
            </a: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2020</a:t>
            </a:r>
            <a:endParaRPr kumimoji="0" lang="es-CO" sz="20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39736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A13A7E-FFDC-4688-8DB8-B00F2B91CA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01" y="1672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A13A7E-FFDC-4688-8DB8-B00F2B91CA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01" y="1672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438A85D-0D1B-4278-B1AF-FFB971E0ED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81" y="52"/>
            <a:ext cx="161971" cy="16197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041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8D15426-29DE-4884-815F-5CC281E0DDF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44374" y="180322"/>
            <a:ext cx="11575535" cy="3140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tabLst/>
            </a:pPr>
            <a:r>
              <a:rPr lang="es-CO" b="1" dirty="0"/>
              <a:t>Macroproceso HSE y Seguridad de Procesos</a:t>
            </a:r>
          </a:p>
        </p:txBody>
      </p:sp>
      <p:graphicFrame>
        <p:nvGraphicFramePr>
          <p:cNvPr id="43" name="Tabla 7">
            <a:extLst>
              <a:ext uri="{FF2B5EF4-FFF2-40B4-BE49-F238E27FC236}">
                <a16:creationId xmlns:a16="http://schemas.microsoft.com/office/drawing/2014/main" id="{C554A9D0-83C7-40A8-8F9E-97423AB54527}"/>
              </a:ext>
            </a:extLst>
          </p:cNvPr>
          <p:cNvGraphicFramePr>
            <a:graphicFrameLocks noGrp="1"/>
          </p:cNvGraphicFramePr>
          <p:nvPr/>
        </p:nvGraphicFramePr>
        <p:xfrm>
          <a:off x="214157" y="1731426"/>
          <a:ext cx="11443201" cy="810363"/>
        </p:xfrm>
        <a:graphic>
          <a:graphicData uri="http://schemas.openxmlformats.org/drawingml/2006/table">
            <a:tbl>
              <a:tblPr firstRow="1" bandRow="1"/>
              <a:tblGrid>
                <a:gridCol w="809639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633562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810363"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s-CO" sz="1300" dirty="0">
                          <a:solidFill>
                            <a:sysClr val="windowText" lastClr="000000"/>
                          </a:solidFill>
                        </a:rPr>
                        <a:t>Procesos </a:t>
                      </a:r>
                    </a:p>
                    <a:p>
                      <a:r>
                        <a:rPr lang="es-CO" sz="1300" dirty="0">
                          <a:solidFill>
                            <a:sysClr val="windowText" lastClr="000000"/>
                          </a:solidFill>
                        </a:rPr>
                        <a:t>Nivel 1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s-CO" sz="13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44" name="Tabla 7">
            <a:extLst>
              <a:ext uri="{FF2B5EF4-FFF2-40B4-BE49-F238E27FC236}">
                <a16:creationId xmlns:a16="http://schemas.microsoft.com/office/drawing/2014/main" id="{A469D407-C11A-4A8A-BED3-7292246E017C}"/>
              </a:ext>
            </a:extLst>
          </p:cNvPr>
          <p:cNvGraphicFramePr>
            <a:graphicFrameLocks noGrp="1"/>
          </p:cNvGraphicFramePr>
          <p:nvPr/>
        </p:nvGraphicFramePr>
        <p:xfrm>
          <a:off x="214172" y="976040"/>
          <a:ext cx="11448030" cy="699720"/>
        </p:xfrm>
        <a:graphic>
          <a:graphicData uri="http://schemas.openxmlformats.org/drawingml/2006/table">
            <a:tbl>
              <a:tblPr firstRow="1" bandRow="1"/>
              <a:tblGrid>
                <a:gridCol w="809624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638406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699720"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s-CO" sz="1200" dirty="0">
                          <a:solidFill>
                            <a:sysClr val="windowText" lastClr="000000"/>
                          </a:solidFill>
                        </a:rPr>
                        <a:t>Objetivo</a:t>
                      </a:r>
                    </a:p>
                    <a:p>
                      <a:r>
                        <a:rPr lang="es-CO" sz="1200" dirty="0">
                          <a:solidFill>
                            <a:sysClr val="windowText" lastClr="000000"/>
                          </a:solidFill>
                        </a:rPr>
                        <a:t>Nivel 0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/>
                      <a:r>
                        <a:rPr lang="es-ES" sz="13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stionar los riesgos en seguridad y salud laboral así como los aspectos ambientales y los de seguridad de procesos, con el propósito de sostener una operación sana, limpia y segura dentro del marco del cumplimiento de la normatividad vigente.</a:t>
                      </a:r>
                      <a:endParaRPr lang="es-CO" sz="13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45" name="Tabla 7">
            <a:extLst>
              <a:ext uri="{FF2B5EF4-FFF2-40B4-BE49-F238E27FC236}">
                <a16:creationId xmlns:a16="http://schemas.microsoft.com/office/drawing/2014/main" id="{DAB5D299-2B63-4201-A9EA-8CE38B516C9E}"/>
              </a:ext>
            </a:extLst>
          </p:cNvPr>
          <p:cNvGraphicFramePr>
            <a:graphicFrameLocks noGrp="1"/>
          </p:cNvGraphicFramePr>
          <p:nvPr/>
        </p:nvGraphicFramePr>
        <p:xfrm>
          <a:off x="214157" y="559796"/>
          <a:ext cx="11443201" cy="378366"/>
        </p:xfrm>
        <a:graphic>
          <a:graphicData uri="http://schemas.openxmlformats.org/drawingml/2006/table">
            <a:tbl>
              <a:tblPr firstRow="1" bandRow="1"/>
              <a:tblGrid>
                <a:gridCol w="809639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633562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378366"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s-CO" sz="1200" b="1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ivel 0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HSE Y SEGURIDAD DE PROCESOS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pSp>
        <p:nvGrpSpPr>
          <p:cNvPr id="46" name="Group 152">
            <a:extLst>
              <a:ext uri="{FF2B5EF4-FFF2-40B4-BE49-F238E27FC236}">
                <a16:creationId xmlns:a16="http://schemas.microsoft.com/office/drawing/2014/main" id="{12D007B0-7391-412A-BD47-1C67806A9939}"/>
              </a:ext>
            </a:extLst>
          </p:cNvPr>
          <p:cNvGrpSpPr/>
          <p:nvPr/>
        </p:nvGrpSpPr>
        <p:grpSpPr>
          <a:xfrm>
            <a:off x="1261126" y="1768044"/>
            <a:ext cx="2327093" cy="731963"/>
            <a:chOff x="3283527" y="19050"/>
            <a:chExt cx="1734551" cy="1127639"/>
          </a:xfrm>
          <a:solidFill>
            <a:schemeClr val="tx2"/>
          </a:solidFill>
        </p:grpSpPr>
        <p:sp>
          <p:nvSpPr>
            <p:cNvPr id="47" name="Freeform 153">
              <a:extLst>
                <a:ext uri="{FF2B5EF4-FFF2-40B4-BE49-F238E27FC236}">
                  <a16:creationId xmlns:a16="http://schemas.microsoft.com/office/drawing/2014/main" id="{3F2DC9CC-7B45-4D16-BABC-B3F9DB170E9F}"/>
                </a:ext>
              </a:extLst>
            </p:cNvPr>
            <p:cNvSpPr/>
            <p:nvPr/>
          </p:nvSpPr>
          <p:spPr bwMode="auto">
            <a:xfrm>
              <a:off x="3283527" y="19050"/>
              <a:ext cx="1734551" cy="112763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614796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14796" y="0"/>
                  </a:lnTo>
                  <a:lnTo>
                    <a:pt x="1828800" y="457200"/>
                  </a:lnTo>
                  <a:lnTo>
                    <a:pt x="1614796" y="914402"/>
                  </a:lnTo>
                  <a:lnTo>
                    <a:pt x="0" y="914400"/>
                  </a:lnTo>
                  <a:lnTo>
                    <a:pt x="214004" y="457202"/>
                  </a:lnTo>
                  <a:close/>
                </a:path>
              </a:pathLst>
            </a:custGeom>
            <a:grpFill/>
            <a:ln w="19050" algn="ctr">
              <a:solidFill>
                <a:sysClr val="window" lastClr="FFFFFF"/>
              </a:solidFill>
              <a:miter lim="800000"/>
              <a:headEnd/>
              <a:tailEnd/>
            </a:ln>
            <a:effectLst>
              <a:outerShdw dist="38100" dir="2700000" algn="ctr" rotWithShape="0">
                <a:sysClr val="windowText" lastClr="000000">
                  <a:alpha val="5000"/>
                </a:sysClr>
              </a:outerShdw>
            </a:effectLst>
          </p:spPr>
          <p:txBody>
            <a:bodyPr vert="horz" wrap="square" lIns="93295" tIns="46649" rIns="93295" bIns="46649" numCol="1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95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867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8" name="TextBox 4">
              <a:extLst>
                <a:ext uri="{FF2B5EF4-FFF2-40B4-BE49-F238E27FC236}">
                  <a16:creationId xmlns:a16="http://schemas.microsoft.com/office/drawing/2014/main" id="{8CEAC280-C62C-4AEB-9F32-6BBB4C9B55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7302" y="147538"/>
              <a:ext cx="1277801" cy="87066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95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224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Calibri" panose="020F0502020204030204" pitchFamily="34" charset="0"/>
                  <a:sym typeface="+mn-lt"/>
                </a:rPr>
                <a:t>Gestión de Salud </a:t>
              </a:r>
              <a:r>
                <a:rPr kumimoji="0" lang="es-CO" sz="1224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Calibri" panose="020F0502020204030204" pitchFamily="34" charset="0"/>
                  <a:sym typeface="+mn-lt"/>
                </a:rPr>
                <a:t>e Higiene </a:t>
              </a:r>
              <a:r>
                <a:rPr kumimoji="0" lang="es-CO" sz="1224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Calibri" panose="020F0502020204030204" pitchFamily="34" charset="0"/>
                  <a:sym typeface="+mn-lt"/>
                </a:rPr>
                <a:t>Ocupacional</a:t>
              </a:r>
            </a:p>
            <a:p>
              <a:pPr marL="0" marR="0" lvl="0" indent="0" algn="ctr" defTabSz="93295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224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Calibri" panose="020F0502020204030204" pitchFamily="34" charset="0"/>
                  <a:sym typeface="+mn-lt"/>
                </a:rPr>
                <a:t> (H)</a:t>
              </a:r>
            </a:p>
          </p:txBody>
        </p:sp>
      </p:grpSp>
      <p:sp>
        <p:nvSpPr>
          <p:cNvPr id="50" name="Freeform 153">
            <a:extLst>
              <a:ext uri="{FF2B5EF4-FFF2-40B4-BE49-F238E27FC236}">
                <a16:creationId xmlns:a16="http://schemas.microsoft.com/office/drawing/2014/main" id="{C26781AA-5481-49EF-B580-D50408596F83}"/>
              </a:ext>
            </a:extLst>
          </p:cNvPr>
          <p:cNvSpPr/>
          <p:nvPr/>
        </p:nvSpPr>
        <p:spPr bwMode="auto">
          <a:xfrm>
            <a:off x="6456529" y="1799987"/>
            <a:ext cx="2325600" cy="73196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93295" tIns="46649" rIns="93295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867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1" name="TextBox 4">
            <a:extLst>
              <a:ext uri="{FF2B5EF4-FFF2-40B4-BE49-F238E27FC236}">
                <a16:creationId xmlns:a16="http://schemas.microsoft.com/office/drawing/2014/main" id="{89B05307-AD93-4BE7-BEAA-6CDCF77F17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96778" y="1977583"/>
            <a:ext cx="1713212" cy="37677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24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Verdana" panose="020B0604030504040204" pitchFamily="34" charset="0"/>
                <a:cs typeface="Calibri" panose="020F0502020204030204" pitchFamily="34" charset="0"/>
                <a:sym typeface="+mn-lt"/>
              </a:rPr>
              <a:t>Gestión de aspectos ambientales (E) </a:t>
            </a:r>
          </a:p>
        </p:txBody>
      </p:sp>
      <p:graphicFrame>
        <p:nvGraphicFramePr>
          <p:cNvPr id="52" name="Tabla 7">
            <a:extLst>
              <a:ext uri="{FF2B5EF4-FFF2-40B4-BE49-F238E27FC236}">
                <a16:creationId xmlns:a16="http://schemas.microsoft.com/office/drawing/2014/main" id="{81969A4A-2765-46FA-B22E-352A0188DF56}"/>
              </a:ext>
            </a:extLst>
          </p:cNvPr>
          <p:cNvGraphicFramePr>
            <a:graphicFrameLocks noGrp="1"/>
          </p:cNvGraphicFramePr>
          <p:nvPr/>
        </p:nvGraphicFramePr>
        <p:xfrm>
          <a:off x="188283" y="2611970"/>
          <a:ext cx="11443201" cy="1693498"/>
        </p:xfrm>
        <a:graphic>
          <a:graphicData uri="http://schemas.openxmlformats.org/drawingml/2006/table">
            <a:tbl>
              <a:tblPr firstRow="1" bandRow="1"/>
              <a:tblGrid>
                <a:gridCol w="839849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2642301">
                  <a:extLst>
                    <a:ext uri="{9D8B030D-6E8A-4147-A177-3AD203B41FA5}">
                      <a16:colId xmlns:a16="http://schemas.microsoft.com/office/drawing/2014/main" val="2706758041"/>
                    </a:ext>
                  </a:extLst>
                </a:gridCol>
                <a:gridCol w="2901258">
                  <a:extLst>
                    <a:ext uri="{9D8B030D-6E8A-4147-A177-3AD203B41FA5}">
                      <a16:colId xmlns:a16="http://schemas.microsoft.com/office/drawing/2014/main" val="529226714"/>
                    </a:ext>
                  </a:extLst>
                </a:gridCol>
                <a:gridCol w="2300342">
                  <a:extLst>
                    <a:ext uri="{9D8B030D-6E8A-4147-A177-3AD203B41FA5}">
                      <a16:colId xmlns:a16="http://schemas.microsoft.com/office/drawing/2014/main" val="159404353"/>
                    </a:ext>
                  </a:extLst>
                </a:gridCol>
                <a:gridCol w="2759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99720"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s-CO" sz="1200" dirty="0">
                          <a:solidFill>
                            <a:schemeClr val="tx1"/>
                          </a:solidFill>
                        </a:rPr>
                        <a:t>Objetivos procesos </a:t>
                      </a:r>
                    </a:p>
                    <a:p>
                      <a:r>
                        <a:rPr lang="es-CO" sz="1200" dirty="0">
                          <a:solidFill>
                            <a:schemeClr val="tx1"/>
                          </a:solidFill>
                        </a:rPr>
                        <a:t>Nivel 1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eñar estrategias para prevenir la aparición de enfermedades laborales, gestionando los factores de riesgo inherentes al trabajo y promover la salud a través de diferentes actividades que permitan asegurar el bienestar físico, mental y emocional de los trabajadores.</a:t>
                      </a:r>
                      <a:endParaRPr lang="es-CO" sz="10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/>
                      <a:r>
                        <a:rPr lang="es-E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Garantizar la integridad de todos los trabajadores, estableciendo directrices para la gestión integral de riesgos de seguridad en el trabajo, asegurando sean llevados a un nivel tan bajo como razonablemente sea posible, utilizando la mejora continua y cumpliendo con la normatividad nacional vigente aplicable en materia de administración de riesgos laborales.</a:t>
                      </a:r>
                      <a:endParaRPr lang="es-CO" sz="10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just" defTabSz="914400" rtl="0" eaLnBrk="1" latinLnBrk="0" hangingPunct="1"/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lanear acciones preventivas para contrarrestar los impactos ambientales, gestionando la viabilidad ambiental, arqueológica y el cumplimiento ambiental así como  evaluar y buscar oportunidades de mejora y de sostenibilidad ambiental, alineadas con la visión a largo plazo de la empresa</a:t>
                      </a: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/>
                      <a:r>
                        <a:rPr lang="es-E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Prevenir incidentes resultado de la perdida de contención de producto o energía en los procesos industriales desarrollados en las facilidades de Cenit. Implementar y asegurar las actividades y prácticas que permitan estar preparados para mitigar las consecuencias de un potencial incidente.</a:t>
                      </a:r>
                      <a:endParaRPr lang="es-CO" sz="10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53" name="Tabla 7">
            <a:extLst>
              <a:ext uri="{FF2B5EF4-FFF2-40B4-BE49-F238E27FC236}">
                <a16:creationId xmlns:a16="http://schemas.microsoft.com/office/drawing/2014/main" id="{7429DE88-CC77-4B87-84D6-31D9C21FC5B2}"/>
              </a:ext>
            </a:extLst>
          </p:cNvPr>
          <p:cNvGraphicFramePr>
            <a:graphicFrameLocks noGrp="1" noChangeAspect="1"/>
          </p:cNvGraphicFramePr>
          <p:nvPr/>
        </p:nvGraphicFramePr>
        <p:xfrm>
          <a:off x="188930" y="4329827"/>
          <a:ext cx="11468426" cy="2393239"/>
        </p:xfrm>
        <a:graphic>
          <a:graphicData uri="http://schemas.openxmlformats.org/drawingml/2006/table">
            <a:tbl>
              <a:tblPr firstRow="1" bandRow="1"/>
              <a:tblGrid>
                <a:gridCol w="841040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2648339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  <a:gridCol w="2907816">
                  <a:extLst>
                    <a:ext uri="{9D8B030D-6E8A-4147-A177-3AD203B41FA5}">
                      <a16:colId xmlns:a16="http://schemas.microsoft.com/office/drawing/2014/main" val="3477243154"/>
                    </a:ext>
                  </a:extLst>
                </a:gridCol>
                <a:gridCol w="2305556">
                  <a:extLst>
                    <a:ext uri="{9D8B030D-6E8A-4147-A177-3AD203B41FA5}">
                      <a16:colId xmlns:a16="http://schemas.microsoft.com/office/drawing/2014/main" val="529226714"/>
                    </a:ext>
                  </a:extLst>
                </a:gridCol>
                <a:gridCol w="27656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393239"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s-CO" sz="1200" dirty="0">
                          <a:solidFill>
                            <a:schemeClr val="tx1"/>
                          </a:solidFill>
                        </a:rPr>
                        <a:t>Procesos </a:t>
                      </a:r>
                    </a:p>
                    <a:p>
                      <a:r>
                        <a:rPr lang="es-CO" sz="1200" dirty="0">
                          <a:solidFill>
                            <a:schemeClr val="tx1"/>
                          </a:solidFill>
                        </a:rPr>
                        <a:t>Nivel 2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7800" indent="-177800" algn="just">
                        <a:buFont typeface="+mj-lt"/>
                        <a:buAutoNum type="arabicPeriod"/>
                      </a:pPr>
                      <a:r>
                        <a:rPr lang="es-E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Diagnostico integral de los riesgos de la salud e higiene ocupacional. </a:t>
                      </a:r>
                      <a:endParaRPr lang="es-ES" sz="1050" b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  <a:p>
                      <a:pPr marL="177800" indent="-177800" algn="just">
                        <a:buFont typeface="+mj-lt"/>
                        <a:buAutoNum type="arabicPeriod"/>
                      </a:pPr>
                      <a:endParaRPr lang="es-ES" sz="10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7800" indent="-177800" algn="just">
                        <a:buFont typeface="+mj-lt"/>
                        <a:buAutoNum type="arabicPeriod"/>
                      </a:pPr>
                      <a:r>
                        <a:rPr lang="es-E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Definición e implementación de los controles de los riesgos que impacten la salud  e higiene</a:t>
                      </a:r>
                      <a:r>
                        <a:rPr lang="es-ES" sz="105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ocupacional</a:t>
                      </a:r>
                      <a:r>
                        <a:rPr lang="es-E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.  </a:t>
                      </a:r>
                      <a:endParaRPr lang="es-ES" sz="1050" b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  <a:p>
                      <a:pPr marL="177800" indent="-177800" algn="just">
                        <a:buFont typeface="+mj-lt"/>
                        <a:buAutoNum type="arabicPeriod"/>
                      </a:pPr>
                      <a:endParaRPr lang="es-ES" sz="1050" b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  <a:p>
                      <a:pPr marL="177800" indent="-177800" algn="just">
                        <a:buFont typeface="+mj-lt"/>
                        <a:buAutoNum type="arabicPeriod"/>
                      </a:pPr>
                      <a:r>
                        <a:rPr lang="es-E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Monitoreo de la efectividad de los diferentes controles e implementación de acciones de mejora.</a:t>
                      </a:r>
                      <a:endParaRPr lang="es-ES" sz="1050" b="0" dirty="0">
                        <a:solidFill>
                          <a:srgbClr val="FF0000"/>
                        </a:solidFill>
                        <a:latin typeface="+mn-lt"/>
                      </a:endParaRPr>
                    </a:p>
                    <a:p>
                      <a:pPr marL="177800" indent="-177800" algn="just">
                        <a:buFont typeface="+mj-lt"/>
                        <a:buAutoNum type="arabicPeriod"/>
                      </a:pPr>
                      <a:endParaRPr lang="es-ES" sz="10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7800" marR="0" lvl="0" indent="-1778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Preparación y respuesta a emergencias medicas (MEDEVAC)</a:t>
                      </a:r>
                    </a:p>
                  </a:txBody>
                  <a:tcPr marL="93295" marR="93295" marT="46649" marB="46649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eación de la  gestión de seguridad en el trabajo</a:t>
                      </a:r>
                    </a:p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stión de Riesgos de Seguridad en el trabajo</a:t>
                      </a:r>
                    </a:p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valuación y mejora de la gestión en seguridad en el trabajo</a:t>
                      </a:r>
                      <a:b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+mj-lt"/>
                        <a:buNone/>
                      </a:pPr>
                      <a:endParaRPr lang="es-ES" sz="105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7800" indent="-177800" algn="l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eación de la gestión ambiental.</a:t>
                      </a:r>
                    </a:p>
                    <a:p>
                      <a:pPr marL="177800" indent="-177800" algn="l" defTabSz="914400" rtl="0" eaLnBrk="1" latinLnBrk="0" hangingPunct="1">
                        <a:buFont typeface="+mj-lt"/>
                        <a:buAutoNum type="arabicPeriod"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l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abilidad ambiental y arqueológica.</a:t>
                      </a:r>
                    </a:p>
                    <a:p>
                      <a:pPr marL="177800" indent="-177800" algn="l" defTabSz="914400" rtl="0" eaLnBrk="1" latinLnBrk="0" hangingPunct="1">
                        <a:buFont typeface="+mj-lt"/>
                        <a:buAutoNum type="arabicPeriod"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l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umplimiento ambiental y arqueológico.</a:t>
                      </a:r>
                    </a:p>
                    <a:p>
                      <a:pPr marL="177800" indent="-177800" algn="l" defTabSz="914400" rtl="0" eaLnBrk="1" latinLnBrk="0" hangingPunct="1">
                        <a:buFont typeface="+mj-lt"/>
                        <a:buAutoNum type="arabicPeriod"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l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stenibilidad ambiental.</a:t>
                      </a:r>
                    </a:p>
                    <a:p>
                      <a:pPr marL="177800" indent="-177800" algn="l" defTabSz="914400" rtl="0" eaLnBrk="1" latinLnBrk="0" hangingPunct="1">
                        <a:buFont typeface="+mj-lt"/>
                        <a:buAutoNum type="arabicPeriod"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l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ensación ambiental e inversión del 1%</a:t>
                      </a:r>
                    </a:p>
                    <a:p>
                      <a:pPr marL="177800" indent="-177800" algn="l" defTabSz="914400" rtl="0" eaLnBrk="1" latinLnBrk="0" hangingPunct="1">
                        <a:buFont typeface="+mj-lt"/>
                        <a:buAutoNum type="arabicPeriod"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622005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1244012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866017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2488024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3110029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3732036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4354041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4976048" algn="l" defTabSz="1244012" rtl="0" eaLnBrk="1" latinLnBrk="0" hangingPunct="1">
                        <a:defRPr sz="2449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MX" sz="105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trategia y organización de seguridad de procesos basada en riesgos</a:t>
                      </a:r>
                    </a:p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endParaRPr lang="es-MX" sz="105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MX" sz="105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ocimiento y análisis de riesgos operacionales</a:t>
                      </a:r>
                    </a:p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endParaRPr lang="es-MX" sz="105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MX" sz="105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stión de riesgos operacionales</a:t>
                      </a:r>
                    </a:p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endParaRPr lang="es-MX" sz="105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indent="-177800" algn="just" defTabSz="914400" rtl="0" eaLnBrk="1" latinLnBrk="0" hangingPunct="1">
                        <a:buFont typeface="+mj-lt"/>
                        <a:buAutoNum type="arabicPeriod"/>
                      </a:pPr>
                      <a:r>
                        <a:rPr lang="es-MX" sz="105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rendizaje y mejora continua de la gestión de seguridad de procesos</a:t>
                      </a:r>
                    </a:p>
                  </a:txBody>
                  <a:tcPr marL="93295" marR="93295" marT="46649" marB="46649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pSp>
        <p:nvGrpSpPr>
          <p:cNvPr id="54" name="Group 152">
            <a:extLst>
              <a:ext uri="{FF2B5EF4-FFF2-40B4-BE49-F238E27FC236}">
                <a16:creationId xmlns:a16="http://schemas.microsoft.com/office/drawing/2014/main" id="{9C78BD79-CE79-4507-AA9D-2533D09252E5}"/>
              </a:ext>
            </a:extLst>
          </p:cNvPr>
          <p:cNvGrpSpPr/>
          <p:nvPr/>
        </p:nvGrpSpPr>
        <p:grpSpPr>
          <a:xfrm>
            <a:off x="3923201" y="1768044"/>
            <a:ext cx="2325600" cy="731963"/>
            <a:chOff x="3283527" y="19050"/>
            <a:chExt cx="1734551" cy="1127639"/>
          </a:xfrm>
          <a:solidFill>
            <a:schemeClr val="tx2"/>
          </a:solidFill>
        </p:grpSpPr>
        <p:sp>
          <p:nvSpPr>
            <p:cNvPr id="55" name="Freeform 153">
              <a:extLst>
                <a:ext uri="{FF2B5EF4-FFF2-40B4-BE49-F238E27FC236}">
                  <a16:creationId xmlns:a16="http://schemas.microsoft.com/office/drawing/2014/main" id="{A6FEADF0-7F8E-4E24-BAA4-F3400FB828B5}"/>
                </a:ext>
              </a:extLst>
            </p:cNvPr>
            <p:cNvSpPr/>
            <p:nvPr/>
          </p:nvSpPr>
          <p:spPr bwMode="auto">
            <a:xfrm>
              <a:off x="3283527" y="19050"/>
              <a:ext cx="1734551" cy="112763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614796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14796" y="0"/>
                  </a:lnTo>
                  <a:lnTo>
                    <a:pt x="1828800" y="457200"/>
                  </a:lnTo>
                  <a:lnTo>
                    <a:pt x="1614796" y="914402"/>
                  </a:lnTo>
                  <a:lnTo>
                    <a:pt x="0" y="914400"/>
                  </a:lnTo>
                  <a:lnTo>
                    <a:pt x="214004" y="457202"/>
                  </a:lnTo>
                  <a:close/>
                </a:path>
              </a:pathLst>
            </a:custGeom>
            <a:grpFill/>
            <a:ln w="19050" algn="ctr">
              <a:solidFill>
                <a:sysClr val="window" lastClr="FFFFFF"/>
              </a:solidFill>
              <a:miter lim="800000"/>
              <a:headEnd/>
              <a:tailEnd/>
            </a:ln>
            <a:effectLst>
              <a:outerShdw dist="38100" dir="2700000" algn="ctr" rotWithShape="0">
                <a:sysClr val="windowText" lastClr="000000">
                  <a:alpha val="5000"/>
                </a:sysClr>
              </a:outerShdw>
            </a:effectLst>
          </p:spPr>
          <p:txBody>
            <a:bodyPr vert="horz" wrap="square" lIns="93295" tIns="46649" rIns="93295" bIns="46649" numCol="1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95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867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56" name="TextBox 4">
              <a:extLst>
                <a:ext uri="{FF2B5EF4-FFF2-40B4-BE49-F238E27FC236}">
                  <a16:creationId xmlns:a16="http://schemas.microsoft.com/office/drawing/2014/main" id="{670225B3-72EF-4A54-94C2-6AC3224328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7302" y="147540"/>
              <a:ext cx="1277801" cy="87066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95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224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Verdana" panose="020B0604030504040204" pitchFamily="34" charset="0"/>
                  <a:cs typeface="Calibri" panose="020F0502020204030204" pitchFamily="34" charset="0"/>
                  <a:sym typeface="+mn-lt"/>
                </a:rPr>
                <a:t>Gestión de la Seguridad en el trabajo (S)</a:t>
              </a:r>
            </a:p>
          </p:txBody>
        </p:sp>
      </p:grpSp>
      <p:sp>
        <p:nvSpPr>
          <p:cNvPr id="58" name="Freeform 153">
            <a:extLst>
              <a:ext uri="{FF2B5EF4-FFF2-40B4-BE49-F238E27FC236}">
                <a16:creationId xmlns:a16="http://schemas.microsoft.com/office/drawing/2014/main" id="{59222B7A-431F-430D-BD8C-F0255713AE0B}"/>
              </a:ext>
            </a:extLst>
          </p:cNvPr>
          <p:cNvSpPr/>
          <p:nvPr/>
        </p:nvSpPr>
        <p:spPr bwMode="auto">
          <a:xfrm>
            <a:off x="9117667" y="1766284"/>
            <a:ext cx="2325600" cy="731963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93295" tIns="46649" rIns="93295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2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estión de Seguridad de Procesos basada en riesgos</a:t>
            </a:r>
          </a:p>
        </p:txBody>
      </p:sp>
    </p:spTree>
    <p:extLst>
      <p:ext uri="{BB962C8B-B14F-4D97-AF65-F5344CB8AC3E}">
        <p14:creationId xmlns:p14="http://schemas.microsoft.com/office/powerpoint/2010/main" val="37104654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52F0AC2F-4F50-514E-BAC5-40FB8FFE3B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2448" y="760150"/>
            <a:ext cx="10022541" cy="4946941"/>
          </a:xfrm>
          <a:prstGeom prst="rect">
            <a:avLst/>
          </a:prstGeom>
        </p:spPr>
      </p:pic>
      <p:sp>
        <p:nvSpPr>
          <p:cNvPr id="42" name="CuadroTexto 41">
            <a:extLst>
              <a:ext uri="{FF2B5EF4-FFF2-40B4-BE49-F238E27FC236}">
                <a16:creationId xmlns:a16="http://schemas.microsoft.com/office/drawing/2014/main" id="{8C6C9463-38E0-44BF-A606-AD2FAE25F4EF}"/>
              </a:ext>
            </a:extLst>
          </p:cNvPr>
          <p:cNvSpPr txBox="1"/>
          <p:nvPr/>
        </p:nvSpPr>
        <p:spPr>
          <a:xfrm>
            <a:off x="5649822" y="2827843"/>
            <a:ext cx="13539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b="1">
                <a:solidFill>
                  <a:srgbClr val="07212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estión del Cambio</a:t>
            </a:r>
            <a:endParaRPr lang="es-CO" sz="1400" b="1">
              <a:solidFill>
                <a:srgbClr val="07212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3D5B9A0C-A094-44A4-8CD7-BD8B7612947C}"/>
              </a:ext>
            </a:extLst>
          </p:cNvPr>
          <p:cNvSpPr txBox="1"/>
          <p:nvPr/>
        </p:nvSpPr>
        <p:spPr>
          <a:xfrm>
            <a:off x="2284656" y="1546355"/>
            <a:ext cx="193185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agnóstico Documental</a:t>
            </a:r>
            <a:endParaRPr lang="es-CO" sz="1600" b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A92FB6B2-22A2-4568-A9CA-7C97419CC0A1}"/>
              </a:ext>
            </a:extLst>
          </p:cNvPr>
          <p:cNvSpPr txBox="1"/>
          <p:nvPr/>
        </p:nvSpPr>
        <p:spPr>
          <a:xfrm>
            <a:off x="1902739" y="4588511"/>
            <a:ext cx="1723086" cy="584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euniones</a:t>
            </a:r>
            <a:endParaRPr lang="es-CO" sz="1600" b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CD2E0FE5-7403-40BC-BD69-19937EDD1C27}"/>
              </a:ext>
            </a:extLst>
          </p:cNvPr>
          <p:cNvSpPr txBox="1"/>
          <p:nvPr/>
        </p:nvSpPr>
        <p:spPr>
          <a:xfrm>
            <a:off x="8647525" y="4608003"/>
            <a:ext cx="2614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</a:t>
            </a:r>
            <a:endParaRPr lang="es-CO" sz="1600" b="1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63D96A83-7AC3-44B6-B68B-2AB5BFE50843}"/>
              </a:ext>
            </a:extLst>
          </p:cNvPr>
          <p:cNvSpPr txBox="1"/>
          <p:nvPr/>
        </p:nvSpPr>
        <p:spPr>
          <a:xfrm>
            <a:off x="8306672" y="1570175"/>
            <a:ext cx="20815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</a:t>
            </a:r>
            <a:endParaRPr lang="es-CO" sz="1600" b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1" name="Imagen 100">
            <a:extLst>
              <a:ext uri="{FF2B5EF4-FFF2-40B4-BE49-F238E27FC236}">
                <a16:creationId xmlns:a16="http://schemas.microsoft.com/office/drawing/2014/main" id="{D30FAB84-6765-4EA7-8B2C-0B76621F31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5886" y="5232045"/>
            <a:ext cx="1006096" cy="1006096"/>
          </a:xfrm>
          <a:prstGeom prst="rect">
            <a:avLst/>
          </a:prstGeom>
        </p:spPr>
      </p:pic>
      <p:pic>
        <p:nvPicPr>
          <p:cNvPr id="103" name="Imagen 102" descr="Imagen que contiene dibujo, grafiti, señal, cuarto&#10;&#10;Descripción generada automáticamente">
            <a:extLst>
              <a:ext uri="{FF2B5EF4-FFF2-40B4-BE49-F238E27FC236}">
                <a16:creationId xmlns:a16="http://schemas.microsoft.com/office/drawing/2014/main" id="{7C64DD4C-B66D-4C04-B15D-EDBF75D482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20117" y="5365846"/>
            <a:ext cx="829496" cy="829496"/>
          </a:xfrm>
          <a:prstGeom prst="rect">
            <a:avLst/>
          </a:prstGeom>
        </p:spPr>
      </p:pic>
      <p:pic>
        <p:nvPicPr>
          <p:cNvPr id="105" name="Imagen 104" descr="Imagen que contiene sushi, ventana, grafiti, dibujo&#10;&#10;Descripción generada automáticamente">
            <a:extLst>
              <a:ext uri="{FF2B5EF4-FFF2-40B4-BE49-F238E27FC236}">
                <a16:creationId xmlns:a16="http://schemas.microsoft.com/office/drawing/2014/main" id="{D28A723D-BE5C-4CCD-BB55-26CC0939C1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1119" y="2505388"/>
            <a:ext cx="906126" cy="906126"/>
          </a:xfrm>
          <a:prstGeom prst="rect">
            <a:avLst/>
          </a:prstGeom>
        </p:spPr>
      </p:pic>
      <p:pic>
        <p:nvPicPr>
          <p:cNvPr id="107" name="Imagen 106">
            <a:extLst>
              <a:ext uri="{FF2B5EF4-FFF2-40B4-BE49-F238E27FC236}">
                <a16:creationId xmlns:a16="http://schemas.microsoft.com/office/drawing/2014/main" id="{DDDCB467-82D2-4906-8E14-265CD16979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4865" y="2467669"/>
            <a:ext cx="928561" cy="928561"/>
          </a:xfrm>
          <a:prstGeom prst="rect">
            <a:avLst/>
          </a:prstGeom>
        </p:spPr>
      </p:pic>
      <p:pic>
        <p:nvPicPr>
          <p:cNvPr id="135" name="Imagen 134" descr="Imagen que contiene ventana&#10;&#10;Descripción generada automáticamente">
            <a:extLst>
              <a:ext uri="{FF2B5EF4-FFF2-40B4-BE49-F238E27FC236}">
                <a16:creationId xmlns:a16="http://schemas.microsoft.com/office/drawing/2014/main" id="{4E16E3A8-711F-4172-B56E-43B025F29A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5066" y="3967304"/>
            <a:ext cx="802653" cy="802653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D90E3A1E-2F31-41DC-B883-AFD300F30ED5}"/>
              </a:ext>
            </a:extLst>
          </p:cNvPr>
          <p:cNvSpPr txBox="1"/>
          <p:nvPr/>
        </p:nvSpPr>
        <p:spPr>
          <a:xfrm>
            <a:off x="1035465" y="43512"/>
            <a:ext cx="105160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ASES DEL PROYECTO Y ENTREGABLES POR MACROPROCESO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BA71CAB1-059A-4682-B7CE-73D93DC727F2}"/>
              </a:ext>
            </a:extLst>
          </p:cNvPr>
          <p:cNvSpPr txBox="1"/>
          <p:nvPr/>
        </p:nvSpPr>
        <p:spPr>
          <a:xfrm>
            <a:off x="2307942" y="4160817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1" name="CuadroTexto 19">
            <a:extLst>
              <a:ext uri="{FF2B5EF4-FFF2-40B4-BE49-F238E27FC236}">
                <a16:creationId xmlns:a16="http://schemas.microsoft.com/office/drawing/2014/main" id="{07CBC177-9FC6-C343-A97F-7D9FD1AD4A40}"/>
              </a:ext>
            </a:extLst>
          </p:cNvPr>
          <p:cNvSpPr txBox="1"/>
          <p:nvPr/>
        </p:nvSpPr>
        <p:spPr>
          <a:xfrm>
            <a:off x="2844542" y="1045969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3" name="CuadroTexto 19">
            <a:extLst>
              <a:ext uri="{FF2B5EF4-FFF2-40B4-BE49-F238E27FC236}">
                <a16:creationId xmlns:a16="http://schemas.microsoft.com/office/drawing/2014/main" id="{821B7FB2-45AC-7943-9211-8C5A56B0B1D0}"/>
              </a:ext>
            </a:extLst>
          </p:cNvPr>
          <p:cNvSpPr txBox="1"/>
          <p:nvPr/>
        </p:nvSpPr>
        <p:spPr>
          <a:xfrm>
            <a:off x="9498424" y="4151889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4" name="CuadroTexto 19">
            <a:extLst>
              <a:ext uri="{FF2B5EF4-FFF2-40B4-BE49-F238E27FC236}">
                <a16:creationId xmlns:a16="http://schemas.microsoft.com/office/drawing/2014/main" id="{4B1C927A-9904-0645-BCA2-25CA2CAF52C5}"/>
              </a:ext>
            </a:extLst>
          </p:cNvPr>
          <p:cNvSpPr txBox="1"/>
          <p:nvPr/>
        </p:nvSpPr>
        <p:spPr>
          <a:xfrm>
            <a:off x="8891119" y="1040947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F7274B33-B192-4347-A044-6DC3E078F83D}"/>
              </a:ext>
            </a:extLst>
          </p:cNvPr>
          <p:cNvSpPr/>
          <p:nvPr/>
        </p:nvSpPr>
        <p:spPr>
          <a:xfrm>
            <a:off x="2460630" y="36250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1047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8C01678-B2F7-1045-90CD-53A08DDEB55A}"/>
              </a:ext>
            </a:extLst>
          </p:cNvPr>
          <p:cNvSpPr/>
          <p:nvPr/>
        </p:nvSpPr>
        <p:spPr>
          <a:xfrm>
            <a:off x="2920370" y="548683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DC6FE364-503B-7946-8E38-C2A6F34B3F59}"/>
              </a:ext>
            </a:extLst>
          </p:cNvPr>
          <p:cNvSpPr/>
          <p:nvPr/>
        </p:nvSpPr>
        <p:spPr>
          <a:xfrm>
            <a:off x="6100187" y="3379638"/>
            <a:ext cx="453186" cy="4531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6D16295-E7AA-AD4A-BBAC-9BD05EEA09B8}"/>
              </a:ext>
            </a:extLst>
          </p:cNvPr>
          <p:cNvSpPr/>
          <p:nvPr/>
        </p:nvSpPr>
        <p:spPr>
          <a:xfrm>
            <a:off x="9659591" y="3663842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C9BEE47A-869F-5147-B51D-BCF46C0AE4A1}"/>
              </a:ext>
            </a:extLst>
          </p:cNvPr>
          <p:cNvSpPr/>
          <p:nvPr/>
        </p:nvSpPr>
        <p:spPr>
          <a:xfrm>
            <a:off x="9078405" y="548683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4A83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468010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66">
            <a:extLst>
              <a:ext uri="{FF2B5EF4-FFF2-40B4-BE49-F238E27FC236}">
                <a16:creationId xmlns:a16="http://schemas.microsoft.com/office/drawing/2014/main" id="{38EDB1DE-AF47-9D40-B81D-283FF4E6C2A4}"/>
              </a:ext>
            </a:extLst>
          </p:cNvPr>
          <p:cNvSpPr txBox="1"/>
          <p:nvPr/>
        </p:nvSpPr>
        <p:spPr>
          <a:xfrm>
            <a:off x="3308794" y="1802081"/>
            <a:ext cx="5732000" cy="35394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s de gobierno de Cenit</a:t>
            </a:r>
            <a:endParaRPr lang="es-ES" sz="1700" b="1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6B712A9A-A1B5-5C40-93E1-9889A90849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5" t="9212" r="73220" b="15975"/>
          <a:stretch/>
        </p:blipFill>
        <p:spPr bwMode="auto">
          <a:xfrm>
            <a:off x="9261172" y="1407853"/>
            <a:ext cx="538163" cy="53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8">
            <a:extLst>
              <a:ext uri="{FF2B5EF4-FFF2-40B4-BE49-F238E27FC236}">
                <a16:creationId xmlns:a16="http://schemas.microsoft.com/office/drawing/2014/main" id="{4508CFCE-3704-BB45-8028-EF43011836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86" t="17517" r="15609" b="17455"/>
          <a:stretch/>
        </p:blipFill>
        <p:spPr bwMode="auto">
          <a:xfrm>
            <a:off x="10061176" y="945563"/>
            <a:ext cx="601290" cy="563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18C1DFB3-692A-534F-AC32-C986A4BC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5973" y="1275969"/>
            <a:ext cx="779014" cy="333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adroTexto 81">
            <a:extLst>
              <a:ext uri="{FF2B5EF4-FFF2-40B4-BE49-F238E27FC236}">
                <a16:creationId xmlns:a16="http://schemas.microsoft.com/office/drawing/2014/main" id="{0B95BECA-B91B-1947-B0D6-C4A401178577}"/>
              </a:ext>
            </a:extLst>
          </p:cNvPr>
          <p:cNvSpPr txBox="1"/>
          <p:nvPr/>
        </p:nvSpPr>
        <p:spPr>
          <a:xfrm>
            <a:off x="3308795" y="1116158"/>
            <a:ext cx="5732000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ción de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es prácticas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C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 estándares internacionales y los de GEE).</a:t>
            </a:r>
          </a:p>
        </p:txBody>
      </p:sp>
      <p:pic>
        <p:nvPicPr>
          <p:cNvPr id="7" name="Picture 4" descr="La OCDE realizará una evaluación externa de la actividad de la AIReF">
            <a:extLst>
              <a:ext uri="{FF2B5EF4-FFF2-40B4-BE49-F238E27FC236}">
                <a16:creationId xmlns:a16="http://schemas.microsoft.com/office/drawing/2014/main" id="{49282EF9-0542-D941-ADFB-971D99A7F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1175" y="1498763"/>
            <a:ext cx="601290" cy="417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2" descr="Imagen que contiene firmar, alimentos&#10;&#10;Descripción generada automáticamente">
            <a:extLst>
              <a:ext uri="{FF2B5EF4-FFF2-40B4-BE49-F238E27FC236}">
                <a16:creationId xmlns:a16="http://schemas.microsoft.com/office/drawing/2014/main" id="{59AD9CD2-8747-4542-95C9-8984CD45153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" r="71975" b="3009"/>
          <a:stretch/>
        </p:blipFill>
        <p:spPr>
          <a:xfrm>
            <a:off x="9261172" y="881363"/>
            <a:ext cx="655822" cy="453936"/>
          </a:xfrm>
          <a:prstGeom prst="rect">
            <a:avLst/>
          </a:prstGeom>
        </p:spPr>
      </p:pic>
      <p:sp>
        <p:nvSpPr>
          <p:cNvPr id="11" name="CuadroTexto 47">
            <a:extLst>
              <a:ext uri="{FF2B5EF4-FFF2-40B4-BE49-F238E27FC236}">
                <a16:creationId xmlns:a16="http://schemas.microsoft.com/office/drawing/2014/main" id="{B7555FB1-F363-8646-896F-4E2589A794C7}"/>
              </a:ext>
            </a:extLst>
          </p:cNvPr>
          <p:cNvSpPr txBox="1"/>
          <p:nvPr/>
        </p:nvSpPr>
        <p:spPr>
          <a:xfrm>
            <a:off x="2884686" y="207620"/>
            <a:ext cx="513832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agnóstico Documental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183C7245-B99D-DB48-9D89-30411EEB42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13" y="178888"/>
            <a:ext cx="2562373" cy="2562373"/>
          </a:xfrm>
          <a:prstGeom prst="rect">
            <a:avLst/>
          </a:prstGeom>
        </p:spPr>
      </p:pic>
      <p:sp>
        <p:nvSpPr>
          <p:cNvPr id="13" name="CuadroTexto 66">
            <a:extLst>
              <a:ext uri="{FF2B5EF4-FFF2-40B4-BE49-F238E27FC236}">
                <a16:creationId xmlns:a16="http://schemas.microsoft.com/office/drawing/2014/main" id="{250199F8-A82E-4057-B60A-23CC702AD1C3}"/>
              </a:ext>
            </a:extLst>
          </p:cNvPr>
          <p:cNvSpPr txBox="1"/>
          <p:nvPr/>
        </p:nvSpPr>
        <p:spPr>
          <a:xfrm>
            <a:off x="3308793" y="2231787"/>
            <a:ext cx="5732000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bios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el esquema de poderes generales a tono con la nueva Cenit 2020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FC295B3A-2E5B-472E-B079-DF6D14178834}"/>
              </a:ext>
            </a:extLst>
          </p:cNvPr>
          <p:cNvSpPr txBox="1"/>
          <p:nvPr/>
        </p:nvSpPr>
        <p:spPr>
          <a:xfrm>
            <a:off x="1071416" y="4486071"/>
            <a:ext cx="5809673" cy="166199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ódigo de Buen Gobierno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 de Delegación de Autoridad y sus matrices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Asamblea General de Accionistas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Junta Directiva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Comité de Auditoría y Riesgos de la Junta Directiva</a:t>
            </a:r>
            <a:endParaRPr lang="es-ES" sz="1700" b="1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40AE359A-F3FC-43A1-A0B0-9CFE10F12A5F}"/>
              </a:ext>
            </a:extLst>
          </p:cNvPr>
          <p:cNvSpPr txBox="1"/>
          <p:nvPr/>
        </p:nvSpPr>
        <p:spPr>
          <a:xfrm>
            <a:off x="7157172" y="3791333"/>
            <a:ext cx="3721425" cy="35394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 de Septiembre 2020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7DDB1B69-EC73-4DAD-B1E9-E36A9FA7700C}"/>
              </a:ext>
            </a:extLst>
          </p:cNvPr>
          <p:cNvSpPr txBox="1"/>
          <p:nvPr/>
        </p:nvSpPr>
        <p:spPr>
          <a:xfrm>
            <a:off x="7157172" y="5067684"/>
            <a:ext cx="3721425" cy="35394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de Octubre 2020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0B1CE20D-FB6D-4A8F-B398-CFE87A404756}"/>
              </a:ext>
            </a:extLst>
          </p:cNvPr>
          <p:cNvSpPr txBox="1"/>
          <p:nvPr/>
        </p:nvSpPr>
        <p:spPr>
          <a:xfrm>
            <a:off x="1819141" y="3200835"/>
            <a:ext cx="3721425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o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4126819D-2219-4DC1-8039-36E1023E069F}"/>
              </a:ext>
            </a:extLst>
          </p:cNvPr>
          <p:cNvSpPr txBox="1"/>
          <p:nvPr/>
        </p:nvSpPr>
        <p:spPr>
          <a:xfrm>
            <a:off x="1071417" y="3789021"/>
            <a:ext cx="5809673" cy="35394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tutos Sociales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F635B89E-D6F2-4D24-A11B-009B2F592502}"/>
              </a:ext>
            </a:extLst>
          </p:cNvPr>
          <p:cNvSpPr txBox="1"/>
          <p:nvPr/>
        </p:nvSpPr>
        <p:spPr>
          <a:xfrm>
            <a:off x="7157173" y="3280277"/>
            <a:ext cx="3721425" cy="35394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ada en vigencia</a:t>
            </a:r>
          </a:p>
        </p:txBody>
      </p:sp>
      <p:sp>
        <p:nvSpPr>
          <p:cNvPr id="29" name="CuadroTexto 44">
            <a:extLst>
              <a:ext uri="{FF2B5EF4-FFF2-40B4-BE49-F238E27FC236}">
                <a16:creationId xmlns:a16="http://schemas.microsoft.com/office/drawing/2014/main" id="{6497B98C-D7E0-40EE-93FD-7D042C49631E}"/>
              </a:ext>
            </a:extLst>
          </p:cNvPr>
          <p:cNvSpPr txBox="1"/>
          <p:nvPr/>
        </p:nvSpPr>
        <p:spPr>
          <a:xfrm>
            <a:off x="7804815" y="54777"/>
            <a:ext cx="1593044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4000"/>
              <a:t>100%</a:t>
            </a:r>
            <a:endParaRPr lang="es-CO" sz="4000"/>
          </a:p>
        </p:txBody>
      </p:sp>
      <p:sp>
        <p:nvSpPr>
          <p:cNvPr id="8" name="Oval 105">
            <a:extLst>
              <a:ext uri="{FF2B5EF4-FFF2-40B4-BE49-F238E27FC236}">
                <a16:creationId xmlns:a16="http://schemas.microsoft.com/office/drawing/2014/main" id="{591C4119-5F03-49EC-BE67-435D4744873C}"/>
              </a:ext>
            </a:extLst>
          </p:cNvPr>
          <p:cNvSpPr/>
          <p:nvPr/>
        </p:nvSpPr>
        <p:spPr>
          <a:xfrm>
            <a:off x="1112065" y="655626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952512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66">
            <a:extLst>
              <a:ext uri="{FF2B5EF4-FFF2-40B4-BE49-F238E27FC236}">
                <a16:creationId xmlns:a16="http://schemas.microsoft.com/office/drawing/2014/main" id="{38EDB1DE-AF47-9D40-B81D-283FF4E6C2A4}"/>
              </a:ext>
            </a:extLst>
          </p:cNvPr>
          <p:cNvSpPr txBox="1"/>
          <p:nvPr/>
        </p:nvSpPr>
        <p:spPr>
          <a:xfrm>
            <a:off x="978068" y="2365182"/>
            <a:ext cx="9598627" cy="87716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iamos el periodo de los miembros de Junta Directiva y del Revisor Fiscal de uno (1) a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 (2) años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n línea con las mejores prácticas de gobierno corporativo adoptadas por el Grupo Ecopetrol. </a:t>
            </a:r>
          </a:p>
        </p:txBody>
      </p:sp>
      <p:sp>
        <p:nvSpPr>
          <p:cNvPr id="6" name="CuadroTexto 81">
            <a:extLst>
              <a:ext uri="{FF2B5EF4-FFF2-40B4-BE49-F238E27FC236}">
                <a16:creationId xmlns:a16="http://schemas.microsoft.com/office/drawing/2014/main" id="{0B95BECA-B91B-1947-B0D6-C4A401178577}"/>
              </a:ext>
            </a:extLst>
          </p:cNvPr>
          <p:cNvSpPr txBox="1"/>
          <p:nvPr/>
        </p:nvSpPr>
        <p:spPr>
          <a:xfrm>
            <a:off x="978069" y="867091"/>
            <a:ext cx="9598627" cy="140038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iamos nuestro objeto social para consolidar a CENIT como el vehículo del Grupo Ecopetrol no solo en las actividades y servicios relacionados con el transporte y logística de hidrocarburos, sino en la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ción integral al sector petrolero en todo tipo de actividades relacionadas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demás de facilitar la innovación y la atención de nuevos servicios, a tono con la senda de transición energética y las energías renovables.</a:t>
            </a:r>
          </a:p>
        </p:txBody>
      </p:sp>
      <p:sp>
        <p:nvSpPr>
          <p:cNvPr id="11" name="CuadroTexto 47">
            <a:extLst>
              <a:ext uri="{FF2B5EF4-FFF2-40B4-BE49-F238E27FC236}">
                <a16:creationId xmlns:a16="http://schemas.microsoft.com/office/drawing/2014/main" id="{B7555FB1-F363-8646-896F-4E2589A794C7}"/>
              </a:ext>
            </a:extLst>
          </p:cNvPr>
          <p:cNvSpPr txBox="1"/>
          <p:nvPr/>
        </p:nvSpPr>
        <p:spPr>
          <a:xfrm>
            <a:off x="2835937" y="227533"/>
            <a:ext cx="6670026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ambios estatutarios más relevantes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uadroTexto 66">
            <a:extLst>
              <a:ext uri="{FF2B5EF4-FFF2-40B4-BE49-F238E27FC236}">
                <a16:creationId xmlns:a16="http://schemas.microsoft.com/office/drawing/2014/main" id="{250199F8-A82E-4057-B60A-23CC702AD1C3}"/>
              </a:ext>
            </a:extLst>
          </p:cNvPr>
          <p:cNvSpPr txBox="1"/>
          <p:nvPr/>
        </p:nvSpPr>
        <p:spPr>
          <a:xfrm>
            <a:off x="978068" y="3475022"/>
            <a:ext cx="9598627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alecimos la función de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cionamiento estratégico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nuestra Junta Directiva, robusteciendo el posicionamiento de CENIT como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íder del Midstream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9" name="CuadroTexto 66">
            <a:extLst>
              <a:ext uri="{FF2B5EF4-FFF2-40B4-BE49-F238E27FC236}">
                <a16:creationId xmlns:a16="http://schemas.microsoft.com/office/drawing/2014/main" id="{F4EA02F3-489B-4F56-B83B-A3E6EFCD6C62}"/>
              </a:ext>
            </a:extLst>
          </p:cNvPr>
          <p:cNvSpPr txBox="1"/>
          <p:nvPr/>
        </p:nvSpPr>
        <p:spPr>
          <a:xfrm>
            <a:off x="978068" y="4158496"/>
            <a:ext cx="9598628" cy="113877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ucturamos el proceso de contratación y abastecimiento para que la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istración integral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mismo esté en cabeza del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esentante Legal para fines de Contratación y Abastecimiento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n reportes periódicos a la Junta Directiva, impulsado por una palanca de agilidad. </a:t>
            </a:r>
          </a:p>
        </p:txBody>
      </p:sp>
      <p:sp>
        <p:nvSpPr>
          <p:cNvPr id="12" name="CuadroTexto 66">
            <a:extLst>
              <a:ext uri="{FF2B5EF4-FFF2-40B4-BE49-F238E27FC236}">
                <a16:creationId xmlns:a16="http://schemas.microsoft.com/office/drawing/2014/main" id="{B9E82B6E-0015-4A40-8F67-A63ADDF3DB44}"/>
              </a:ext>
            </a:extLst>
          </p:cNvPr>
          <p:cNvSpPr txBox="1"/>
          <p:nvPr/>
        </p:nvSpPr>
        <p:spPr>
          <a:xfrm>
            <a:off x="978068" y="5366168"/>
            <a:ext cx="9598628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alecimos la regulación de los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untos de transparencia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neándonos a las directrices del grupo empresarial, con base en las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es prácticas internacionales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pic>
        <p:nvPicPr>
          <p:cNvPr id="16" name="Gráfico 15" descr="Marca de insignia1">
            <a:extLst>
              <a:ext uri="{FF2B5EF4-FFF2-40B4-BE49-F238E27FC236}">
                <a16:creationId xmlns:a16="http://schemas.microsoft.com/office/drawing/2014/main" id="{A344A14F-33F3-4B77-9BFB-45506A0EBB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1110082"/>
            <a:ext cx="914400" cy="914400"/>
          </a:xfrm>
          <a:prstGeom prst="rect">
            <a:avLst/>
          </a:prstGeom>
        </p:spPr>
      </p:pic>
      <p:pic>
        <p:nvPicPr>
          <p:cNvPr id="18" name="Gráfico 17" descr="Marca de insignia1">
            <a:extLst>
              <a:ext uri="{FF2B5EF4-FFF2-40B4-BE49-F238E27FC236}">
                <a16:creationId xmlns:a16="http://schemas.microsoft.com/office/drawing/2014/main" id="{28260F04-AA04-4E5B-9B8F-06C318CA82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5216744"/>
            <a:ext cx="914400" cy="914400"/>
          </a:xfrm>
          <a:prstGeom prst="rect">
            <a:avLst/>
          </a:prstGeom>
        </p:spPr>
      </p:pic>
      <p:pic>
        <p:nvPicPr>
          <p:cNvPr id="24" name="Gráfico 23" descr="Marca de insignia1">
            <a:extLst>
              <a:ext uri="{FF2B5EF4-FFF2-40B4-BE49-F238E27FC236}">
                <a16:creationId xmlns:a16="http://schemas.microsoft.com/office/drawing/2014/main" id="{5718E154-7845-40C6-BBF4-06E91DDB7B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4270682"/>
            <a:ext cx="914400" cy="914400"/>
          </a:xfrm>
          <a:prstGeom prst="rect">
            <a:avLst/>
          </a:prstGeom>
        </p:spPr>
      </p:pic>
      <p:pic>
        <p:nvPicPr>
          <p:cNvPr id="31" name="Gráfico 30" descr="Marca de insignia1">
            <a:extLst>
              <a:ext uri="{FF2B5EF4-FFF2-40B4-BE49-F238E27FC236}">
                <a16:creationId xmlns:a16="http://schemas.microsoft.com/office/drawing/2014/main" id="{A8E9EF51-64BE-4193-9FDF-A0683F838F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2346563"/>
            <a:ext cx="914400" cy="914400"/>
          </a:xfrm>
          <a:prstGeom prst="rect">
            <a:avLst/>
          </a:prstGeom>
        </p:spPr>
      </p:pic>
      <p:pic>
        <p:nvPicPr>
          <p:cNvPr id="33" name="Gráfico 32" descr="Marca de insignia1">
            <a:extLst>
              <a:ext uri="{FF2B5EF4-FFF2-40B4-BE49-F238E27FC236}">
                <a16:creationId xmlns:a16="http://schemas.microsoft.com/office/drawing/2014/main" id="{E08C4F9D-FF5D-4BC7-87EE-58CF1AFAC0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332559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65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ontent Placeholder 18">
            <a:extLst>
              <a:ext uri="{FF2B5EF4-FFF2-40B4-BE49-F238E27FC236}">
                <a16:creationId xmlns:a16="http://schemas.microsoft.com/office/drawing/2014/main" id="{0DE618DD-F247-46AF-8DFA-20E3E36993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7115703"/>
              </p:ext>
            </p:extLst>
          </p:nvPr>
        </p:nvGraphicFramePr>
        <p:xfrm>
          <a:off x="1356961" y="833409"/>
          <a:ext cx="10088881" cy="5131545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88881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53948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mbio de nombre para que quede: “Comité de Auditoría </a:t>
                      </a:r>
                      <a:r>
                        <a:rPr lang="es-ES" sz="1700" b="1" i="0" u="sng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y Riesgos</a:t>
                      </a:r>
                      <a:r>
                        <a:rPr lang="es-ES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”, reflejando la realidad de las funciones abordadas</a:t>
                      </a:r>
                      <a:r>
                        <a:rPr lang="es-CO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53948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talecimiento de las funciones en materia de gestión de riesgos para dar marco al gobierno de los mismos, así como claridad frente a los temas de auditoria interna y control interno</a:t>
                      </a:r>
                      <a:r>
                        <a:rPr lang="es-CO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88492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sobre las funciones financieras para recomendar a la Junta y que ésta pueda presentar a la Asamblea General de Accionistas, en el sentido de tenerlas a cargo solo si la Junta no lo ha realizado en pleno (optimización de espacios)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126394"/>
                  </a:ext>
                </a:extLst>
              </a:tr>
              <a:tr h="933517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7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medida de composición del Comité de no considerar para próximos periodos del Comité de Auditoría y Riesgos a aquellos miembros de la Junta que dejen de participar sin motivo justificado en un 50% de las reuniones en el periodo inmediatamente anterior al de la respectiva elección. (Alineación Ecopetrol)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54167"/>
                  </a:ext>
                </a:extLst>
              </a:tr>
              <a:tr h="66485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ormalización de invitados permanentes, así como de la buena práctica de presentar informes trimestrales a la Junta en pleno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80132"/>
                  </a:ext>
                </a:extLst>
              </a:tr>
              <a:tr h="58482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la aprobación del estatuto de la auditoría interna, supervisión de la función de cumplimiento y, en general, actualización en la redacción en temas de estas funciones</a:t>
                      </a:r>
                      <a:r>
                        <a:rPr lang="es-CO" sz="17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625214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la aprobación del estatuto de la auditoría interna, supervisión de la función de cumplimiento y, en general, actualización en la redacción en temas de estas funciones</a:t>
                      </a:r>
                      <a:r>
                        <a:rPr lang="es-CO" sz="17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</a:tbl>
          </a:graphicData>
        </a:graphic>
      </p:graphicFrame>
      <p:sp>
        <p:nvSpPr>
          <p:cNvPr id="17" name="CuadroTexto 16">
            <a:extLst>
              <a:ext uri="{FF2B5EF4-FFF2-40B4-BE49-F238E27FC236}">
                <a16:creationId xmlns:a16="http://schemas.microsoft.com/office/drawing/2014/main" id="{89D6B7EB-F12A-423E-AB8A-8BA9E3386B25}"/>
              </a:ext>
            </a:extLst>
          </p:cNvPr>
          <p:cNvSpPr txBox="1"/>
          <p:nvPr/>
        </p:nvSpPr>
        <p:spPr>
          <a:xfrm>
            <a:off x="756301" y="89881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A8612C3-18F8-43E4-A7EB-A3F175606542}"/>
              </a:ext>
            </a:extLst>
          </p:cNvPr>
          <p:cNvSpPr txBox="1"/>
          <p:nvPr/>
        </p:nvSpPr>
        <p:spPr>
          <a:xfrm>
            <a:off x="774691" y="1466256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085785B-5E65-44C0-9185-52975CCC88CC}"/>
              </a:ext>
            </a:extLst>
          </p:cNvPr>
          <p:cNvSpPr txBox="1"/>
          <p:nvPr/>
        </p:nvSpPr>
        <p:spPr>
          <a:xfrm>
            <a:off x="756301" y="209839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B2ADA33F-8974-4F1B-977A-E7B0056A5635}"/>
              </a:ext>
            </a:extLst>
          </p:cNvPr>
          <p:cNvSpPr txBox="1"/>
          <p:nvPr/>
        </p:nvSpPr>
        <p:spPr>
          <a:xfrm>
            <a:off x="756301" y="303650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0D7AAB2D-1B32-4AA6-9D1F-094345CFBCA6}"/>
              </a:ext>
            </a:extLst>
          </p:cNvPr>
          <p:cNvSpPr txBox="1"/>
          <p:nvPr/>
        </p:nvSpPr>
        <p:spPr>
          <a:xfrm>
            <a:off x="777841" y="4136762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5B6EBF9B-A167-436E-A0E4-351E8ADFD0C7}"/>
              </a:ext>
            </a:extLst>
          </p:cNvPr>
          <p:cNvSpPr txBox="1"/>
          <p:nvPr/>
        </p:nvSpPr>
        <p:spPr>
          <a:xfrm>
            <a:off x="793081" y="4748579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508BBA46-6B52-4007-93AE-9FB70CB09202}"/>
              </a:ext>
            </a:extLst>
          </p:cNvPr>
          <p:cNvSpPr txBox="1"/>
          <p:nvPr/>
        </p:nvSpPr>
        <p:spPr>
          <a:xfrm>
            <a:off x="793081" y="5377086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ítulo 3">
            <a:extLst>
              <a:ext uri="{FF2B5EF4-FFF2-40B4-BE49-F238E27FC236}">
                <a16:creationId xmlns:a16="http://schemas.microsoft.com/office/drawing/2014/main" id="{416BA93B-5220-4DF4-B1AE-25C2B9AF5010}"/>
              </a:ext>
            </a:extLst>
          </p:cNvPr>
          <p:cNvSpPr txBox="1">
            <a:spLocks/>
          </p:cNvSpPr>
          <p:nvPr/>
        </p:nvSpPr>
        <p:spPr>
          <a:xfrm>
            <a:off x="523992" y="168149"/>
            <a:ext cx="11144015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sz="2400"/>
              <a:t>Cambios relevantes Reglamento Comité de Auditoría y Riesgos CENIT</a:t>
            </a:r>
          </a:p>
        </p:txBody>
      </p:sp>
    </p:spTree>
    <p:extLst>
      <p:ext uri="{BB962C8B-B14F-4D97-AF65-F5344CB8AC3E}">
        <p14:creationId xmlns:p14="http://schemas.microsoft.com/office/powerpoint/2010/main" val="8082281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B949D370-FD96-4073-8FBF-7D2C6B5429E3}"/>
              </a:ext>
            </a:extLst>
          </p:cNvPr>
          <p:cNvSpPr txBox="1"/>
          <p:nvPr/>
        </p:nvSpPr>
        <p:spPr>
          <a:xfrm>
            <a:off x="644314" y="100555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224A260-4D01-431A-9C97-58F4C63B844C}"/>
              </a:ext>
            </a:extLst>
          </p:cNvPr>
          <p:cNvSpPr txBox="1"/>
          <p:nvPr/>
        </p:nvSpPr>
        <p:spPr>
          <a:xfrm>
            <a:off x="657172" y="179527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1BC9276-84D1-4D8C-A08E-3C1950622352}"/>
              </a:ext>
            </a:extLst>
          </p:cNvPr>
          <p:cNvSpPr txBox="1"/>
          <p:nvPr/>
        </p:nvSpPr>
        <p:spPr>
          <a:xfrm>
            <a:off x="644314" y="2502489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5B80B9B-A974-49C9-BD64-C7E5DC3FA411}"/>
              </a:ext>
            </a:extLst>
          </p:cNvPr>
          <p:cNvSpPr txBox="1"/>
          <p:nvPr/>
        </p:nvSpPr>
        <p:spPr>
          <a:xfrm>
            <a:off x="644314" y="318161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6484815E-883F-4F26-9F38-1E1545D135B1}"/>
              </a:ext>
            </a:extLst>
          </p:cNvPr>
          <p:cNvSpPr txBox="1"/>
          <p:nvPr/>
        </p:nvSpPr>
        <p:spPr>
          <a:xfrm>
            <a:off x="644314" y="4497926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7860A4C-21A2-48E0-B165-4649723658F8}"/>
              </a:ext>
            </a:extLst>
          </p:cNvPr>
          <p:cNvSpPr txBox="1"/>
          <p:nvPr/>
        </p:nvSpPr>
        <p:spPr>
          <a:xfrm>
            <a:off x="644314" y="5177462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1525450-D68D-447A-A865-2352CB094B9D}"/>
              </a:ext>
            </a:extLst>
          </p:cNvPr>
          <p:cNvSpPr txBox="1"/>
          <p:nvPr/>
        </p:nvSpPr>
        <p:spPr>
          <a:xfrm>
            <a:off x="644314" y="576635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Content Placeholder 18">
            <a:extLst>
              <a:ext uri="{FF2B5EF4-FFF2-40B4-BE49-F238E27FC236}">
                <a16:creationId xmlns:a16="http://schemas.microsoft.com/office/drawing/2014/main" id="{2D37FFEA-FB45-443E-A71F-D88EA49168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9061167"/>
              </p:ext>
            </p:extLst>
          </p:nvPr>
        </p:nvGraphicFramePr>
        <p:xfrm>
          <a:off x="1358081" y="704538"/>
          <a:ext cx="10251539" cy="5475736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251539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97120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misión a otros documentos corporativos para evitar duplicidad de textos que puedan generar diferencias (ej. Objeto social de Cenit, productos y servicios de la sociedad, funciones y convocatoria a reuniones de órganos, etc.)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70764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clusión de declaraciones de mejores prácticas de gobierno corporativo y transparencia a nivel de GEE.</a:t>
                      </a:r>
                      <a:endParaRPr lang="es-CO" sz="17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71205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los reglamentos de Asamblea, Junta y Comité Auditoria y Riesgos como anexos (Alineación Ecopetrol)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126394"/>
                  </a:ext>
                </a:extLst>
              </a:tr>
              <a:tr h="614648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en Presidente y Altos Directivos e inclusión </a:t>
                      </a: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 los comités de Alta Dirección como órganos en Cenit</a:t>
                      </a:r>
                      <a:r>
                        <a:rPr lang="es-CO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  <a:endParaRPr lang="es-CO" sz="1700" b="0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54167"/>
                  </a:ext>
                </a:extLst>
              </a:tr>
              <a:tr h="70764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ctualización de textos de revelación de información financiera y regulación de mecanismos de revelación de información y estándares de manejo de la misma</a:t>
                      </a:r>
                      <a:r>
                        <a:rPr lang="es-CO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80132"/>
                  </a:ext>
                </a:extLst>
              </a:tr>
              <a:tr h="683436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ctualización de los temas de Responsabilidad Social Corporativa, promesa de valor y gestión de grupos de interés. 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683436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y actualización en los órganos externos e internos de control y fortalecimiento de prácticas de buen gobierno frente al revisor fiscal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  <a:tr h="395674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claración de apetito al riesgo y fortalecimiento de textos de conflictos de interés</a:t>
                      </a:r>
                      <a:r>
                        <a:rPr lang="es-CO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423243"/>
                  </a:ext>
                </a:extLst>
              </a:tr>
            </a:tbl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89C4FE79-F166-433C-924B-FADC5DB0B0DF}"/>
              </a:ext>
            </a:extLst>
          </p:cNvPr>
          <p:cNvSpPr txBox="1"/>
          <p:nvPr/>
        </p:nvSpPr>
        <p:spPr>
          <a:xfrm>
            <a:off x="659554" y="385623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ítulo 3">
            <a:extLst>
              <a:ext uri="{FF2B5EF4-FFF2-40B4-BE49-F238E27FC236}">
                <a16:creationId xmlns:a16="http://schemas.microsoft.com/office/drawing/2014/main" id="{3A02962D-5907-45C1-8961-A2C27E9820A2}"/>
              </a:ext>
            </a:extLst>
          </p:cNvPr>
          <p:cNvSpPr txBox="1">
            <a:spLocks/>
          </p:cNvSpPr>
          <p:nvPr/>
        </p:nvSpPr>
        <p:spPr>
          <a:xfrm>
            <a:off x="644314" y="102259"/>
            <a:ext cx="1114401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/>
              <a:t>Cambios relevantes Código de Buen Gobierno</a:t>
            </a:r>
          </a:p>
        </p:txBody>
      </p:sp>
    </p:spTree>
    <p:extLst>
      <p:ext uri="{BB962C8B-B14F-4D97-AF65-F5344CB8AC3E}">
        <p14:creationId xmlns:p14="http://schemas.microsoft.com/office/powerpoint/2010/main" val="42641003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18">
            <a:extLst>
              <a:ext uri="{FF2B5EF4-FFF2-40B4-BE49-F238E27FC236}">
                <a16:creationId xmlns:a16="http://schemas.microsoft.com/office/drawing/2014/main" id="{FC912B18-D631-4203-8148-C29D5E8932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5106640"/>
              </p:ext>
            </p:extLst>
          </p:nvPr>
        </p:nvGraphicFramePr>
        <p:xfrm>
          <a:off x="1537881" y="965666"/>
          <a:ext cx="10008683" cy="2734104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08683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361367">
                <a:tc>
                  <a:txBody>
                    <a:bodyPr/>
                    <a:lstStyle/>
                    <a:p>
                      <a:pPr algn="ctr"/>
                      <a:r>
                        <a:rPr lang="es-CO" sz="2000" b="1" kern="1200" noProof="0">
                          <a:solidFill>
                            <a:srgbClr val="11496E"/>
                          </a:solidFill>
                          <a:latin typeface="Arial"/>
                          <a:ea typeface="+mn-ea"/>
                          <a:cs typeface="+mn-cs"/>
                        </a:rPr>
                        <a:t>Reglamento de Junta Directiv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A41">
                        <a:alpha val="4627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209815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uevo comité de alta dirección de Gobierno Corporativo como instancia de análisis previo de temas viarios de Gobierno Corporativo.</a:t>
                      </a:r>
                      <a:endParaRPr lang="es-CO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unciones del presidente de la Junta y el Secretario, de acuerdo con las mejores prácticas de Gobierno Corporativo.</a:t>
                      </a:r>
                      <a:endParaRPr lang="es-CO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ocedimiento previo a las reuniones de la Junta, agenda típica, cronograma y autoevaluación anual, capacitaciones e inducción como derecho de los directores para ejercer su rol.</a:t>
                      </a:r>
                      <a:endParaRPr lang="es-CO" sz="18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417624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ormato en el nuevo definido en el marco del Proyecto de Gobierno Corporativo.</a:t>
                      </a:r>
                      <a:endParaRPr lang="es-CO" sz="18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</a:tbl>
          </a:graphicData>
        </a:graphic>
      </p:graphicFrame>
      <p:graphicFrame>
        <p:nvGraphicFramePr>
          <p:cNvPr id="16" name="Content Placeholder 18">
            <a:extLst>
              <a:ext uri="{FF2B5EF4-FFF2-40B4-BE49-F238E27FC236}">
                <a16:creationId xmlns:a16="http://schemas.microsoft.com/office/drawing/2014/main" id="{5D4BBD0F-5069-4E96-9460-B89DFC747D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8228699"/>
              </p:ext>
            </p:extLst>
          </p:nvPr>
        </p:nvGraphicFramePr>
        <p:xfrm>
          <a:off x="1537881" y="4165412"/>
          <a:ext cx="10008683" cy="1656296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08683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316854">
                <a:tc>
                  <a:txBody>
                    <a:bodyPr/>
                    <a:lstStyle/>
                    <a:p>
                      <a:pPr algn="ctr"/>
                      <a:r>
                        <a:rPr lang="es-CO" sz="2000" b="1" kern="1200" noProof="0">
                          <a:solidFill>
                            <a:srgbClr val="11496E"/>
                          </a:solidFill>
                          <a:latin typeface="Arial"/>
                          <a:ea typeface="+mn-ea"/>
                          <a:cs typeface="+mn-cs"/>
                        </a:rPr>
                        <a:t>Reglamento de Asamblea General de Accionista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A41">
                        <a:alpha val="5333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209815"/>
                  </a:ext>
                </a:extLst>
              </a:tr>
              <a:tr h="367755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liminación de textos repetidos en estatutos para evitar duplicidad y posibles contradicciones.</a:t>
                      </a:r>
                      <a:endParaRPr lang="es-CO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504825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sobre la unidad de representación y de voto.</a:t>
                      </a:r>
                      <a:endParaRPr lang="es-CO" sz="18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387476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ormato en el nuevo definido en el marco del Proyecto de Gobierno Corporativo.</a:t>
                      </a:r>
                      <a:endParaRPr lang="es-CO" sz="18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</a:tbl>
          </a:graphicData>
        </a:graphic>
      </p:graphicFrame>
      <p:sp>
        <p:nvSpPr>
          <p:cNvPr id="18" name="CuadroTexto 17">
            <a:extLst>
              <a:ext uri="{FF2B5EF4-FFF2-40B4-BE49-F238E27FC236}">
                <a16:creationId xmlns:a16="http://schemas.microsoft.com/office/drawing/2014/main" id="{83B7C534-529F-4519-88B8-45BE1CCCDBE0}"/>
              </a:ext>
            </a:extLst>
          </p:cNvPr>
          <p:cNvSpPr txBox="1"/>
          <p:nvPr/>
        </p:nvSpPr>
        <p:spPr>
          <a:xfrm>
            <a:off x="845294" y="447507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403480A8-492D-4F93-8D46-94905F0CDFD8}"/>
              </a:ext>
            </a:extLst>
          </p:cNvPr>
          <p:cNvSpPr txBox="1"/>
          <p:nvPr/>
        </p:nvSpPr>
        <p:spPr>
          <a:xfrm>
            <a:off x="845294" y="497314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4D19C3B8-1FE2-4573-8FCE-E505886A5191}"/>
              </a:ext>
            </a:extLst>
          </p:cNvPr>
          <p:cNvSpPr txBox="1"/>
          <p:nvPr/>
        </p:nvSpPr>
        <p:spPr>
          <a:xfrm>
            <a:off x="845294" y="5447144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6C197A61-16CE-45A1-A4EC-A2D9EBC522A6}"/>
              </a:ext>
            </a:extLst>
          </p:cNvPr>
          <p:cNvSpPr txBox="1"/>
          <p:nvPr/>
        </p:nvSpPr>
        <p:spPr>
          <a:xfrm>
            <a:off x="845294" y="146234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F6A39EDD-4AB2-4CDE-9781-439D59B8706D}"/>
              </a:ext>
            </a:extLst>
          </p:cNvPr>
          <p:cNvSpPr txBox="1"/>
          <p:nvPr/>
        </p:nvSpPr>
        <p:spPr>
          <a:xfrm>
            <a:off x="845294" y="210074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1B95667F-06E7-4C43-95A7-8F31DCEDA1B7}"/>
              </a:ext>
            </a:extLst>
          </p:cNvPr>
          <p:cNvSpPr txBox="1"/>
          <p:nvPr/>
        </p:nvSpPr>
        <p:spPr>
          <a:xfrm>
            <a:off x="845294" y="270540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73499DFB-4B17-4744-B739-07C38AA846BF}"/>
              </a:ext>
            </a:extLst>
          </p:cNvPr>
          <p:cNvSpPr txBox="1"/>
          <p:nvPr/>
        </p:nvSpPr>
        <p:spPr>
          <a:xfrm>
            <a:off x="845294" y="324068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ítulo 3">
            <a:extLst>
              <a:ext uri="{FF2B5EF4-FFF2-40B4-BE49-F238E27FC236}">
                <a16:creationId xmlns:a16="http://schemas.microsoft.com/office/drawing/2014/main" id="{DA3E0F87-051D-4FAB-97B2-AA77D5BD2AB7}"/>
              </a:ext>
            </a:extLst>
          </p:cNvPr>
          <p:cNvSpPr txBox="1">
            <a:spLocks/>
          </p:cNvSpPr>
          <p:nvPr/>
        </p:nvSpPr>
        <p:spPr>
          <a:xfrm>
            <a:off x="231407" y="204160"/>
            <a:ext cx="1191562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/>
              <a:t>Cambios relevantes en Reglamentos Asamblea y Junta Directiva</a:t>
            </a:r>
          </a:p>
        </p:txBody>
      </p:sp>
    </p:spTree>
    <p:extLst>
      <p:ext uri="{BB962C8B-B14F-4D97-AF65-F5344CB8AC3E}">
        <p14:creationId xmlns:p14="http://schemas.microsoft.com/office/powerpoint/2010/main" val="41214155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83">
            <a:extLst>
              <a:ext uri="{FF2B5EF4-FFF2-40B4-BE49-F238E27FC236}">
                <a16:creationId xmlns:a16="http://schemas.microsoft.com/office/drawing/2014/main" id="{D52FD195-FC31-4E4A-8A9E-6AFFFC3CEFE1}"/>
              </a:ext>
            </a:extLst>
          </p:cNvPr>
          <p:cNvSpPr txBox="1"/>
          <p:nvPr/>
        </p:nvSpPr>
        <p:spPr>
          <a:xfrm>
            <a:off x="3705739" y="888278"/>
            <a:ext cx="7467437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ía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la Gestión de Comités y RAR* en CENIT (definición, gestión, formatos de reglamentación y eliminación/fusión).</a:t>
            </a:r>
          </a:p>
        </p:txBody>
      </p:sp>
      <p:sp>
        <p:nvSpPr>
          <p:cNvPr id="3" name="CuadroTexto 107">
            <a:extLst>
              <a:ext uri="{FF2B5EF4-FFF2-40B4-BE49-F238E27FC236}">
                <a16:creationId xmlns:a16="http://schemas.microsoft.com/office/drawing/2014/main" id="{AD2B7309-9475-DE43-B959-B4062BC69997}"/>
              </a:ext>
            </a:extLst>
          </p:cNvPr>
          <p:cNvSpPr txBox="1"/>
          <p:nvPr/>
        </p:nvSpPr>
        <p:spPr>
          <a:xfrm>
            <a:off x="3699081" y="1611289"/>
            <a:ext cx="7474095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ntario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Comités y RAR con su </a:t>
            </a:r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ación 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ación 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tiempo de la Alta Dirección.</a:t>
            </a:r>
            <a:endParaRPr lang="es-CO" sz="1700" b="1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 descr="A close up of a sign&#10;&#10;Description automatically generated">
            <a:extLst>
              <a:ext uri="{FF2B5EF4-FFF2-40B4-BE49-F238E27FC236}">
                <a16:creationId xmlns:a16="http://schemas.microsoft.com/office/drawing/2014/main" id="{3E7C3733-DE7C-3A4C-8534-D6859C8C1E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89" y="506797"/>
            <a:ext cx="2562373" cy="2554814"/>
          </a:xfrm>
          <a:prstGeom prst="rect">
            <a:avLst/>
          </a:prstGeom>
        </p:spPr>
      </p:pic>
      <p:sp>
        <p:nvSpPr>
          <p:cNvPr id="24" name="CuadroTexto 47">
            <a:extLst>
              <a:ext uri="{FF2B5EF4-FFF2-40B4-BE49-F238E27FC236}">
                <a16:creationId xmlns:a16="http://schemas.microsoft.com/office/drawing/2014/main" id="{12C6E26F-1E97-A540-AE0D-1C4573D5FAF5}"/>
              </a:ext>
            </a:extLst>
          </p:cNvPr>
          <p:cNvSpPr txBox="1"/>
          <p:nvPr/>
        </p:nvSpPr>
        <p:spPr>
          <a:xfrm>
            <a:off x="3278004" y="176405"/>
            <a:ext cx="421762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AR*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C94E72A8-C38B-469E-B3D9-53D0D01A0536}"/>
              </a:ext>
            </a:extLst>
          </p:cNvPr>
          <p:cNvSpPr/>
          <p:nvPr/>
        </p:nvSpPr>
        <p:spPr>
          <a:xfrm>
            <a:off x="747493" y="3518297"/>
            <a:ext cx="1284398" cy="2581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3614627F-5836-4EDD-9D2A-35841B0DCBCD}"/>
              </a:ext>
            </a:extLst>
          </p:cNvPr>
          <p:cNvSpPr/>
          <p:nvPr/>
        </p:nvSpPr>
        <p:spPr>
          <a:xfrm>
            <a:off x="2064089" y="3518297"/>
            <a:ext cx="1284398" cy="2581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52DE03C0-966C-406B-B412-A4093B63BD34}"/>
              </a:ext>
            </a:extLst>
          </p:cNvPr>
          <p:cNvCxnSpPr/>
          <p:nvPr/>
        </p:nvCxnSpPr>
        <p:spPr>
          <a:xfrm>
            <a:off x="2045348" y="3759634"/>
            <a:ext cx="0" cy="2581108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C19DCFED-F16B-4B2F-81B3-6483DD1F9366}"/>
              </a:ext>
            </a:extLst>
          </p:cNvPr>
          <p:cNvCxnSpPr>
            <a:cxnSpLocks/>
          </p:cNvCxnSpPr>
          <p:nvPr/>
        </p:nvCxnSpPr>
        <p:spPr>
          <a:xfrm flipH="1">
            <a:off x="760950" y="4220194"/>
            <a:ext cx="2569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908EA48-9D71-41B9-8619-E53BF962401E}"/>
              </a:ext>
            </a:extLst>
          </p:cNvPr>
          <p:cNvSpPr txBox="1"/>
          <p:nvPr/>
        </p:nvSpPr>
        <p:spPr>
          <a:xfrm>
            <a:off x="834018" y="4146974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és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A6FCCC0-0489-494F-B3BD-D11327D8EF04}"/>
              </a:ext>
            </a:extLst>
          </p:cNvPr>
          <p:cNvSpPr txBox="1"/>
          <p:nvPr/>
        </p:nvSpPr>
        <p:spPr>
          <a:xfrm>
            <a:off x="834018" y="5037991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R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2CE3ED3A-DE01-4E16-A5DF-2140E74ACF8E}"/>
              </a:ext>
            </a:extLst>
          </p:cNvPr>
          <p:cNvSpPr txBox="1"/>
          <p:nvPr/>
        </p:nvSpPr>
        <p:spPr>
          <a:xfrm>
            <a:off x="2109330" y="5091897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R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11DE0C5E-DF7A-4FFF-8D04-1A849954E4E4}"/>
              </a:ext>
            </a:extLst>
          </p:cNvPr>
          <p:cNvSpPr txBox="1"/>
          <p:nvPr/>
        </p:nvSpPr>
        <p:spPr>
          <a:xfrm>
            <a:off x="2166656" y="4218400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és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87107B41-3A93-4392-9C16-CA0B6493B319}"/>
              </a:ext>
            </a:extLst>
          </p:cNvPr>
          <p:cNvSpPr txBox="1"/>
          <p:nvPr/>
        </p:nvSpPr>
        <p:spPr>
          <a:xfrm>
            <a:off x="807727" y="3611360"/>
            <a:ext cx="1111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s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4A3BCF6B-6434-4000-8A8B-288B2674D42C}"/>
              </a:ext>
            </a:extLst>
          </p:cNvPr>
          <p:cNvSpPr txBox="1"/>
          <p:nvPr/>
        </p:nvSpPr>
        <p:spPr>
          <a:xfrm>
            <a:off x="2166656" y="3562434"/>
            <a:ext cx="1111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y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uadroTexto 44">
            <a:extLst>
              <a:ext uri="{FF2B5EF4-FFF2-40B4-BE49-F238E27FC236}">
                <a16:creationId xmlns:a16="http://schemas.microsoft.com/office/drawing/2014/main" id="{A217AF25-B5D9-4E79-A590-03BC149292DB}"/>
              </a:ext>
            </a:extLst>
          </p:cNvPr>
          <p:cNvSpPr txBox="1"/>
          <p:nvPr/>
        </p:nvSpPr>
        <p:spPr>
          <a:xfrm>
            <a:off x="7277126" y="48609"/>
            <a:ext cx="1593044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4000"/>
              <a:t>100%</a:t>
            </a:r>
            <a:endParaRPr lang="es-CO" sz="400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9018B24E-9E13-40A8-BF16-9F308CDE2D5C}"/>
              </a:ext>
            </a:extLst>
          </p:cNvPr>
          <p:cNvSpPr txBox="1"/>
          <p:nvPr/>
        </p:nvSpPr>
        <p:spPr>
          <a:xfrm>
            <a:off x="183827" y="6288039"/>
            <a:ext cx="794084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100" b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Reuniones de Alineación y Relacionamien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1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e pueden crear, modificar, eliminar, Comités / RAR (incluyendo reglamentos y reglas y principios) sin validación previa de la SEG Cenit</a:t>
            </a:r>
            <a:r>
              <a:rPr lang="es-CO" sz="1100" b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CO" sz="1100" b="0"/>
          </a:p>
        </p:txBody>
      </p:sp>
      <p:sp>
        <p:nvSpPr>
          <p:cNvPr id="6" name="Oval 98">
            <a:extLst>
              <a:ext uri="{FF2B5EF4-FFF2-40B4-BE49-F238E27FC236}">
                <a16:creationId xmlns:a16="http://schemas.microsoft.com/office/drawing/2014/main" id="{6A18C77A-DE43-47DD-A220-C9425E31C189}"/>
              </a:ext>
            </a:extLst>
          </p:cNvPr>
          <p:cNvSpPr/>
          <p:nvPr/>
        </p:nvSpPr>
        <p:spPr>
          <a:xfrm>
            <a:off x="1115270" y="1930677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1047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60455EE7-79C3-4714-AC41-B22D40CDE7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7520" y="2294951"/>
            <a:ext cx="6596214" cy="372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3387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47">
            <a:extLst>
              <a:ext uri="{FF2B5EF4-FFF2-40B4-BE49-F238E27FC236}">
                <a16:creationId xmlns:a16="http://schemas.microsoft.com/office/drawing/2014/main" id="{F68A17DE-3ACC-4C72-8ED3-CE0F518FDBA1}"/>
              </a:ext>
            </a:extLst>
          </p:cNvPr>
          <p:cNvSpPr txBox="1"/>
          <p:nvPr/>
        </p:nvSpPr>
        <p:spPr>
          <a:xfrm>
            <a:off x="663696" y="117066"/>
            <a:ext cx="10986052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euniones Vicepresidencia HSE y Sostenibilidad</a:t>
            </a:r>
            <a:endParaRPr lang="es-CO" sz="28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96370D2B-2C99-47FB-977A-1BACABA0448E}"/>
              </a:ext>
            </a:extLst>
          </p:cNvPr>
          <p:cNvCxnSpPr>
            <a:cxnSpLocks/>
          </p:cNvCxnSpPr>
          <p:nvPr/>
        </p:nvCxnSpPr>
        <p:spPr>
          <a:xfrm>
            <a:off x="6096000" y="2893840"/>
            <a:ext cx="0" cy="307450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n 15">
            <a:extLst>
              <a:ext uri="{FF2B5EF4-FFF2-40B4-BE49-F238E27FC236}">
                <a16:creationId xmlns:a16="http://schemas.microsoft.com/office/drawing/2014/main" id="{0F43BEF8-56CE-4D0A-A3BC-3AD0FCE19B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9664" y="986188"/>
            <a:ext cx="3268082" cy="1878354"/>
          </a:xfrm>
          <a:prstGeom prst="rect">
            <a:avLst/>
          </a:prstGeom>
        </p:spPr>
      </p:pic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57EE03D-AD0E-42FF-8004-ACF44D511717}"/>
              </a:ext>
            </a:extLst>
          </p:cNvPr>
          <p:cNvCxnSpPr>
            <a:cxnSpLocks/>
          </p:cNvCxnSpPr>
          <p:nvPr/>
        </p:nvCxnSpPr>
        <p:spPr>
          <a:xfrm>
            <a:off x="215142" y="2893840"/>
            <a:ext cx="1153953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n 20">
            <a:extLst>
              <a:ext uri="{FF2B5EF4-FFF2-40B4-BE49-F238E27FC236}">
                <a16:creationId xmlns:a16="http://schemas.microsoft.com/office/drawing/2014/main" id="{926A4ABC-B403-41BD-B93A-8D5B4A44D5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446" y="883114"/>
            <a:ext cx="6583218" cy="2010725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4A14B48A-E094-4C8C-9B45-C83DEED522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8156" y="3079953"/>
            <a:ext cx="5619148" cy="2864953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928EE92B-BAE1-4046-A9B9-F982719A04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0132" y="3034983"/>
            <a:ext cx="5744968" cy="3074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8004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0523A10E-DA35-40CF-BD7D-D67009251DA3}"/>
              </a:ext>
            </a:extLst>
          </p:cNvPr>
          <p:cNvSpPr txBox="1"/>
          <p:nvPr/>
        </p:nvSpPr>
        <p:spPr>
          <a:xfrm>
            <a:off x="740388" y="1885163"/>
            <a:ext cx="9074331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acer poderoso o fuerte a un individuo o grupo social desfavorecido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r a alguien autoridad, influencia o conocimiento para hacer algo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oderar. </a:t>
            </a:r>
            <a:endParaRPr kumimoji="0" lang="es-CO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36AA02F-527A-4729-8461-D9C60A98D1F7}"/>
              </a:ext>
            </a:extLst>
          </p:cNvPr>
          <p:cNvSpPr/>
          <p:nvPr/>
        </p:nvSpPr>
        <p:spPr>
          <a:xfrm>
            <a:off x="1377287" y="520466"/>
            <a:ext cx="7426779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4800" b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¿Qué es Empoderar?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22A65F2-7F05-45B7-8DAC-751C8D0F53EE}"/>
              </a:ext>
            </a:extLst>
          </p:cNvPr>
          <p:cNvSpPr txBox="1"/>
          <p:nvPr/>
        </p:nvSpPr>
        <p:spPr>
          <a:xfrm>
            <a:off x="740388" y="1672422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AE</a:t>
            </a: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- De </a:t>
            </a:r>
            <a:r>
              <a:rPr kumimoji="0" lang="es-CO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- y </a:t>
            </a:r>
            <a:r>
              <a:rPr kumimoji="0" lang="es-CO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der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E87E39F6-2317-4B3A-9BE0-9F7E59A8873F}"/>
              </a:ext>
            </a:extLst>
          </p:cNvPr>
          <p:cNvSpPr txBox="1"/>
          <p:nvPr/>
        </p:nvSpPr>
        <p:spPr>
          <a:xfrm>
            <a:off x="670720" y="3300654"/>
            <a:ext cx="10502378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“(…) La investigación muestra que el empoderamiento de los empleados no solo conduce a una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yor satisfacción en el trabajo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sino a un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jor desempeño laboral 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y un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yor compromiso con la organización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n estudio reciente detallado en Harvard Business </a:t>
            </a:r>
            <a:r>
              <a:rPr kumimoji="0" lang="es-ES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ncontró que los líderes que empoderan a sus empleados tienen más probabilidades de tener miembros del equipo que son percibidos por sus pares como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tamente creativos y útiles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” Harvard Business </a:t>
            </a:r>
            <a:r>
              <a:rPr kumimoji="0" lang="es-ES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26DAA7BC-3D84-4539-9DE0-6959987913C7}"/>
              </a:ext>
            </a:extLst>
          </p:cNvPr>
          <p:cNvSpPr txBox="1"/>
          <p:nvPr/>
        </p:nvSpPr>
        <p:spPr>
          <a:xfrm>
            <a:off x="2203269" y="5698733"/>
            <a:ext cx="76114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0" b="1" i="0" u="none" strike="noStrike" kern="1200" cap="none" spc="0" normalizeH="0" baseline="0" noProof="0">
                <a:ln w="0"/>
                <a:solidFill>
                  <a:srgbClr val="3494BA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</a:rPr>
              <a:t>CONFIANZA</a:t>
            </a:r>
            <a:endParaRPr kumimoji="0" lang="es-CO" sz="6000" b="1" i="0" u="none" strike="noStrike" kern="1200" cap="none" spc="0" normalizeH="0" baseline="0" noProof="0">
              <a:ln w="0"/>
              <a:solidFill>
                <a:srgbClr val="3494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5" name="Imagen 4" descr="Icono&#10;&#10;Descripción generada automáticamente">
            <a:extLst>
              <a:ext uri="{FF2B5EF4-FFF2-40B4-BE49-F238E27FC236}">
                <a16:creationId xmlns:a16="http://schemas.microsoft.com/office/drawing/2014/main" id="{933561B2-ABFE-48FC-8FCA-595FA8EBDF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3054" y="587735"/>
            <a:ext cx="1818558" cy="1818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8575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ángulo 75">
            <a:extLst>
              <a:ext uri="{FF2B5EF4-FFF2-40B4-BE49-F238E27FC236}">
                <a16:creationId xmlns:a16="http://schemas.microsoft.com/office/drawing/2014/main" id="{EEF9D3BD-0FCD-4E3B-A30D-451C7AAF6633}"/>
              </a:ext>
            </a:extLst>
          </p:cNvPr>
          <p:cNvSpPr/>
          <p:nvPr/>
        </p:nvSpPr>
        <p:spPr>
          <a:xfrm>
            <a:off x="273409" y="5078389"/>
            <a:ext cx="3604591" cy="1015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/>
          </a:p>
        </p:txBody>
      </p:sp>
      <p:sp>
        <p:nvSpPr>
          <p:cNvPr id="77" name="Rectángulo: esquinas redondeadas 76">
            <a:extLst>
              <a:ext uri="{FF2B5EF4-FFF2-40B4-BE49-F238E27FC236}">
                <a16:creationId xmlns:a16="http://schemas.microsoft.com/office/drawing/2014/main" id="{44DAAF07-704B-4AD2-9029-4FE6270429E3}"/>
              </a:ext>
            </a:extLst>
          </p:cNvPr>
          <p:cNvSpPr/>
          <p:nvPr/>
        </p:nvSpPr>
        <p:spPr>
          <a:xfrm>
            <a:off x="866279" y="713340"/>
            <a:ext cx="3114261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ACTIVIDAD</a:t>
            </a:r>
          </a:p>
        </p:txBody>
      </p:sp>
      <p:sp>
        <p:nvSpPr>
          <p:cNvPr id="80" name="Rectángulo: esquinas redondeadas 79">
            <a:extLst>
              <a:ext uri="{FF2B5EF4-FFF2-40B4-BE49-F238E27FC236}">
                <a16:creationId xmlns:a16="http://schemas.microsoft.com/office/drawing/2014/main" id="{E4642C6D-F1C3-451F-AEC6-3440A3FD291D}"/>
              </a:ext>
            </a:extLst>
          </p:cNvPr>
          <p:cNvSpPr/>
          <p:nvPr/>
        </p:nvSpPr>
        <p:spPr>
          <a:xfrm>
            <a:off x="4233556" y="713340"/>
            <a:ext cx="1775792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DURACIÓN</a:t>
            </a:r>
          </a:p>
        </p:txBody>
      </p:sp>
      <p:sp>
        <p:nvSpPr>
          <p:cNvPr id="81" name="Rectángulo: esquinas redondeadas 80">
            <a:extLst>
              <a:ext uri="{FF2B5EF4-FFF2-40B4-BE49-F238E27FC236}">
                <a16:creationId xmlns:a16="http://schemas.microsoft.com/office/drawing/2014/main" id="{646D5B8E-AC08-4AA5-823A-4F62C3888F63}"/>
              </a:ext>
            </a:extLst>
          </p:cNvPr>
          <p:cNvSpPr/>
          <p:nvPr/>
        </p:nvSpPr>
        <p:spPr>
          <a:xfrm>
            <a:off x="6262364" y="713339"/>
            <a:ext cx="2992542" cy="291533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DESCRIPCIÓN</a:t>
            </a:r>
          </a:p>
        </p:txBody>
      </p:sp>
      <p:sp>
        <p:nvSpPr>
          <p:cNvPr id="82" name="Rectángulo: esquinas redondeadas 81">
            <a:extLst>
              <a:ext uri="{FF2B5EF4-FFF2-40B4-BE49-F238E27FC236}">
                <a16:creationId xmlns:a16="http://schemas.microsoft.com/office/drawing/2014/main" id="{8E48A216-4859-4526-9CC2-DFF2DC55EDD5}"/>
              </a:ext>
            </a:extLst>
          </p:cNvPr>
          <p:cNvSpPr/>
          <p:nvPr/>
        </p:nvSpPr>
        <p:spPr>
          <a:xfrm>
            <a:off x="9488044" y="713340"/>
            <a:ext cx="1775792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PRODUCTO</a:t>
            </a:r>
          </a:p>
        </p:txBody>
      </p:sp>
      <p:grpSp>
        <p:nvGrpSpPr>
          <p:cNvPr id="87" name="Grupo 86">
            <a:extLst>
              <a:ext uri="{FF2B5EF4-FFF2-40B4-BE49-F238E27FC236}">
                <a16:creationId xmlns:a16="http://schemas.microsoft.com/office/drawing/2014/main" id="{2048A83A-AA05-4B15-BF12-590132B0B976}"/>
              </a:ext>
            </a:extLst>
          </p:cNvPr>
          <p:cNvGrpSpPr/>
          <p:nvPr/>
        </p:nvGrpSpPr>
        <p:grpSpPr>
          <a:xfrm>
            <a:off x="430680" y="1083111"/>
            <a:ext cx="10863136" cy="650287"/>
            <a:chOff x="157271" y="1457866"/>
            <a:chExt cx="10863136" cy="650287"/>
          </a:xfrm>
        </p:grpSpPr>
        <p:sp>
          <p:nvSpPr>
            <p:cNvPr id="108" name="CuadroTexto 107">
              <a:extLst>
                <a:ext uri="{FF2B5EF4-FFF2-40B4-BE49-F238E27FC236}">
                  <a16:creationId xmlns:a16="http://schemas.microsoft.com/office/drawing/2014/main" id="{0DFAE232-C03A-4447-AF4F-2FEEE826CF8A}"/>
                </a:ext>
              </a:extLst>
            </p:cNvPr>
            <p:cNvSpPr txBox="1"/>
            <p:nvPr/>
          </p:nvSpPr>
          <p:spPr>
            <a:xfrm>
              <a:off x="622850" y="1642532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Introducción Gobierno Corporativo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9" name="Conector recto 108">
              <a:extLst>
                <a:ext uri="{FF2B5EF4-FFF2-40B4-BE49-F238E27FC236}">
                  <a16:creationId xmlns:a16="http://schemas.microsoft.com/office/drawing/2014/main" id="{7434769E-8F5B-4CDA-AFEA-2FA908180F28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2108153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cto 109">
              <a:extLst>
                <a:ext uri="{FF2B5EF4-FFF2-40B4-BE49-F238E27FC236}">
                  <a16:creationId xmlns:a16="http://schemas.microsoft.com/office/drawing/2014/main" id="{C0926ED7-6C71-4132-9062-E0B720E03046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2102209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CuadroTexto 110">
              <a:extLst>
                <a:ext uri="{FF2B5EF4-FFF2-40B4-BE49-F238E27FC236}">
                  <a16:creationId xmlns:a16="http://schemas.microsoft.com/office/drawing/2014/main" id="{238FD54F-35A5-4122-9015-D197608097DD}"/>
                </a:ext>
              </a:extLst>
            </p:cNvPr>
            <p:cNvSpPr txBox="1"/>
            <p:nvPr/>
          </p:nvSpPr>
          <p:spPr>
            <a:xfrm>
              <a:off x="6018936" y="1457866"/>
              <a:ext cx="299254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xplicación qué es Gobierno Corporativo, objetivos, beneficios y avances del proyecto </a:t>
              </a:r>
            </a:p>
          </p:txBody>
        </p:sp>
        <p:sp>
          <p:nvSpPr>
            <p:cNvPr id="112" name="CuadroTexto 111">
              <a:extLst>
                <a:ext uri="{FF2B5EF4-FFF2-40B4-BE49-F238E27FC236}">
                  <a16:creationId xmlns:a16="http://schemas.microsoft.com/office/drawing/2014/main" id="{0DC8B8DA-3D9B-4936-81F1-CE85FFE781C2}"/>
                </a:ext>
              </a:extLst>
            </p:cNvPr>
            <p:cNvSpPr txBox="1"/>
            <p:nvPr/>
          </p:nvSpPr>
          <p:spPr>
            <a:xfrm>
              <a:off x="9264494" y="1550199"/>
              <a:ext cx="17559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Video</a:t>
              </a:r>
            </a:p>
            <a:p>
              <a:r>
                <a:rPr lang="es-CO" sz="1200"/>
                <a:t>Presentación</a:t>
              </a:r>
            </a:p>
          </p:txBody>
        </p:sp>
        <p:cxnSp>
          <p:nvCxnSpPr>
            <p:cNvPr id="113" name="Conector recto 112">
              <a:extLst>
                <a:ext uri="{FF2B5EF4-FFF2-40B4-BE49-F238E27FC236}">
                  <a16:creationId xmlns:a16="http://schemas.microsoft.com/office/drawing/2014/main" id="{59088CD4-BBE7-483B-9FF9-1D62F9236779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2078411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cto 113">
              <a:extLst>
                <a:ext uri="{FF2B5EF4-FFF2-40B4-BE49-F238E27FC236}">
                  <a16:creationId xmlns:a16="http://schemas.microsoft.com/office/drawing/2014/main" id="{945F525E-96D6-4C2C-A528-6A902709A377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210603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CuadroTexto 114">
              <a:extLst>
                <a:ext uri="{FF2B5EF4-FFF2-40B4-BE49-F238E27FC236}">
                  <a16:creationId xmlns:a16="http://schemas.microsoft.com/office/drawing/2014/main" id="{DB35C4D3-61DC-4194-A530-0CD186587533}"/>
                </a:ext>
              </a:extLst>
            </p:cNvPr>
            <p:cNvSpPr txBox="1"/>
            <p:nvPr/>
          </p:nvSpPr>
          <p:spPr>
            <a:xfrm>
              <a:off x="3990127" y="1642532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6" name="Picture 2" descr="Cognitivo - Iconos gratis de personas">
              <a:extLst>
                <a:ext uri="{FF2B5EF4-FFF2-40B4-BE49-F238E27FC236}">
                  <a16:creationId xmlns:a16="http://schemas.microsoft.com/office/drawing/2014/main" id="{5BC46F26-8961-4F34-9760-8943760907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1617458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7" name="Grupo 116">
            <a:extLst>
              <a:ext uri="{FF2B5EF4-FFF2-40B4-BE49-F238E27FC236}">
                <a16:creationId xmlns:a16="http://schemas.microsoft.com/office/drawing/2014/main" id="{6B2613F8-F744-454D-91E2-AEE6A9F29C43}"/>
              </a:ext>
            </a:extLst>
          </p:cNvPr>
          <p:cNvGrpSpPr/>
          <p:nvPr/>
        </p:nvGrpSpPr>
        <p:grpSpPr>
          <a:xfrm>
            <a:off x="470908" y="4047786"/>
            <a:ext cx="10620200" cy="742092"/>
            <a:chOff x="197499" y="4125873"/>
            <a:chExt cx="10620200" cy="742092"/>
          </a:xfrm>
        </p:grpSpPr>
        <p:sp>
          <p:nvSpPr>
            <p:cNvPr id="118" name="CuadroTexto 117">
              <a:extLst>
                <a:ext uri="{FF2B5EF4-FFF2-40B4-BE49-F238E27FC236}">
                  <a16:creationId xmlns:a16="http://schemas.microsoft.com/office/drawing/2014/main" id="{005BD08C-0EE8-4633-8B97-08CC29CE51B8}"/>
                </a:ext>
              </a:extLst>
            </p:cNvPr>
            <p:cNvSpPr txBox="1"/>
            <p:nvPr/>
          </p:nvSpPr>
          <p:spPr>
            <a:xfrm>
              <a:off x="622850" y="4218206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2: Charla “Empodérate” - MAD</a:t>
              </a:r>
            </a:p>
          </p:txBody>
        </p:sp>
        <p:sp>
          <p:nvSpPr>
            <p:cNvPr id="119" name="CuadroTexto 118">
              <a:extLst>
                <a:ext uri="{FF2B5EF4-FFF2-40B4-BE49-F238E27FC236}">
                  <a16:creationId xmlns:a16="http://schemas.microsoft.com/office/drawing/2014/main" id="{E3BEB78D-E8E1-481E-8CEB-EEC808402A59}"/>
                </a:ext>
              </a:extLst>
            </p:cNvPr>
            <p:cNvSpPr txBox="1"/>
            <p:nvPr/>
          </p:nvSpPr>
          <p:spPr>
            <a:xfrm>
              <a:off x="6018935" y="4125873"/>
              <a:ext cx="31142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Charla riesgos de no tomar decisione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Actividad lúdica: revisión del MAD y proponer las actividades más relevantes</a:t>
              </a:r>
              <a:endParaRPr lang="es-CO" sz="1200" strike="sngStrik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CuadroTexto 119">
              <a:extLst>
                <a:ext uri="{FF2B5EF4-FFF2-40B4-BE49-F238E27FC236}">
                  <a16:creationId xmlns:a16="http://schemas.microsoft.com/office/drawing/2014/main" id="{D1B62530-57CE-4A21-A7E2-B81C22F47BB8}"/>
                </a:ext>
              </a:extLst>
            </p:cNvPr>
            <p:cNvSpPr txBox="1"/>
            <p:nvPr/>
          </p:nvSpPr>
          <p:spPr>
            <a:xfrm>
              <a:off x="3990127" y="4310539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i="1" dirty="0">
                  <a:latin typeface="Arial" panose="020B0604020202020204" pitchFamily="34" charset="0"/>
                  <a:cs typeface="Arial" panose="020B0604020202020204" pitchFamily="34" charset="0"/>
                </a:rPr>
                <a:t>18 m</a:t>
              </a:r>
              <a:endParaRPr lang="es-CO" sz="1200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CuadroTexto 120">
              <a:extLst>
                <a:ext uri="{FF2B5EF4-FFF2-40B4-BE49-F238E27FC236}">
                  <a16:creationId xmlns:a16="http://schemas.microsoft.com/office/drawing/2014/main" id="{878445E7-B1EA-49B9-9A06-600E42D9C00D}"/>
                </a:ext>
              </a:extLst>
            </p:cNvPr>
            <p:cNvSpPr txBox="1"/>
            <p:nvPr/>
          </p:nvSpPr>
          <p:spPr>
            <a:xfrm>
              <a:off x="9264494" y="4218206"/>
              <a:ext cx="155320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/>
                <a:t>Charl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 err="1"/>
                <a:t>Mentimeter</a:t>
              </a:r>
              <a:endParaRPr lang="es-CO" sz="1200"/>
            </a:p>
          </p:txBody>
        </p:sp>
        <p:pic>
          <p:nvPicPr>
            <p:cNvPr id="122" name="Picture 6" descr="Apoyanos">
              <a:extLst>
                <a:ext uri="{FF2B5EF4-FFF2-40B4-BE49-F238E27FC236}">
                  <a16:creationId xmlns:a16="http://schemas.microsoft.com/office/drawing/2014/main" id="{735FD6AB-4D9E-48C4-A2A4-4CB2A12619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4325693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23" name="Conector recto 122">
              <a:extLst>
                <a:ext uri="{FF2B5EF4-FFF2-40B4-BE49-F238E27FC236}">
                  <a16:creationId xmlns:a16="http://schemas.microsoft.com/office/drawing/2014/main" id="{C7FAFEC2-6E97-4F6F-BA24-F080C2F52D9B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4867965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ector recto 123">
              <a:extLst>
                <a:ext uri="{FF2B5EF4-FFF2-40B4-BE49-F238E27FC236}">
                  <a16:creationId xmlns:a16="http://schemas.microsoft.com/office/drawing/2014/main" id="{052C1626-B7E9-4CBB-B41B-19F1C52B2489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4862021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ector recto 124">
              <a:extLst>
                <a:ext uri="{FF2B5EF4-FFF2-40B4-BE49-F238E27FC236}">
                  <a16:creationId xmlns:a16="http://schemas.microsoft.com/office/drawing/2014/main" id="{EEBFE2DA-5127-4FBD-871C-BC30BC9886B6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484282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cto 125">
              <a:extLst>
                <a:ext uri="{FF2B5EF4-FFF2-40B4-BE49-F238E27FC236}">
                  <a16:creationId xmlns:a16="http://schemas.microsoft.com/office/drawing/2014/main" id="{A0159407-C1E0-42F9-96B7-52E8DE9FB54C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4858374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Grupo 126">
            <a:extLst>
              <a:ext uri="{FF2B5EF4-FFF2-40B4-BE49-F238E27FC236}">
                <a16:creationId xmlns:a16="http://schemas.microsoft.com/office/drawing/2014/main" id="{60702B56-DECD-447B-A9E3-E75220CE6451}"/>
              </a:ext>
            </a:extLst>
          </p:cNvPr>
          <p:cNvGrpSpPr/>
          <p:nvPr/>
        </p:nvGrpSpPr>
        <p:grpSpPr>
          <a:xfrm>
            <a:off x="292248" y="5602309"/>
            <a:ext cx="9114357" cy="430250"/>
            <a:chOff x="18839" y="5947084"/>
            <a:chExt cx="9114357" cy="430250"/>
          </a:xfrm>
        </p:grpSpPr>
        <p:sp>
          <p:nvSpPr>
            <p:cNvPr id="128" name="CuadroTexto 127">
              <a:extLst>
                <a:ext uri="{FF2B5EF4-FFF2-40B4-BE49-F238E27FC236}">
                  <a16:creationId xmlns:a16="http://schemas.microsoft.com/office/drawing/2014/main" id="{ED59BBA5-78C0-4BAE-A239-BB0D192DF18D}"/>
                </a:ext>
              </a:extLst>
            </p:cNvPr>
            <p:cNvSpPr txBox="1"/>
            <p:nvPr/>
          </p:nvSpPr>
          <p:spPr>
            <a:xfrm>
              <a:off x="622850" y="5947084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spacio de preguntas</a:t>
              </a:r>
            </a:p>
          </p:txBody>
        </p:sp>
        <p:sp>
          <p:nvSpPr>
            <p:cNvPr id="129" name="CuadroTexto 128">
              <a:extLst>
                <a:ext uri="{FF2B5EF4-FFF2-40B4-BE49-F238E27FC236}">
                  <a16:creationId xmlns:a16="http://schemas.microsoft.com/office/drawing/2014/main" id="{38F6E427-4252-4DBA-A22D-B030B7878228}"/>
                </a:ext>
              </a:extLst>
            </p:cNvPr>
            <p:cNvSpPr txBox="1"/>
            <p:nvPr/>
          </p:nvSpPr>
          <p:spPr>
            <a:xfrm>
              <a:off x="6018935" y="5947084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spacio de preguntas</a:t>
              </a:r>
            </a:p>
          </p:txBody>
        </p:sp>
        <p:sp>
          <p:nvSpPr>
            <p:cNvPr id="131" name="CuadroTexto 130">
              <a:extLst>
                <a:ext uri="{FF2B5EF4-FFF2-40B4-BE49-F238E27FC236}">
                  <a16:creationId xmlns:a16="http://schemas.microsoft.com/office/drawing/2014/main" id="{7BEB4D49-A38C-4972-AA35-9C77065D91C7}"/>
                </a:ext>
              </a:extLst>
            </p:cNvPr>
            <p:cNvSpPr txBox="1"/>
            <p:nvPr/>
          </p:nvSpPr>
          <p:spPr>
            <a:xfrm>
              <a:off x="3960147" y="5978499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20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2" name="Picture 4" descr="Empathy PNG Images | Vector and PSD Files | Free Download on Pngtree">
              <a:extLst>
                <a:ext uri="{FF2B5EF4-FFF2-40B4-BE49-F238E27FC236}">
                  <a16:creationId xmlns:a16="http://schemas.microsoft.com/office/drawing/2014/main" id="{D85EFBB4-82A1-4AEB-A02E-54D3607A36B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28" t="22271" r="6102" b="19906"/>
            <a:stretch/>
          </p:blipFill>
          <p:spPr bwMode="auto">
            <a:xfrm>
              <a:off x="18839" y="5978499"/>
              <a:ext cx="604011" cy="398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3" name="Grupo 132">
            <a:extLst>
              <a:ext uri="{FF2B5EF4-FFF2-40B4-BE49-F238E27FC236}">
                <a16:creationId xmlns:a16="http://schemas.microsoft.com/office/drawing/2014/main" id="{230FEFAE-02E8-496A-B8AD-506B3F9F1126}"/>
              </a:ext>
            </a:extLst>
          </p:cNvPr>
          <p:cNvGrpSpPr/>
          <p:nvPr/>
        </p:nvGrpSpPr>
        <p:grpSpPr>
          <a:xfrm>
            <a:off x="470908" y="4903514"/>
            <a:ext cx="10620200" cy="545404"/>
            <a:chOff x="197499" y="5168950"/>
            <a:chExt cx="10620200" cy="545404"/>
          </a:xfrm>
        </p:grpSpPr>
        <p:sp>
          <p:nvSpPr>
            <p:cNvPr id="134" name="CuadroTexto 133">
              <a:extLst>
                <a:ext uri="{FF2B5EF4-FFF2-40B4-BE49-F238E27FC236}">
                  <a16:creationId xmlns:a16="http://schemas.microsoft.com/office/drawing/2014/main" id="{5BC2AB0D-6046-4152-AF02-7891CB54CA54}"/>
                </a:ext>
              </a:extLst>
            </p:cNvPr>
            <p:cNvSpPr txBox="1"/>
            <p:nvPr/>
          </p:nvSpPr>
          <p:spPr>
            <a:xfrm>
              <a:off x="622850" y="5261283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3: Modelo de relacionamiento</a:t>
              </a:r>
            </a:p>
          </p:txBody>
        </p:sp>
        <p:sp>
          <p:nvSpPr>
            <p:cNvPr id="135" name="CuadroTexto 134">
              <a:extLst>
                <a:ext uri="{FF2B5EF4-FFF2-40B4-BE49-F238E27FC236}">
                  <a16:creationId xmlns:a16="http://schemas.microsoft.com/office/drawing/2014/main" id="{0972EA45-CA71-4C58-B3E3-2CE03A37733F}"/>
                </a:ext>
              </a:extLst>
            </p:cNvPr>
            <p:cNvSpPr txBox="1"/>
            <p:nvPr/>
          </p:nvSpPr>
          <p:spPr>
            <a:xfrm>
              <a:off x="6018935" y="5168950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Breve explicación del modelo de relacionamiento y quiz sobre el modelo</a:t>
              </a:r>
            </a:p>
          </p:txBody>
        </p:sp>
        <p:sp>
          <p:nvSpPr>
            <p:cNvPr id="136" name="CuadroTexto 135">
              <a:extLst>
                <a:ext uri="{FF2B5EF4-FFF2-40B4-BE49-F238E27FC236}">
                  <a16:creationId xmlns:a16="http://schemas.microsoft.com/office/drawing/2014/main" id="{10F2F476-E3DF-44DB-93E1-67C528B845D4}"/>
                </a:ext>
              </a:extLst>
            </p:cNvPr>
            <p:cNvSpPr txBox="1"/>
            <p:nvPr/>
          </p:nvSpPr>
          <p:spPr>
            <a:xfrm>
              <a:off x="3990127" y="5261283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1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CuadroTexto 136">
              <a:extLst>
                <a:ext uri="{FF2B5EF4-FFF2-40B4-BE49-F238E27FC236}">
                  <a16:creationId xmlns:a16="http://schemas.microsoft.com/office/drawing/2014/main" id="{E07EEAAE-3F46-4635-B660-163BBE708926}"/>
                </a:ext>
              </a:extLst>
            </p:cNvPr>
            <p:cNvSpPr txBox="1"/>
            <p:nvPr/>
          </p:nvSpPr>
          <p:spPr>
            <a:xfrm>
              <a:off x="9264494" y="5261284"/>
              <a:ext cx="970202" cy="276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 err="1"/>
                <a:t>Mentimeter</a:t>
              </a:r>
              <a:endParaRPr lang="es-CO" sz="1200"/>
            </a:p>
          </p:txBody>
        </p:sp>
        <p:pic>
          <p:nvPicPr>
            <p:cNvPr id="138" name="Picture 6" descr="Apoyanos">
              <a:extLst>
                <a:ext uri="{FF2B5EF4-FFF2-40B4-BE49-F238E27FC236}">
                  <a16:creationId xmlns:a16="http://schemas.microsoft.com/office/drawing/2014/main" id="{5BCB04AD-8A35-4E76-831A-BE37AB758B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5276437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9" name="Conector recto 138">
              <a:extLst>
                <a:ext uri="{FF2B5EF4-FFF2-40B4-BE49-F238E27FC236}">
                  <a16:creationId xmlns:a16="http://schemas.microsoft.com/office/drawing/2014/main" id="{C3E2F61F-1C4B-476B-A2BD-A0EB158221F7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5714354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Conector recto 139">
              <a:extLst>
                <a:ext uri="{FF2B5EF4-FFF2-40B4-BE49-F238E27FC236}">
                  <a16:creationId xmlns:a16="http://schemas.microsoft.com/office/drawing/2014/main" id="{113CCA2C-1CA9-4102-92F6-87C454341705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5708410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ector recto 140">
              <a:extLst>
                <a:ext uri="{FF2B5EF4-FFF2-40B4-BE49-F238E27FC236}">
                  <a16:creationId xmlns:a16="http://schemas.microsoft.com/office/drawing/2014/main" id="{A84DA711-F321-4D6A-8C5F-7514C157EC7F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5689213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Conector recto 141">
              <a:extLst>
                <a:ext uri="{FF2B5EF4-FFF2-40B4-BE49-F238E27FC236}">
                  <a16:creationId xmlns:a16="http://schemas.microsoft.com/office/drawing/2014/main" id="{6B8615B1-8EDC-48F5-B371-CCB9A26F6263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5704763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o 142">
            <a:extLst>
              <a:ext uri="{FF2B5EF4-FFF2-40B4-BE49-F238E27FC236}">
                <a16:creationId xmlns:a16="http://schemas.microsoft.com/office/drawing/2014/main" id="{C2B0831D-672E-4270-8739-782D42787680}"/>
              </a:ext>
            </a:extLst>
          </p:cNvPr>
          <p:cNvGrpSpPr/>
          <p:nvPr/>
        </p:nvGrpSpPr>
        <p:grpSpPr>
          <a:xfrm>
            <a:off x="470908" y="1873058"/>
            <a:ext cx="10822908" cy="583037"/>
            <a:chOff x="197499" y="2057233"/>
            <a:chExt cx="10822908" cy="583037"/>
          </a:xfrm>
        </p:grpSpPr>
        <p:sp>
          <p:nvSpPr>
            <p:cNvPr id="144" name="CuadroTexto 143">
              <a:extLst>
                <a:ext uri="{FF2B5EF4-FFF2-40B4-BE49-F238E27FC236}">
                  <a16:creationId xmlns:a16="http://schemas.microsoft.com/office/drawing/2014/main" id="{9A40AC9D-F2DE-429E-B1E7-87793BEF9411}"/>
                </a:ext>
              </a:extLst>
            </p:cNvPr>
            <p:cNvSpPr txBox="1"/>
            <p:nvPr/>
          </p:nvSpPr>
          <p:spPr>
            <a:xfrm>
              <a:off x="622850" y="2057233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Quiz validación propósito Gobierno Corporativo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CuadroTexto 144">
              <a:extLst>
                <a:ext uri="{FF2B5EF4-FFF2-40B4-BE49-F238E27FC236}">
                  <a16:creationId xmlns:a16="http://schemas.microsoft.com/office/drawing/2014/main" id="{CFD7A2B8-7760-4F47-9755-80C90649B2FD}"/>
                </a:ext>
              </a:extLst>
            </p:cNvPr>
            <p:cNvSpPr txBox="1"/>
            <p:nvPr/>
          </p:nvSpPr>
          <p:spPr>
            <a:xfrm>
              <a:off x="6018935" y="2057233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Breve quiz con preguntas sobre beneficios, elementos y objetivos.</a:t>
              </a:r>
            </a:p>
          </p:txBody>
        </p:sp>
        <p:sp>
          <p:nvSpPr>
            <p:cNvPr id="146" name="CuadroTexto 145">
              <a:extLst>
                <a:ext uri="{FF2B5EF4-FFF2-40B4-BE49-F238E27FC236}">
                  <a16:creationId xmlns:a16="http://schemas.microsoft.com/office/drawing/2014/main" id="{288966CF-A2CB-4920-8B6E-870D67CE8DB4}"/>
                </a:ext>
              </a:extLst>
            </p:cNvPr>
            <p:cNvSpPr txBox="1"/>
            <p:nvPr/>
          </p:nvSpPr>
          <p:spPr>
            <a:xfrm>
              <a:off x="9264494" y="2149566"/>
              <a:ext cx="17559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 err="1"/>
                <a:t>Mentimeter</a:t>
              </a:r>
              <a:endParaRPr lang="es-CO" sz="1200"/>
            </a:p>
          </p:txBody>
        </p:sp>
        <p:sp>
          <p:nvSpPr>
            <p:cNvPr id="147" name="CuadroTexto 146">
              <a:extLst>
                <a:ext uri="{FF2B5EF4-FFF2-40B4-BE49-F238E27FC236}">
                  <a16:creationId xmlns:a16="http://schemas.microsoft.com/office/drawing/2014/main" id="{7B9ED864-7CF7-4FC1-AAEB-6C50E8128BD6}"/>
                </a:ext>
              </a:extLst>
            </p:cNvPr>
            <p:cNvSpPr txBox="1"/>
            <p:nvPr/>
          </p:nvSpPr>
          <p:spPr>
            <a:xfrm>
              <a:off x="3990127" y="2149566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8" name="Picture 6" descr="Apoyanos">
              <a:extLst>
                <a:ext uri="{FF2B5EF4-FFF2-40B4-BE49-F238E27FC236}">
                  <a16:creationId xmlns:a16="http://schemas.microsoft.com/office/drawing/2014/main" id="{4B1C7764-E939-4F67-A9D8-34E2497419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2164720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9" name="Conector recto 148">
              <a:extLst>
                <a:ext uri="{FF2B5EF4-FFF2-40B4-BE49-F238E27FC236}">
                  <a16:creationId xmlns:a16="http://schemas.microsoft.com/office/drawing/2014/main" id="{3DD257FE-0DBC-4BDE-8E41-F0693773C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2640270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Conector recto 149">
              <a:extLst>
                <a:ext uri="{FF2B5EF4-FFF2-40B4-BE49-F238E27FC236}">
                  <a16:creationId xmlns:a16="http://schemas.microsoft.com/office/drawing/2014/main" id="{6A192D05-FA68-4C91-B411-42299285EFCC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2634326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Conector recto 150">
              <a:extLst>
                <a:ext uri="{FF2B5EF4-FFF2-40B4-BE49-F238E27FC236}">
                  <a16:creationId xmlns:a16="http://schemas.microsoft.com/office/drawing/2014/main" id="{70130B1F-D0F6-464E-B312-55BB85042484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2615129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Conector recto 151">
              <a:extLst>
                <a:ext uri="{FF2B5EF4-FFF2-40B4-BE49-F238E27FC236}">
                  <a16:creationId xmlns:a16="http://schemas.microsoft.com/office/drawing/2014/main" id="{C3DB8877-7BF3-4FAC-A3D2-5BA95D944800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2630679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3" name="Grupo 152">
            <a:extLst>
              <a:ext uri="{FF2B5EF4-FFF2-40B4-BE49-F238E27FC236}">
                <a16:creationId xmlns:a16="http://schemas.microsoft.com/office/drawing/2014/main" id="{C74AA7BD-0482-4430-AE80-88955BE81BD6}"/>
              </a:ext>
            </a:extLst>
          </p:cNvPr>
          <p:cNvGrpSpPr/>
          <p:nvPr/>
        </p:nvGrpSpPr>
        <p:grpSpPr>
          <a:xfrm>
            <a:off x="430680" y="2559905"/>
            <a:ext cx="11761320" cy="571246"/>
            <a:chOff x="157271" y="2580358"/>
            <a:chExt cx="11761320" cy="571246"/>
          </a:xfrm>
        </p:grpSpPr>
        <p:cxnSp>
          <p:nvCxnSpPr>
            <p:cNvPr id="154" name="Conector recto 153">
              <a:extLst>
                <a:ext uri="{FF2B5EF4-FFF2-40B4-BE49-F238E27FC236}">
                  <a16:creationId xmlns:a16="http://schemas.microsoft.com/office/drawing/2014/main" id="{257C7050-446B-4BC0-AE56-15B1276BF84B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3151604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Conector recto 154">
              <a:extLst>
                <a:ext uri="{FF2B5EF4-FFF2-40B4-BE49-F238E27FC236}">
                  <a16:creationId xmlns:a16="http://schemas.microsoft.com/office/drawing/2014/main" id="{1EDA848A-C3C5-44F2-B0B2-5B39061E32D7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3151604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Conector recto 155">
              <a:extLst>
                <a:ext uri="{FF2B5EF4-FFF2-40B4-BE49-F238E27FC236}">
                  <a16:creationId xmlns:a16="http://schemas.microsoft.com/office/drawing/2014/main" id="{6D136770-E5C6-4FD4-994A-347A35303349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315160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Conector recto 156">
              <a:extLst>
                <a:ext uri="{FF2B5EF4-FFF2-40B4-BE49-F238E27FC236}">
                  <a16:creationId xmlns:a16="http://schemas.microsoft.com/office/drawing/2014/main" id="{53B5734F-88D4-4463-BC76-B0A78957F1BB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3151604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CuadroTexto 157">
              <a:extLst>
                <a:ext uri="{FF2B5EF4-FFF2-40B4-BE49-F238E27FC236}">
                  <a16:creationId xmlns:a16="http://schemas.microsoft.com/office/drawing/2014/main" id="{D7DCC36E-87EB-40F0-B8DA-26802C828AF9}"/>
                </a:ext>
              </a:extLst>
            </p:cNvPr>
            <p:cNvSpPr txBox="1"/>
            <p:nvPr/>
          </p:nvSpPr>
          <p:spPr>
            <a:xfrm>
              <a:off x="3990127" y="2672691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10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9" name="Picture 2" descr="Cognitivo - Iconos gratis de personas">
              <a:extLst>
                <a:ext uri="{FF2B5EF4-FFF2-40B4-BE49-F238E27FC236}">
                  <a16:creationId xmlns:a16="http://schemas.microsoft.com/office/drawing/2014/main" id="{9E8D376D-8F72-4FAA-8753-2439E745B1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2647617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0" name="CuadroTexto 159">
              <a:extLst>
                <a:ext uri="{FF2B5EF4-FFF2-40B4-BE49-F238E27FC236}">
                  <a16:creationId xmlns:a16="http://schemas.microsoft.com/office/drawing/2014/main" id="{C60BD2D3-9268-46A4-A248-8754845A2B7A}"/>
                </a:ext>
              </a:extLst>
            </p:cNvPr>
            <p:cNvSpPr txBox="1"/>
            <p:nvPr/>
          </p:nvSpPr>
          <p:spPr>
            <a:xfrm>
              <a:off x="622850" y="2672691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Divulgación Macroprocesos</a:t>
              </a:r>
            </a:p>
          </p:txBody>
        </p:sp>
        <p:sp>
          <p:nvSpPr>
            <p:cNvPr id="161" name="CuadroTexto 160">
              <a:extLst>
                <a:ext uri="{FF2B5EF4-FFF2-40B4-BE49-F238E27FC236}">
                  <a16:creationId xmlns:a16="http://schemas.microsoft.com/office/drawing/2014/main" id="{9DEB7601-FDE6-4584-A603-436E8B612A41}"/>
                </a:ext>
              </a:extLst>
            </p:cNvPr>
            <p:cNvSpPr txBox="1"/>
            <p:nvPr/>
          </p:nvSpPr>
          <p:spPr>
            <a:xfrm>
              <a:off x="6018935" y="2580358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2do hito del taller de macroprocesos – Gerentes divulgan su proceso, nivel 1</a:t>
              </a:r>
            </a:p>
          </p:txBody>
        </p:sp>
        <p:sp>
          <p:nvSpPr>
            <p:cNvPr id="162" name="CuadroTexto 161">
              <a:extLst>
                <a:ext uri="{FF2B5EF4-FFF2-40B4-BE49-F238E27FC236}">
                  <a16:creationId xmlns:a16="http://schemas.microsoft.com/office/drawing/2014/main" id="{2A62CB7D-E2D1-48FE-AA10-A873E92AE577}"/>
                </a:ext>
              </a:extLst>
            </p:cNvPr>
            <p:cNvSpPr txBox="1"/>
            <p:nvPr/>
          </p:nvSpPr>
          <p:spPr>
            <a:xfrm>
              <a:off x="9234514" y="2662173"/>
              <a:ext cx="268407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Presentación</a:t>
              </a:r>
            </a:p>
          </p:txBody>
        </p:sp>
      </p:grpSp>
      <p:grpSp>
        <p:nvGrpSpPr>
          <p:cNvPr id="163" name="Grupo 162">
            <a:extLst>
              <a:ext uri="{FF2B5EF4-FFF2-40B4-BE49-F238E27FC236}">
                <a16:creationId xmlns:a16="http://schemas.microsoft.com/office/drawing/2014/main" id="{4C04BC2E-3186-4C80-B37F-E5B305AAC1ED}"/>
              </a:ext>
            </a:extLst>
          </p:cNvPr>
          <p:cNvGrpSpPr/>
          <p:nvPr/>
        </p:nvGrpSpPr>
        <p:grpSpPr>
          <a:xfrm>
            <a:off x="430680" y="3209283"/>
            <a:ext cx="10863136" cy="695446"/>
            <a:chOff x="157271" y="3081636"/>
            <a:chExt cx="10863136" cy="695446"/>
          </a:xfrm>
        </p:grpSpPr>
        <p:sp>
          <p:nvSpPr>
            <p:cNvPr id="164" name="CuadroTexto 163">
              <a:extLst>
                <a:ext uri="{FF2B5EF4-FFF2-40B4-BE49-F238E27FC236}">
                  <a16:creationId xmlns:a16="http://schemas.microsoft.com/office/drawing/2014/main" id="{BDBFDC69-A308-49F6-B954-651C284DFA8F}"/>
                </a:ext>
              </a:extLst>
            </p:cNvPr>
            <p:cNvSpPr txBox="1"/>
            <p:nvPr/>
          </p:nvSpPr>
          <p:spPr>
            <a:xfrm>
              <a:off x="622850" y="3160172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1:  Documentos corporativos y comités</a:t>
              </a:r>
            </a:p>
          </p:txBody>
        </p:sp>
        <p:sp>
          <p:nvSpPr>
            <p:cNvPr id="165" name="CuadroTexto 164">
              <a:extLst>
                <a:ext uri="{FF2B5EF4-FFF2-40B4-BE49-F238E27FC236}">
                  <a16:creationId xmlns:a16="http://schemas.microsoft.com/office/drawing/2014/main" id="{532C5EF6-9E60-460C-8174-9AA5833C4275}"/>
                </a:ext>
              </a:extLst>
            </p:cNvPr>
            <p:cNvSpPr txBox="1"/>
            <p:nvPr/>
          </p:nvSpPr>
          <p:spPr>
            <a:xfrm>
              <a:off x="6048894" y="3081636"/>
              <a:ext cx="31142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xplicación de los diferentes documentos y comités establecidos para cada Vicepresidencia </a:t>
              </a:r>
            </a:p>
          </p:txBody>
        </p:sp>
        <p:sp>
          <p:nvSpPr>
            <p:cNvPr id="166" name="CuadroTexto 165">
              <a:extLst>
                <a:ext uri="{FF2B5EF4-FFF2-40B4-BE49-F238E27FC236}">
                  <a16:creationId xmlns:a16="http://schemas.microsoft.com/office/drawing/2014/main" id="{E051AACB-533A-458D-A6AD-4EE882A51BFA}"/>
                </a:ext>
              </a:extLst>
            </p:cNvPr>
            <p:cNvSpPr txBox="1"/>
            <p:nvPr/>
          </p:nvSpPr>
          <p:spPr>
            <a:xfrm>
              <a:off x="9264494" y="3236319"/>
              <a:ext cx="17559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Presentación</a:t>
              </a:r>
            </a:p>
          </p:txBody>
        </p:sp>
        <p:sp>
          <p:nvSpPr>
            <p:cNvPr id="167" name="CuadroTexto 166">
              <a:extLst>
                <a:ext uri="{FF2B5EF4-FFF2-40B4-BE49-F238E27FC236}">
                  <a16:creationId xmlns:a16="http://schemas.microsoft.com/office/drawing/2014/main" id="{6110F769-958A-47EA-9391-D7D10AB9A4BC}"/>
                </a:ext>
              </a:extLst>
            </p:cNvPr>
            <p:cNvSpPr txBox="1"/>
            <p:nvPr/>
          </p:nvSpPr>
          <p:spPr>
            <a:xfrm>
              <a:off x="3990127" y="3181025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8" name="Picture 2" descr="Cognitivo - Iconos gratis de personas">
              <a:extLst>
                <a:ext uri="{FF2B5EF4-FFF2-40B4-BE49-F238E27FC236}">
                  <a16:creationId xmlns:a16="http://schemas.microsoft.com/office/drawing/2014/main" id="{BFFEDC3F-5D44-459C-AB94-57B812C81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3241229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9" name="Conector recto 168">
              <a:extLst>
                <a:ext uri="{FF2B5EF4-FFF2-40B4-BE49-F238E27FC236}">
                  <a16:creationId xmlns:a16="http://schemas.microsoft.com/office/drawing/2014/main" id="{EFE50E1C-6452-48D5-887E-325BDE8412DF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3777082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Conector recto 169">
              <a:extLst>
                <a:ext uri="{FF2B5EF4-FFF2-40B4-BE49-F238E27FC236}">
                  <a16:creationId xmlns:a16="http://schemas.microsoft.com/office/drawing/2014/main" id="{9C6D144F-AE7D-41B8-A40D-748F60DC87E9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3777082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Conector recto 170">
              <a:extLst>
                <a:ext uri="{FF2B5EF4-FFF2-40B4-BE49-F238E27FC236}">
                  <a16:creationId xmlns:a16="http://schemas.microsoft.com/office/drawing/2014/main" id="{F9A75E3E-F16F-47D3-AD78-BFC9C9348449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3777082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Conector recto 171">
              <a:extLst>
                <a:ext uri="{FF2B5EF4-FFF2-40B4-BE49-F238E27FC236}">
                  <a16:creationId xmlns:a16="http://schemas.microsoft.com/office/drawing/2014/main" id="{3767DA6F-DABE-4D6F-AE17-AB5D8250600B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3777082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ítulo 3">
            <a:extLst>
              <a:ext uri="{FF2B5EF4-FFF2-40B4-BE49-F238E27FC236}">
                <a16:creationId xmlns:a16="http://schemas.microsoft.com/office/drawing/2014/main" id="{7D76A58A-375F-4061-9D4C-651C14864658}"/>
              </a:ext>
            </a:extLst>
          </p:cNvPr>
          <p:cNvSpPr txBox="1">
            <a:spLocks/>
          </p:cNvSpPr>
          <p:nvPr/>
        </p:nvSpPr>
        <p:spPr>
          <a:xfrm>
            <a:off x="2453389" y="122292"/>
            <a:ext cx="734518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sz="2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764615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F5700C51-F66A-449D-BCA0-B494FA67DF03}"/>
              </a:ext>
            </a:extLst>
          </p:cNvPr>
          <p:cNvSpPr/>
          <p:nvPr/>
        </p:nvSpPr>
        <p:spPr>
          <a:xfrm>
            <a:off x="0" y="2674548"/>
            <a:ext cx="12192000" cy="1058002"/>
          </a:xfrm>
          <a:prstGeom prst="rect">
            <a:avLst/>
          </a:prstGeom>
          <a:solidFill>
            <a:srgbClr val="D5DA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rgbClr val="07212E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8041FCA-D056-443E-AFB1-6878132F3E5F}"/>
              </a:ext>
            </a:extLst>
          </p:cNvPr>
          <p:cNvSpPr txBox="1"/>
          <p:nvPr/>
        </p:nvSpPr>
        <p:spPr>
          <a:xfrm>
            <a:off x="211953" y="2636451"/>
            <a:ext cx="1176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7200" b="1">
                <a:solidFill>
                  <a:schemeClr val="tx2"/>
                </a:solidFill>
                <a:latin typeface="Californian FB" panose="0207040306080B030204" pitchFamily="18" charset="0"/>
              </a:rPr>
              <a:t>E  M  P  O  D  É  R  A  T  E</a:t>
            </a:r>
            <a:endParaRPr lang="es-CO" sz="7200" b="1">
              <a:solidFill>
                <a:schemeClr val="tx2"/>
              </a:solidFill>
              <a:latin typeface="Californian FB" panose="0207040306080B030204" pitchFamily="18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7C3B44D-CCD9-4C34-A6C9-08FB7C10E08A}"/>
              </a:ext>
            </a:extLst>
          </p:cNvPr>
          <p:cNvSpPr txBox="1"/>
          <p:nvPr/>
        </p:nvSpPr>
        <p:spPr>
          <a:xfrm>
            <a:off x="-160220" y="510154"/>
            <a:ext cx="26773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7200" b="1">
                <a:solidFill>
                  <a:srgbClr val="D5DA41"/>
                </a:solidFill>
                <a:latin typeface="Californian FB" panose="0207040306080B030204" pitchFamily="18" charset="0"/>
              </a:defRPr>
            </a:lvl1pPr>
          </a:lstStyle>
          <a:p>
            <a:r>
              <a:rPr lang="es-ES" sz="3600"/>
              <a:t>E</a:t>
            </a:r>
            <a:r>
              <a:rPr lang="es-ES" sz="1800" b="0">
                <a:solidFill>
                  <a:schemeClr val="tx1"/>
                </a:solidFill>
                <a:latin typeface="+mn-lt"/>
              </a:rPr>
              <a:t>valúa</a:t>
            </a:r>
            <a:endParaRPr lang="es-CO" sz="1800" b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AE5BBE52-90F9-41C6-8AAA-C990BB6E5D59}"/>
              </a:ext>
            </a:extLst>
          </p:cNvPr>
          <p:cNvSpPr txBox="1"/>
          <p:nvPr/>
        </p:nvSpPr>
        <p:spPr>
          <a:xfrm>
            <a:off x="1311844" y="1649807"/>
            <a:ext cx="14830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M</a:t>
            </a:r>
            <a:r>
              <a:rPr lang="es-ES"/>
              <a:t>anifiesta</a:t>
            </a:r>
            <a:endParaRPr lang="es-CO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60B3078-8B96-4723-A94E-AF0DEDF6104B}"/>
              </a:ext>
            </a:extLst>
          </p:cNvPr>
          <p:cNvSpPr txBox="1"/>
          <p:nvPr/>
        </p:nvSpPr>
        <p:spPr>
          <a:xfrm>
            <a:off x="2803720" y="541064"/>
            <a:ext cx="10486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P</a:t>
            </a:r>
            <a:r>
              <a:rPr lang="es-ES"/>
              <a:t>ropón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50494279-62DB-4797-8A09-AAECFB1D7A11}"/>
              </a:ext>
            </a:extLst>
          </p:cNvPr>
          <p:cNvSpPr txBox="1"/>
          <p:nvPr/>
        </p:nvSpPr>
        <p:spPr>
          <a:xfrm>
            <a:off x="4967036" y="510154"/>
            <a:ext cx="10230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D</a:t>
            </a:r>
            <a:r>
              <a:rPr lang="es-ES"/>
              <a:t>efine</a:t>
            </a:r>
            <a:endParaRPr lang="es-CO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909E1B8-3B50-4AEE-B6FD-970EC2C3FA78}"/>
              </a:ext>
            </a:extLst>
          </p:cNvPr>
          <p:cNvSpPr txBox="1"/>
          <p:nvPr/>
        </p:nvSpPr>
        <p:spPr>
          <a:xfrm>
            <a:off x="3692799" y="1649807"/>
            <a:ext cx="12891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O</a:t>
            </a:r>
            <a:r>
              <a:rPr lang="es-ES"/>
              <a:t>rganiza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99EBD500-3DAE-4966-82E2-1A7046E22981}"/>
              </a:ext>
            </a:extLst>
          </p:cNvPr>
          <p:cNvSpPr txBox="1"/>
          <p:nvPr/>
        </p:nvSpPr>
        <p:spPr>
          <a:xfrm>
            <a:off x="5943912" y="1649807"/>
            <a:ext cx="10695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E</a:t>
            </a:r>
            <a:r>
              <a:rPr lang="es-ES"/>
              <a:t>jecuta</a:t>
            </a:r>
            <a:endParaRPr lang="es-CO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EEBF55FB-5D62-4BE9-9514-82016B4ADD76}"/>
              </a:ext>
            </a:extLst>
          </p:cNvPr>
          <p:cNvSpPr txBox="1"/>
          <p:nvPr/>
        </p:nvSpPr>
        <p:spPr>
          <a:xfrm>
            <a:off x="6866117" y="536696"/>
            <a:ext cx="14350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R</a:t>
            </a:r>
            <a:r>
              <a:rPr lang="es-ES"/>
              <a:t>eflexiona</a:t>
            </a:r>
            <a:endParaRPr lang="es-CO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58059B60-3380-482E-92E9-4DC79C8641DC}"/>
              </a:ext>
            </a:extLst>
          </p:cNvPr>
          <p:cNvSpPr txBox="1"/>
          <p:nvPr/>
        </p:nvSpPr>
        <p:spPr>
          <a:xfrm>
            <a:off x="7975415" y="1649807"/>
            <a:ext cx="10967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A</a:t>
            </a:r>
            <a:r>
              <a:rPr lang="es-ES"/>
              <a:t>fronta</a:t>
            </a:r>
            <a:endParaRPr lang="es-CO"/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BEF628AD-0942-4C01-BC26-D586C9D91257}"/>
              </a:ext>
            </a:extLst>
          </p:cNvPr>
          <p:cNvSpPr txBox="1"/>
          <p:nvPr/>
        </p:nvSpPr>
        <p:spPr>
          <a:xfrm>
            <a:off x="8814426" y="536695"/>
            <a:ext cx="15231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T</a:t>
            </a:r>
            <a:r>
              <a:rPr lang="es-ES"/>
              <a:t>ransforma</a:t>
            </a:r>
            <a:endParaRPr lang="es-CO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40A407D-9E14-4183-9A28-56D03D38D4E6}"/>
              </a:ext>
            </a:extLst>
          </p:cNvPr>
          <p:cNvSpPr txBox="1"/>
          <p:nvPr/>
        </p:nvSpPr>
        <p:spPr>
          <a:xfrm>
            <a:off x="9995696" y="1496798"/>
            <a:ext cx="19258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E</a:t>
            </a:r>
            <a:r>
              <a:rPr lang="es-ES"/>
              <a:t>mpieza de nuevo</a:t>
            </a:r>
            <a:endParaRPr lang="es-CO"/>
          </a:p>
        </p:txBody>
      </p:sp>
      <p:grpSp>
        <p:nvGrpSpPr>
          <p:cNvPr id="33" name="Group 72">
            <a:extLst>
              <a:ext uri="{FF2B5EF4-FFF2-40B4-BE49-F238E27FC236}">
                <a16:creationId xmlns:a16="http://schemas.microsoft.com/office/drawing/2014/main" id="{7070BB4B-4B91-4480-825D-68EB4275DC67}"/>
              </a:ext>
            </a:extLst>
          </p:cNvPr>
          <p:cNvGrpSpPr/>
          <p:nvPr/>
        </p:nvGrpSpPr>
        <p:grpSpPr>
          <a:xfrm>
            <a:off x="9995696" y="4246145"/>
            <a:ext cx="1553014" cy="1561779"/>
            <a:chOff x="5529263" y="2540001"/>
            <a:chExt cx="1163638" cy="1539875"/>
          </a:xfrm>
        </p:grpSpPr>
        <p:sp>
          <p:nvSpPr>
            <p:cNvPr id="34" name="Freeform 114">
              <a:extLst>
                <a:ext uri="{FF2B5EF4-FFF2-40B4-BE49-F238E27FC236}">
                  <a16:creationId xmlns:a16="http://schemas.microsoft.com/office/drawing/2014/main" id="{47DA60D5-3D84-4BAB-BD68-44FC3285B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263" y="2540001"/>
              <a:ext cx="393700" cy="673100"/>
            </a:xfrm>
            <a:custGeom>
              <a:avLst/>
              <a:gdLst>
                <a:gd name="T0" fmla="*/ 820 w 993"/>
                <a:gd name="T1" fmla="*/ 1637 h 1697"/>
                <a:gd name="T2" fmla="*/ 577 w 993"/>
                <a:gd name="T3" fmla="*/ 1404 h 1697"/>
                <a:gd name="T4" fmla="*/ 378 w 993"/>
                <a:gd name="T5" fmla="*/ 1177 h 1697"/>
                <a:gd name="T6" fmla="*/ 224 w 993"/>
                <a:gd name="T7" fmla="*/ 961 h 1697"/>
                <a:gd name="T8" fmla="*/ 113 w 993"/>
                <a:gd name="T9" fmla="*/ 759 h 1697"/>
                <a:gd name="T10" fmla="*/ 40 w 993"/>
                <a:gd name="T11" fmla="*/ 573 h 1697"/>
                <a:gd name="T12" fmla="*/ 5 w 993"/>
                <a:gd name="T13" fmla="*/ 406 h 1697"/>
                <a:gd name="T14" fmla="*/ 5 w 993"/>
                <a:gd name="T15" fmla="*/ 261 h 1697"/>
                <a:gd name="T16" fmla="*/ 27 w 993"/>
                <a:gd name="T17" fmla="*/ 169 h 1697"/>
                <a:gd name="T18" fmla="*/ 84 w 993"/>
                <a:gd name="T19" fmla="*/ 69 h 1697"/>
                <a:gd name="T20" fmla="*/ 202 w 993"/>
                <a:gd name="T21" fmla="*/ 3 h 1697"/>
                <a:gd name="T22" fmla="*/ 279 w 993"/>
                <a:gd name="T23" fmla="*/ 2 h 1697"/>
                <a:gd name="T24" fmla="*/ 432 w 993"/>
                <a:gd name="T25" fmla="*/ 46 h 1697"/>
                <a:gd name="T26" fmla="*/ 529 w 993"/>
                <a:gd name="T27" fmla="*/ 118 h 1697"/>
                <a:gd name="T28" fmla="*/ 587 w 993"/>
                <a:gd name="T29" fmla="*/ 187 h 1697"/>
                <a:gd name="T30" fmla="*/ 648 w 993"/>
                <a:gd name="T31" fmla="*/ 300 h 1697"/>
                <a:gd name="T32" fmla="*/ 688 w 993"/>
                <a:gd name="T33" fmla="*/ 429 h 1697"/>
                <a:gd name="T34" fmla="*/ 708 w 993"/>
                <a:gd name="T35" fmla="*/ 572 h 1697"/>
                <a:gd name="T36" fmla="*/ 548 w 993"/>
                <a:gd name="T37" fmla="*/ 608 h 1697"/>
                <a:gd name="T38" fmla="*/ 529 w 993"/>
                <a:gd name="T39" fmla="*/ 442 h 1697"/>
                <a:gd name="T40" fmla="*/ 446 w 993"/>
                <a:gd name="T41" fmla="*/ 263 h 1697"/>
                <a:gd name="T42" fmla="*/ 398 w 993"/>
                <a:gd name="T43" fmla="*/ 214 h 1697"/>
                <a:gd name="T44" fmla="*/ 312 w 993"/>
                <a:gd name="T45" fmla="*/ 169 h 1697"/>
                <a:gd name="T46" fmla="*/ 240 w 993"/>
                <a:gd name="T47" fmla="*/ 160 h 1697"/>
                <a:gd name="T48" fmla="*/ 207 w 993"/>
                <a:gd name="T49" fmla="*/ 173 h 1697"/>
                <a:gd name="T50" fmla="*/ 176 w 993"/>
                <a:gd name="T51" fmla="*/ 223 h 1697"/>
                <a:gd name="T52" fmla="*/ 162 w 993"/>
                <a:gd name="T53" fmla="*/ 288 h 1697"/>
                <a:gd name="T54" fmla="*/ 165 w 993"/>
                <a:gd name="T55" fmla="*/ 399 h 1697"/>
                <a:gd name="T56" fmla="*/ 241 w 993"/>
                <a:gd name="T57" fmla="*/ 656 h 1697"/>
                <a:gd name="T58" fmla="*/ 362 w 993"/>
                <a:gd name="T59" fmla="*/ 879 h 1697"/>
                <a:gd name="T60" fmla="*/ 504 w 993"/>
                <a:gd name="T61" fmla="*/ 1079 h 1697"/>
                <a:gd name="T62" fmla="*/ 691 w 993"/>
                <a:gd name="T63" fmla="*/ 1291 h 1697"/>
                <a:gd name="T64" fmla="*/ 925 w 993"/>
                <a:gd name="T65" fmla="*/ 1518 h 1697"/>
                <a:gd name="T66" fmla="*/ 890 w 993"/>
                <a:gd name="T67" fmla="*/ 1697 h 1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93" h="1697">
                  <a:moveTo>
                    <a:pt x="890" y="1697"/>
                  </a:moveTo>
                  <a:lnTo>
                    <a:pt x="820" y="1637"/>
                  </a:lnTo>
                  <a:lnTo>
                    <a:pt x="693" y="1519"/>
                  </a:lnTo>
                  <a:lnTo>
                    <a:pt x="577" y="1404"/>
                  </a:lnTo>
                  <a:lnTo>
                    <a:pt x="472" y="1289"/>
                  </a:lnTo>
                  <a:lnTo>
                    <a:pt x="378" y="1177"/>
                  </a:lnTo>
                  <a:lnTo>
                    <a:pt x="297" y="1068"/>
                  </a:lnTo>
                  <a:lnTo>
                    <a:pt x="224" y="961"/>
                  </a:lnTo>
                  <a:lnTo>
                    <a:pt x="163" y="858"/>
                  </a:lnTo>
                  <a:lnTo>
                    <a:pt x="113" y="759"/>
                  </a:lnTo>
                  <a:lnTo>
                    <a:pt x="71" y="664"/>
                  </a:lnTo>
                  <a:lnTo>
                    <a:pt x="40" y="573"/>
                  </a:lnTo>
                  <a:lnTo>
                    <a:pt x="18" y="488"/>
                  </a:lnTo>
                  <a:lnTo>
                    <a:pt x="5" y="406"/>
                  </a:lnTo>
                  <a:lnTo>
                    <a:pt x="0" y="331"/>
                  </a:lnTo>
                  <a:lnTo>
                    <a:pt x="5" y="261"/>
                  </a:lnTo>
                  <a:lnTo>
                    <a:pt x="17" y="199"/>
                  </a:lnTo>
                  <a:lnTo>
                    <a:pt x="27" y="169"/>
                  </a:lnTo>
                  <a:lnTo>
                    <a:pt x="41" y="131"/>
                  </a:lnTo>
                  <a:lnTo>
                    <a:pt x="84" y="69"/>
                  </a:lnTo>
                  <a:lnTo>
                    <a:pt x="139" y="26"/>
                  </a:lnTo>
                  <a:lnTo>
                    <a:pt x="202" y="3"/>
                  </a:lnTo>
                  <a:lnTo>
                    <a:pt x="237" y="0"/>
                  </a:lnTo>
                  <a:lnTo>
                    <a:pt x="279" y="2"/>
                  </a:lnTo>
                  <a:lnTo>
                    <a:pt x="358" y="16"/>
                  </a:lnTo>
                  <a:lnTo>
                    <a:pt x="432" y="46"/>
                  </a:lnTo>
                  <a:lnTo>
                    <a:pt x="498" y="90"/>
                  </a:lnTo>
                  <a:lnTo>
                    <a:pt x="529" y="118"/>
                  </a:lnTo>
                  <a:lnTo>
                    <a:pt x="550" y="139"/>
                  </a:lnTo>
                  <a:lnTo>
                    <a:pt x="587" y="187"/>
                  </a:lnTo>
                  <a:lnTo>
                    <a:pt x="620" y="241"/>
                  </a:lnTo>
                  <a:lnTo>
                    <a:pt x="648" y="300"/>
                  </a:lnTo>
                  <a:lnTo>
                    <a:pt x="671" y="363"/>
                  </a:lnTo>
                  <a:lnTo>
                    <a:pt x="688" y="429"/>
                  </a:lnTo>
                  <a:lnTo>
                    <a:pt x="701" y="499"/>
                  </a:lnTo>
                  <a:lnTo>
                    <a:pt x="708" y="572"/>
                  </a:lnTo>
                  <a:lnTo>
                    <a:pt x="708" y="608"/>
                  </a:lnTo>
                  <a:lnTo>
                    <a:pt x="548" y="608"/>
                  </a:lnTo>
                  <a:lnTo>
                    <a:pt x="547" y="551"/>
                  </a:lnTo>
                  <a:lnTo>
                    <a:pt x="529" y="442"/>
                  </a:lnTo>
                  <a:lnTo>
                    <a:pt x="495" y="345"/>
                  </a:lnTo>
                  <a:lnTo>
                    <a:pt x="446" y="263"/>
                  </a:lnTo>
                  <a:lnTo>
                    <a:pt x="417" y="231"/>
                  </a:lnTo>
                  <a:lnTo>
                    <a:pt x="398" y="214"/>
                  </a:lnTo>
                  <a:lnTo>
                    <a:pt x="358" y="187"/>
                  </a:lnTo>
                  <a:lnTo>
                    <a:pt x="312" y="169"/>
                  </a:lnTo>
                  <a:lnTo>
                    <a:pt x="266" y="161"/>
                  </a:lnTo>
                  <a:lnTo>
                    <a:pt x="240" y="160"/>
                  </a:lnTo>
                  <a:lnTo>
                    <a:pt x="228" y="161"/>
                  </a:lnTo>
                  <a:lnTo>
                    <a:pt x="207" y="173"/>
                  </a:lnTo>
                  <a:lnTo>
                    <a:pt x="185" y="201"/>
                  </a:lnTo>
                  <a:lnTo>
                    <a:pt x="176" y="223"/>
                  </a:lnTo>
                  <a:lnTo>
                    <a:pt x="170" y="243"/>
                  </a:lnTo>
                  <a:lnTo>
                    <a:pt x="162" y="288"/>
                  </a:lnTo>
                  <a:lnTo>
                    <a:pt x="161" y="341"/>
                  </a:lnTo>
                  <a:lnTo>
                    <a:pt x="165" y="399"/>
                  </a:lnTo>
                  <a:lnTo>
                    <a:pt x="185" y="501"/>
                  </a:lnTo>
                  <a:lnTo>
                    <a:pt x="241" y="656"/>
                  </a:lnTo>
                  <a:lnTo>
                    <a:pt x="307" y="787"/>
                  </a:lnTo>
                  <a:lnTo>
                    <a:pt x="362" y="879"/>
                  </a:lnTo>
                  <a:lnTo>
                    <a:pt x="428" y="976"/>
                  </a:lnTo>
                  <a:lnTo>
                    <a:pt x="504" y="1079"/>
                  </a:lnTo>
                  <a:lnTo>
                    <a:pt x="591" y="1184"/>
                  </a:lnTo>
                  <a:lnTo>
                    <a:pt x="691" y="1291"/>
                  </a:lnTo>
                  <a:lnTo>
                    <a:pt x="801" y="1403"/>
                  </a:lnTo>
                  <a:lnTo>
                    <a:pt x="925" y="1518"/>
                  </a:lnTo>
                  <a:lnTo>
                    <a:pt x="993" y="1576"/>
                  </a:lnTo>
                  <a:lnTo>
                    <a:pt x="890" y="1697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5" name="Freeform 115">
              <a:extLst>
                <a:ext uri="{FF2B5EF4-FFF2-40B4-BE49-F238E27FC236}">
                  <a16:creationId xmlns:a16="http://schemas.microsoft.com/office/drawing/2014/main" id="{2C17A24B-BD11-49EB-9224-F4FA8B4A7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1" y="2540001"/>
              <a:ext cx="393700" cy="673100"/>
            </a:xfrm>
            <a:custGeom>
              <a:avLst/>
              <a:gdLst>
                <a:gd name="T0" fmla="*/ 0 w 993"/>
                <a:gd name="T1" fmla="*/ 1576 h 1697"/>
                <a:gd name="T2" fmla="*/ 192 w 993"/>
                <a:gd name="T3" fmla="*/ 1403 h 1697"/>
                <a:gd name="T4" fmla="*/ 401 w 993"/>
                <a:gd name="T5" fmla="*/ 1184 h 1697"/>
                <a:gd name="T6" fmla="*/ 565 w 993"/>
                <a:gd name="T7" fmla="*/ 976 h 1697"/>
                <a:gd name="T8" fmla="*/ 685 w 993"/>
                <a:gd name="T9" fmla="*/ 787 h 1697"/>
                <a:gd name="T10" fmla="*/ 807 w 993"/>
                <a:gd name="T11" fmla="*/ 501 h 1697"/>
                <a:gd name="T12" fmla="*/ 832 w 993"/>
                <a:gd name="T13" fmla="*/ 341 h 1697"/>
                <a:gd name="T14" fmla="*/ 823 w 993"/>
                <a:gd name="T15" fmla="*/ 243 h 1697"/>
                <a:gd name="T16" fmla="*/ 807 w 993"/>
                <a:gd name="T17" fmla="*/ 201 h 1697"/>
                <a:gd name="T18" fmla="*/ 764 w 993"/>
                <a:gd name="T19" fmla="*/ 161 h 1697"/>
                <a:gd name="T20" fmla="*/ 727 w 993"/>
                <a:gd name="T21" fmla="*/ 161 h 1697"/>
                <a:gd name="T22" fmla="*/ 635 w 993"/>
                <a:gd name="T23" fmla="*/ 187 h 1697"/>
                <a:gd name="T24" fmla="*/ 575 w 993"/>
                <a:gd name="T25" fmla="*/ 231 h 1697"/>
                <a:gd name="T26" fmla="*/ 497 w 993"/>
                <a:gd name="T27" fmla="*/ 345 h 1697"/>
                <a:gd name="T28" fmla="*/ 446 w 993"/>
                <a:gd name="T29" fmla="*/ 551 h 1697"/>
                <a:gd name="T30" fmla="*/ 285 w 993"/>
                <a:gd name="T31" fmla="*/ 608 h 1697"/>
                <a:gd name="T32" fmla="*/ 291 w 993"/>
                <a:gd name="T33" fmla="*/ 499 h 1697"/>
                <a:gd name="T34" fmla="*/ 321 w 993"/>
                <a:gd name="T35" fmla="*/ 363 h 1697"/>
                <a:gd name="T36" fmla="*/ 373 w 993"/>
                <a:gd name="T37" fmla="*/ 241 h 1697"/>
                <a:gd name="T38" fmla="*/ 443 w 993"/>
                <a:gd name="T39" fmla="*/ 139 h 1697"/>
                <a:gd name="T40" fmla="*/ 495 w 993"/>
                <a:gd name="T41" fmla="*/ 90 h 1697"/>
                <a:gd name="T42" fmla="*/ 635 w 993"/>
                <a:gd name="T43" fmla="*/ 16 h 1697"/>
                <a:gd name="T44" fmla="*/ 755 w 993"/>
                <a:gd name="T45" fmla="*/ 0 h 1697"/>
                <a:gd name="T46" fmla="*/ 854 w 993"/>
                <a:gd name="T47" fmla="*/ 26 h 1697"/>
                <a:gd name="T48" fmla="*/ 951 w 993"/>
                <a:gd name="T49" fmla="*/ 131 h 1697"/>
                <a:gd name="T50" fmla="*/ 976 w 993"/>
                <a:gd name="T51" fmla="*/ 199 h 1697"/>
                <a:gd name="T52" fmla="*/ 993 w 993"/>
                <a:gd name="T53" fmla="*/ 331 h 1697"/>
                <a:gd name="T54" fmla="*/ 974 w 993"/>
                <a:gd name="T55" fmla="*/ 488 h 1697"/>
                <a:gd name="T56" fmla="*/ 921 w 993"/>
                <a:gd name="T57" fmla="*/ 664 h 1697"/>
                <a:gd name="T58" fmla="*/ 829 w 993"/>
                <a:gd name="T59" fmla="*/ 858 h 1697"/>
                <a:gd name="T60" fmla="*/ 696 w 993"/>
                <a:gd name="T61" fmla="*/ 1068 h 1697"/>
                <a:gd name="T62" fmla="*/ 521 w 993"/>
                <a:gd name="T63" fmla="*/ 1289 h 1697"/>
                <a:gd name="T64" fmla="*/ 300 w 993"/>
                <a:gd name="T65" fmla="*/ 1519 h 1697"/>
                <a:gd name="T66" fmla="*/ 102 w 993"/>
                <a:gd name="T67" fmla="*/ 1697 h 1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93" h="1697">
                  <a:moveTo>
                    <a:pt x="102" y="1697"/>
                  </a:moveTo>
                  <a:lnTo>
                    <a:pt x="0" y="1576"/>
                  </a:lnTo>
                  <a:lnTo>
                    <a:pt x="67" y="1518"/>
                  </a:lnTo>
                  <a:lnTo>
                    <a:pt x="192" y="1403"/>
                  </a:lnTo>
                  <a:lnTo>
                    <a:pt x="303" y="1291"/>
                  </a:lnTo>
                  <a:lnTo>
                    <a:pt x="401" y="1184"/>
                  </a:lnTo>
                  <a:lnTo>
                    <a:pt x="488" y="1079"/>
                  </a:lnTo>
                  <a:lnTo>
                    <a:pt x="565" y="976"/>
                  </a:lnTo>
                  <a:lnTo>
                    <a:pt x="631" y="879"/>
                  </a:lnTo>
                  <a:lnTo>
                    <a:pt x="685" y="787"/>
                  </a:lnTo>
                  <a:lnTo>
                    <a:pt x="751" y="656"/>
                  </a:lnTo>
                  <a:lnTo>
                    <a:pt x="807" y="501"/>
                  </a:lnTo>
                  <a:lnTo>
                    <a:pt x="828" y="399"/>
                  </a:lnTo>
                  <a:lnTo>
                    <a:pt x="832" y="341"/>
                  </a:lnTo>
                  <a:lnTo>
                    <a:pt x="830" y="288"/>
                  </a:lnTo>
                  <a:lnTo>
                    <a:pt x="823" y="243"/>
                  </a:lnTo>
                  <a:lnTo>
                    <a:pt x="816" y="223"/>
                  </a:lnTo>
                  <a:lnTo>
                    <a:pt x="807" y="201"/>
                  </a:lnTo>
                  <a:lnTo>
                    <a:pt x="785" y="173"/>
                  </a:lnTo>
                  <a:lnTo>
                    <a:pt x="764" y="161"/>
                  </a:lnTo>
                  <a:lnTo>
                    <a:pt x="753" y="160"/>
                  </a:lnTo>
                  <a:lnTo>
                    <a:pt x="727" y="161"/>
                  </a:lnTo>
                  <a:lnTo>
                    <a:pt x="679" y="169"/>
                  </a:lnTo>
                  <a:lnTo>
                    <a:pt x="635" y="187"/>
                  </a:lnTo>
                  <a:lnTo>
                    <a:pt x="595" y="214"/>
                  </a:lnTo>
                  <a:lnTo>
                    <a:pt x="575" y="231"/>
                  </a:lnTo>
                  <a:lnTo>
                    <a:pt x="547" y="263"/>
                  </a:lnTo>
                  <a:lnTo>
                    <a:pt x="497" y="345"/>
                  </a:lnTo>
                  <a:lnTo>
                    <a:pt x="464" y="442"/>
                  </a:lnTo>
                  <a:lnTo>
                    <a:pt x="446" y="551"/>
                  </a:lnTo>
                  <a:lnTo>
                    <a:pt x="444" y="608"/>
                  </a:lnTo>
                  <a:lnTo>
                    <a:pt x="285" y="608"/>
                  </a:lnTo>
                  <a:lnTo>
                    <a:pt x="285" y="572"/>
                  </a:lnTo>
                  <a:lnTo>
                    <a:pt x="291" y="499"/>
                  </a:lnTo>
                  <a:lnTo>
                    <a:pt x="304" y="429"/>
                  </a:lnTo>
                  <a:lnTo>
                    <a:pt x="321" y="363"/>
                  </a:lnTo>
                  <a:lnTo>
                    <a:pt x="344" y="300"/>
                  </a:lnTo>
                  <a:lnTo>
                    <a:pt x="373" y="241"/>
                  </a:lnTo>
                  <a:lnTo>
                    <a:pt x="405" y="187"/>
                  </a:lnTo>
                  <a:lnTo>
                    <a:pt x="443" y="139"/>
                  </a:lnTo>
                  <a:lnTo>
                    <a:pt x="464" y="118"/>
                  </a:lnTo>
                  <a:lnTo>
                    <a:pt x="495" y="90"/>
                  </a:lnTo>
                  <a:lnTo>
                    <a:pt x="561" y="46"/>
                  </a:lnTo>
                  <a:lnTo>
                    <a:pt x="635" y="16"/>
                  </a:lnTo>
                  <a:lnTo>
                    <a:pt x="714" y="2"/>
                  </a:lnTo>
                  <a:lnTo>
                    <a:pt x="755" y="0"/>
                  </a:lnTo>
                  <a:lnTo>
                    <a:pt x="790" y="3"/>
                  </a:lnTo>
                  <a:lnTo>
                    <a:pt x="854" y="26"/>
                  </a:lnTo>
                  <a:lnTo>
                    <a:pt x="908" y="69"/>
                  </a:lnTo>
                  <a:lnTo>
                    <a:pt x="951" y="131"/>
                  </a:lnTo>
                  <a:lnTo>
                    <a:pt x="965" y="169"/>
                  </a:lnTo>
                  <a:lnTo>
                    <a:pt x="976" y="199"/>
                  </a:lnTo>
                  <a:lnTo>
                    <a:pt x="987" y="261"/>
                  </a:lnTo>
                  <a:lnTo>
                    <a:pt x="993" y="331"/>
                  </a:lnTo>
                  <a:lnTo>
                    <a:pt x="987" y="406"/>
                  </a:lnTo>
                  <a:lnTo>
                    <a:pt x="974" y="488"/>
                  </a:lnTo>
                  <a:lnTo>
                    <a:pt x="952" y="573"/>
                  </a:lnTo>
                  <a:lnTo>
                    <a:pt x="921" y="664"/>
                  </a:lnTo>
                  <a:lnTo>
                    <a:pt x="880" y="759"/>
                  </a:lnTo>
                  <a:lnTo>
                    <a:pt x="829" y="858"/>
                  </a:lnTo>
                  <a:lnTo>
                    <a:pt x="768" y="961"/>
                  </a:lnTo>
                  <a:lnTo>
                    <a:pt x="696" y="1068"/>
                  </a:lnTo>
                  <a:lnTo>
                    <a:pt x="614" y="1177"/>
                  </a:lnTo>
                  <a:lnTo>
                    <a:pt x="521" y="1289"/>
                  </a:lnTo>
                  <a:lnTo>
                    <a:pt x="416" y="1404"/>
                  </a:lnTo>
                  <a:lnTo>
                    <a:pt x="300" y="1519"/>
                  </a:lnTo>
                  <a:lnTo>
                    <a:pt x="172" y="1637"/>
                  </a:lnTo>
                  <a:lnTo>
                    <a:pt x="102" y="1697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6" name="Freeform 116">
              <a:extLst>
                <a:ext uri="{FF2B5EF4-FFF2-40B4-BE49-F238E27FC236}">
                  <a16:creationId xmlns:a16="http://schemas.microsoft.com/office/drawing/2014/main" id="{E9F7A411-F89A-40AF-B882-D161C24B0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6938" y="3219451"/>
              <a:ext cx="268288" cy="331788"/>
            </a:xfrm>
            <a:custGeom>
              <a:avLst/>
              <a:gdLst>
                <a:gd name="T0" fmla="*/ 578 w 673"/>
                <a:gd name="T1" fmla="*/ 417 h 834"/>
                <a:gd name="T2" fmla="*/ 579 w 673"/>
                <a:gd name="T3" fmla="*/ 473 h 834"/>
                <a:gd name="T4" fmla="*/ 591 w 673"/>
                <a:gd name="T5" fmla="*/ 582 h 834"/>
                <a:gd name="T6" fmla="*/ 616 w 673"/>
                <a:gd name="T7" fmla="*/ 687 h 834"/>
                <a:gd name="T8" fmla="*/ 651 w 673"/>
                <a:gd name="T9" fmla="*/ 787 h 834"/>
                <a:gd name="T10" fmla="*/ 673 w 673"/>
                <a:gd name="T11" fmla="*/ 834 h 834"/>
                <a:gd name="T12" fmla="*/ 0 w 673"/>
                <a:gd name="T13" fmla="*/ 834 h 834"/>
                <a:gd name="T14" fmla="*/ 22 w 673"/>
                <a:gd name="T15" fmla="*/ 787 h 834"/>
                <a:gd name="T16" fmla="*/ 57 w 673"/>
                <a:gd name="T17" fmla="*/ 687 h 834"/>
                <a:gd name="T18" fmla="*/ 82 w 673"/>
                <a:gd name="T19" fmla="*/ 582 h 834"/>
                <a:gd name="T20" fmla="*/ 93 w 673"/>
                <a:gd name="T21" fmla="*/ 473 h 834"/>
                <a:gd name="T22" fmla="*/ 95 w 673"/>
                <a:gd name="T23" fmla="*/ 417 h 834"/>
                <a:gd name="T24" fmla="*/ 93 w 673"/>
                <a:gd name="T25" fmla="*/ 361 h 834"/>
                <a:gd name="T26" fmla="*/ 82 w 673"/>
                <a:gd name="T27" fmla="*/ 253 h 834"/>
                <a:gd name="T28" fmla="*/ 57 w 673"/>
                <a:gd name="T29" fmla="*/ 148 h 834"/>
                <a:gd name="T30" fmla="*/ 22 w 673"/>
                <a:gd name="T31" fmla="*/ 48 h 834"/>
                <a:gd name="T32" fmla="*/ 0 w 673"/>
                <a:gd name="T33" fmla="*/ 0 h 834"/>
                <a:gd name="T34" fmla="*/ 673 w 673"/>
                <a:gd name="T35" fmla="*/ 0 h 834"/>
                <a:gd name="T36" fmla="*/ 651 w 673"/>
                <a:gd name="T37" fmla="*/ 48 h 834"/>
                <a:gd name="T38" fmla="*/ 616 w 673"/>
                <a:gd name="T39" fmla="*/ 148 h 834"/>
                <a:gd name="T40" fmla="*/ 591 w 673"/>
                <a:gd name="T41" fmla="*/ 253 h 834"/>
                <a:gd name="T42" fmla="*/ 579 w 673"/>
                <a:gd name="T43" fmla="*/ 361 h 834"/>
                <a:gd name="T44" fmla="*/ 578 w 673"/>
                <a:gd name="T45" fmla="*/ 417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3" h="834">
                  <a:moveTo>
                    <a:pt x="578" y="417"/>
                  </a:moveTo>
                  <a:lnTo>
                    <a:pt x="579" y="473"/>
                  </a:lnTo>
                  <a:lnTo>
                    <a:pt x="591" y="582"/>
                  </a:lnTo>
                  <a:lnTo>
                    <a:pt x="616" y="687"/>
                  </a:lnTo>
                  <a:lnTo>
                    <a:pt x="651" y="787"/>
                  </a:lnTo>
                  <a:lnTo>
                    <a:pt x="673" y="834"/>
                  </a:lnTo>
                  <a:lnTo>
                    <a:pt x="0" y="834"/>
                  </a:lnTo>
                  <a:lnTo>
                    <a:pt x="22" y="787"/>
                  </a:lnTo>
                  <a:lnTo>
                    <a:pt x="57" y="687"/>
                  </a:lnTo>
                  <a:lnTo>
                    <a:pt x="82" y="582"/>
                  </a:lnTo>
                  <a:lnTo>
                    <a:pt x="93" y="473"/>
                  </a:lnTo>
                  <a:lnTo>
                    <a:pt x="95" y="417"/>
                  </a:lnTo>
                  <a:lnTo>
                    <a:pt x="93" y="361"/>
                  </a:lnTo>
                  <a:lnTo>
                    <a:pt x="82" y="253"/>
                  </a:lnTo>
                  <a:lnTo>
                    <a:pt x="57" y="148"/>
                  </a:lnTo>
                  <a:lnTo>
                    <a:pt x="22" y="48"/>
                  </a:lnTo>
                  <a:lnTo>
                    <a:pt x="0" y="0"/>
                  </a:lnTo>
                  <a:lnTo>
                    <a:pt x="673" y="0"/>
                  </a:lnTo>
                  <a:lnTo>
                    <a:pt x="651" y="48"/>
                  </a:lnTo>
                  <a:lnTo>
                    <a:pt x="616" y="148"/>
                  </a:lnTo>
                  <a:lnTo>
                    <a:pt x="591" y="253"/>
                  </a:lnTo>
                  <a:lnTo>
                    <a:pt x="579" y="361"/>
                  </a:lnTo>
                  <a:lnTo>
                    <a:pt x="578" y="417"/>
                  </a:lnTo>
                  <a:close/>
                </a:path>
              </a:pathLst>
            </a:custGeom>
            <a:solidFill>
              <a:srgbClr val="E1A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7" name="Freeform 117">
              <a:extLst>
                <a:ext uri="{FF2B5EF4-FFF2-40B4-BE49-F238E27FC236}">
                  <a16:creationId xmlns:a16="http://schemas.microsoft.com/office/drawing/2014/main" id="{A9E643A9-33C0-4C11-B57E-9BDCB4A74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8338" y="2630488"/>
              <a:ext cx="725488" cy="660400"/>
            </a:xfrm>
            <a:custGeom>
              <a:avLst/>
              <a:gdLst>
                <a:gd name="T0" fmla="*/ 0 w 1831"/>
                <a:gd name="T1" fmla="*/ 0 h 1663"/>
                <a:gd name="T2" fmla="*/ 0 w 1831"/>
                <a:gd name="T3" fmla="*/ 748 h 1663"/>
                <a:gd name="T4" fmla="*/ 1 w 1831"/>
                <a:gd name="T5" fmla="*/ 794 h 1663"/>
                <a:gd name="T6" fmla="*/ 10 w 1831"/>
                <a:gd name="T7" fmla="*/ 886 h 1663"/>
                <a:gd name="T8" fmla="*/ 28 w 1831"/>
                <a:gd name="T9" fmla="*/ 976 h 1663"/>
                <a:gd name="T10" fmla="*/ 55 w 1831"/>
                <a:gd name="T11" fmla="*/ 1063 h 1663"/>
                <a:gd name="T12" fmla="*/ 89 w 1831"/>
                <a:gd name="T13" fmla="*/ 1144 h 1663"/>
                <a:gd name="T14" fmla="*/ 132 w 1831"/>
                <a:gd name="T15" fmla="*/ 1222 h 1663"/>
                <a:gd name="T16" fmla="*/ 181 w 1831"/>
                <a:gd name="T17" fmla="*/ 1296 h 1663"/>
                <a:gd name="T18" fmla="*/ 237 w 1831"/>
                <a:gd name="T19" fmla="*/ 1363 h 1663"/>
                <a:gd name="T20" fmla="*/ 299 w 1831"/>
                <a:gd name="T21" fmla="*/ 1425 h 1663"/>
                <a:gd name="T22" fmla="*/ 368 w 1831"/>
                <a:gd name="T23" fmla="*/ 1481 h 1663"/>
                <a:gd name="T24" fmla="*/ 440 w 1831"/>
                <a:gd name="T25" fmla="*/ 1530 h 1663"/>
                <a:gd name="T26" fmla="*/ 518 w 1831"/>
                <a:gd name="T27" fmla="*/ 1573 h 1663"/>
                <a:gd name="T28" fmla="*/ 600 w 1831"/>
                <a:gd name="T29" fmla="*/ 1608 h 1663"/>
                <a:gd name="T30" fmla="*/ 686 w 1831"/>
                <a:gd name="T31" fmla="*/ 1634 h 1663"/>
                <a:gd name="T32" fmla="*/ 776 w 1831"/>
                <a:gd name="T33" fmla="*/ 1652 h 1663"/>
                <a:gd name="T34" fmla="*/ 868 w 1831"/>
                <a:gd name="T35" fmla="*/ 1663 h 1663"/>
                <a:gd name="T36" fmla="*/ 916 w 1831"/>
                <a:gd name="T37" fmla="*/ 1663 h 1663"/>
                <a:gd name="T38" fmla="*/ 963 w 1831"/>
                <a:gd name="T39" fmla="*/ 1663 h 1663"/>
                <a:gd name="T40" fmla="*/ 1055 w 1831"/>
                <a:gd name="T41" fmla="*/ 1652 h 1663"/>
                <a:gd name="T42" fmla="*/ 1144 w 1831"/>
                <a:gd name="T43" fmla="*/ 1634 h 1663"/>
                <a:gd name="T44" fmla="*/ 1231 w 1831"/>
                <a:gd name="T45" fmla="*/ 1608 h 1663"/>
                <a:gd name="T46" fmla="*/ 1312 w 1831"/>
                <a:gd name="T47" fmla="*/ 1573 h 1663"/>
                <a:gd name="T48" fmla="*/ 1390 w 1831"/>
                <a:gd name="T49" fmla="*/ 1530 h 1663"/>
                <a:gd name="T50" fmla="*/ 1463 w 1831"/>
                <a:gd name="T51" fmla="*/ 1481 h 1663"/>
                <a:gd name="T52" fmla="*/ 1532 w 1831"/>
                <a:gd name="T53" fmla="*/ 1425 h 1663"/>
                <a:gd name="T54" fmla="*/ 1594 w 1831"/>
                <a:gd name="T55" fmla="*/ 1363 h 1663"/>
                <a:gd name="T56" fmla="*/ 1649 w 1831"/>
                <a:gd name="T57" fmla="*/ 1296 h 1663"/>
                <a:gd name="T58" fmla="*/ 1699 w 1831"/>
                <a:gd name="T59" fmla="*/ 1222 h 1663"/>
                <a:gd name="T60" fmla="*/ 1742 w 1831"/>
                <a:gd name="T61" fmla="*/ 1144 h 1663"/>
                <a:gd name="T62" fmla="*/ 1777 w 1831"/>
                <a:gd name="T63" fmla="*/ 1063 h 1663"/>
                <a:gd name="T64" fmla="*/ 1802 w 1831"/>
                <a:gd name="T65" fmla="*/ 976 h 1663"/>
                <a:gd name="T66" fmla="*/ 1821 w 1831"/>
                <a:gd name="T67" fmla="*/ 886 h 1663"/>
                <a:gd name="T68" fmla="*/ 1831 w 1831"/>
                <a:gd name="T69" fmla="*/ 794 h 1663"/>
                <a:gd name="T70" fmla="*/ 1831 w 1831"/>
                <a:gd name="T71" fmla="*/ 748 h 1663"/>
                <a:gd name="T72" fmla="*/ 1831 w 1831"/>
                <a:gd name="T73" fmla="*/ 0 h 1663"/>
                <a:gd name="T74" fmla="*/ 0 w 1831"/>
                <a:gd name="T75" fmla="*/ 0 h 1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31" h="1663">
                  <a:moveTo>
                    <a:pt x="0" y="0"/>
                  </a:moveTo>
                  <a:lnTo>
                    <a:pt x="0" y="748"/>
                  </a:lnTo>
                  <a:lnTo>
                    <a:pt x="1" y="794"/>
                  </a:lnTo>
                  <a:lnTo>
                    <a:pt x="10" y="886"/>
                  </a:lnTo>
                  <a:lnTo>
                    <a:pt x="28" y="976"/>
                  </a:lnTo>
                  <a:lnTo>
                    <a:pt x="55" y="1063"/>
                  </a:lnTo>
                  <a:lnTo>
                    <a:pt x="89" y="1144"/>
                  </a:lnTo>
                  <a:lnTo>
                    <a:pt x="132" y="1222"/>
                  </a:lnTo>
                  <a:lnTo>
                    <a:pt x="181" y="1296"/>
                  </a:lnTo>
                  <a:lnTo>
                    <a:pt x="237" y="1363"/>
                  </a:lnTo>
                  <a:lnTo>
                    <a:pt x="299" y="1425"/>
                  </a:lnTo>
                  <a:lnTo>
                    <a:pt x="368" y="1481"/>
                  </a:lnTo>
                  <a:lnTo>
                    <a:pt x="440" y="1530"/>
                  </a:lnTo>
                  <a:lnTo>
                    <a:pt x="518" y="1573"/>
                  </a:lnTo>
                  <a:lnTo>
                    <a:pt x="600" y="1608"/>
                  </a:lnTo>
                  <a:lnTo>
                    <a:pt x="686" y="1634"/>
                  </a:lnTo>
                  <a:lnTo>
                    <a:pt x="776" y="1652"/>
                  </a:lnTo>
                  <a:lnTo>
                    <a:pt x="868" y="1663"/>
                  </a:lnTo>
                  <a:lnTo>
                    <a:pt x="916" y="1663"/>
                  </a:lnTo>
                  <a:lnTo>
                    <a:pt x="963" y="1663"/>
                  </a:lnTo>
                  <a:lnTo>
                    <a:pt x="1055" y="1652"/>
                  </a:lnTo>
                  <a:lnTo>
                    <a:pt x="1144" y="1634"/>
                  </a:lnTo>
                  <a:lnTo>
                    <a:pt x="1231" y="1608"/>
                  </a:lnTo>
                  <a:lnTo>
                    <a:pt x="1312" y="1573"/>
                  </a:lnTo>
                  <a:lnTo>
                    <a:pt x="1390" y="1530"/>
                  </a:lnTo>
                  <a:lnTo>
                    <a:pt x="1463" y="1481"/>
                  </a:lnTo>
                  <a:lnTo>
                    <a:pt x="1532" y="1425"/>
                  </a:lnTo>
                  <a:lnTo>
                    <a:pt x="1594" y="1363"/>
                  </a:lnTo>
                  <a:lnTo>
                    <a:pt x="1649" y="1296"/>
                  </a:lnTo>
                  <a:lnTo>
                    <a:pt x="1699" y="1222"/>
                  </a:lnTo>
                  <a:lnTo>
                    <a:pt x="1742" y="1144"/>
                  </a:lnTo>
                  <a:lnTo>
                    <a:pt x="1777" y="1063"/>
                  </a:lnTo>
                  <a:lnTo>
                    <a:pt x="1802" y="976"/>
                  </a:lnTo>
                  <a:lnTo>
                    <a:pt x="1821" y="886"/>
                  </a:lnTo>
                  <a:lnTo>
                    <a:pt x="1831" y="794"/>
                  </a:lnTo>
                  <a:lnTo>
                    <a:pt x="1831" y="748"/>
                  </a:lnTo>
                  <a:lnTo>
                    <a:pt x="18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s-CO" sz="1400"/>
                <a:t>Decisión asertiva</a:t>
              </a:r>
            </a:p>
          </p:txBody>
        </p:sp>
        <p:sp>
          <p:nvSpPr>
            <p:cNvPr id="38" name="Freeform 118">
              <a:extLst>
                <a:ext uri="{FF2B5EF4-FFF2-40B4-BE49-F238E27FC236}">
                  <a16:creationId xmlns:a16="http://schemas.microsoft.com/office/drawing/2014/main" id="{708D3005-5E4B-42D6-B21C-45BA9903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676" y="3495676"/>
              <a:ext cx="404813" cy="203200"/>
            </a:xfrm>
            <a:custGeom>
              <a:avLst/>
              <a:gdLst>
                <a:gd name="T0" fmla="*/ 1020 w 1020"/>
                <a:gd name="T1" fmla="*/ 510 h 510"/>
                <a:gd name="T2" fmla="*/ 1019 w 1020"/>
                <a:gd name="T3" fmla="*/ 459 h 510"/>
                <a:gd name="T4" fmla="*/ 998 w 1020"/>
                <a:gd name="T5" fmla="*/ 359 h 510"/>
                <a:gd name="T6" fmla="*/ 959 w 1020"/>
                <a:gd name="T7" fmla="*/ 267 h 510"/>
                <a:gd name="T8" fmla="*/ 905 w 1020"/>
                <a:gd name="T9" fmla="*/ 185 h 510"/>
                <a:gd name="T10" fmla="*/ 835 w 1020"/>
                <a:gd name="T11" fmla="*/ 116 h 510"/>
                <a:gd name="T12" fmla="*/ 753 w 1020"/>
                <a:gd name="T13" fmla="*/ 61 h 510"/>
                <a:gd name="T14" fmla="*/ 663 w 1020"/>
                <a:gd name="T15" fmla="*/ 22 h 510"/>
                <a:gd name="T16" fmla="*/ 563 w 1020"/>
                <a:gd name="T17" fmla="*/ 2 h 510"/>
                <a:gd name="T18" fmla="*/ 511 w 1020"/>
                <a:gd name="T19" fmla="*/ 0 h 510"/>
                <a:gd name="T20" fmla="*/ 458 w 1020"/>
                <a:gd name="T21" fmla="*/ 2 h 510"/>
                <a:gd name="T22" fmla="*/ 358 w 1020"/>
                <a:gd name="T23" fmla="*/ 22 h 510"/>
                <a:gd name="T24" fmla="*/ 267 w 1020"/>
                <a:gd name="T25" fmla="*/ 61 h 510"/>
                <a:gd name="T26" fmla="*/ 186 w 1020"/>
                <a:gd name="T27" fmla="*/ 116 h 510"/>
                <a:gd name="T28" fmla="*/ 116 w 1020"/>
                <a:gd name="T29" fmla="*/ 185 h 510"/>
                <a:gd name="T30" fmla="*/ 61 w 1020"/>
                <a:gd name="T31" fmla="*/ 267 h 510"/>
                <a:gd name="T32" fmla="*/ 22 w 1020"/>
                <a:gd name="T33" fmla="*/ 359 h 510"/>
                <a:gd name="T34" fmla="*/ 2 w 1020"/>
                <a:gd name="T35" fmla="*/ 459 h 510"/>
                <a:gd name="T36" fmla="*/ 0 w 1020"/>
                <a:gd name="T37" fmla="*/ 510 h 510"/>
                <a:gd name="T38" fmla="*/ 1020 w 1020"/>
                <a:gd name="T39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20" h="510">
                  <a:moveTo>
                    <a:pt x="1020" y="510"/>
                  </a:moveTo>
                  <a:lnTo>
                    <a:pt x="1019" y="459"/>
                  </a:lnTo>
                  <a:lnTo>
                    <a:pt x="998" y="359"/>
                  </a:lnTo>
                  <a:lnTo>
                    <a:pt x="959" y="267"/>
                  </a:lnTo>
                  <a:lnTo>
                    <a:pt x="905" y="185"/>
                  </a:lnTo>
                  <a:lnTo>
                    <a:pt x="835" y="116"/>
                  </a:lnTo>
                  <a:lnTo>
                    <a:pt x="753" y="61"/>
                  </a:lnTo>
                  <a:lnTo>
                    <a:pt x="663" y="22"/>
                  </a:lnTo>
                  <a:lnTo>
                    <a:pt x="563" y="2"/>
                  </a:lnTo>
                  <a:lnTo>
                    <a:pt x="511" y="0"/>
                  </a:lnTo>
                  <a:lnTo>
                    <a:pt x="458" y="2"/>
                  </a:lnTo>
                  <a:lnTo>
                    <a:pt x="358" y="22"/>
                  </a:lnTo>
                  <a:lnTo>
                    <a:pt x="267" y="61"/>
                  </a:lnTo>
                  <a:lnTo>
                    <a:pt x="186" y="116"/>
                  </a:lnTo>
                  <a:lnTo>
                    <a:pt x="116" y="185"/>
                  </a:lnTo>
                  <a:lnTo>
                    <a:pt x="61" y="267"/>
                  </a:lnTo>
                  <a:lnTo>
                    <a:pt x="22" y="359"/>
                  </a:lnTo>
                  <a:lnTo>
                    <a:pt x="2" y="459"/>
                  </a:lnTo>
                  <a:lnTo>
                    <a:pt x="0" y="510"/>
                  </a:lnTo>
                  <a:lnTo>
                    <a:pt x="1020" y="510"/>
                  </a:lnTo>
                  <a:close/>
                </a:path>
              </a:pathLst>
            </a:custGeom>
            <a:solidFill>
              <a:srgbClr val="E1A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9" name="Rectangle 119">
              <a:extLst>
                <a:ext uri="{FF2B5EF4-FFF2-40B4-BE49-F238E27FC236}">
                  <a16:creationId xmlns:a16="http://schemas.microsoft.com/office/drawing/2014/main" id="{D762C4B6-91A8-41DD-8C6F-395C608E79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8176" y="3978276"/>
              <a:ext cx="785813" cy="101600"/>
            </a:xfrm>
            <a:prstGeom prst="rect">
              <a:avLst/>
            </a:prstGeom>
            <a:solidFill>
              <a:srgbClr val="C68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40" name="Rectangle 120">
              <a:extLst>
                <a:ext uri="{FF2B5EF4-FFF2-40B4-BE49-F238E27FC236}">
                  <a16:creationId xmlns:a16="http://schemas.microsoft.com/office/drawing/2014/main" id="{A83032BF-3B85-4CFA-A16B-3DB3F0475B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3678238"/>
              <a:ext cx="617538" cy="300038"/>
            </a:xfrm>
            <a:prstGeom prst="rect">
              <a:avLst/>
            </a:pr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41" name="Freeform 121">
              <a:extLst>
                <a:ext uri="{FF2B5EF4-FFF2-40B4-BE49-F238E27FC236}">
                  <a16:creationId xmlns:a16="http://schemas.microsoft.com/office/drawing/2014/main" id="{4A342096-8E02-4924-BFF0-0D3F1169C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676" y="3733801"/>
              <a:ext cx="404813" cy="188913"/>
            </a:xfrm>
            <a:custGeom>
              <a:avLst/>
              <a:gdLst>
                <a:gd name="T0" fmla="*/ 919 w 1020"/>
                <a:gd name="T1" fmla="*/ 473 h 473"/>
                <a:gd name="T2" fmla="*/ 101 w 1020"/>
                <a:gd name="T3" fmla="*/ 473 h 473"/>
                <a:gd name="T4" fmla="*/ 100 w 1020"/>
                <a:gd name="T5" fmla="*/ 452 h 473"/>
                <a:gd name="T6" fmla="*/ 84 w 1020"/>
                <a:gd name="T7" fmla="*/ 416 h 473"/>
                <a:gd name="T8" fmla="*/ 57 w 1020"/>
                <a:gd name="T9" fmla="*/ 389 h 473"/>
                <a:gd name="T10" fmla="*/ 21 w 1020"/>
                <a:gd name="T11" fmla="*/ 373 h 473"/>
                <a:gd name="T12" fmla="*/ 0 w 1020"/>
                <a:gd name="T13" fmla="*/ 372 h 473"/>
                <a:gd name="T14" fmla="*/ 0 w 1020"/>
                <a:gd name="T15" fmla="*/ 101 h 473"/>
                <a:gd name="T16" fmla="*/ 21 w 1020"/>
                <a:gd name="T17" fmla="*/ 98 h 473"/>
                <a:gd name="T18" fmla="*/ 57 w 1020"/>
                <a:gd name="T19" fmla="*/ 84 h 473"/>
                <a:gd name="T20" fmla="*/ 84 w 1020"/>
                <a:gd name="T21" fmla="*/ 56 h 473"/>
                <a:gd name="T22" fmla="*/ 100 w 1020"/>
                <a:gd name="T23" fmla="*/ 19 h 473"/>
                <a:gd name="T24" fmla="*/ 101 w 1020"/>
                <a:gd name="T25" fmla="*/ 0 h 473"/>
                <a:gd name="T26" fmla="*/ 919 w 1020"/>
                <a:gd name="T27" fmla="*/ 0 h 473"/>
                <a:gd name="T28" fmla="*/ 920 w 1020"/>
                <a:gd name="T29" fmla="*/ 19 h 473"/>
                <a:gd name="T30" fmla="*/ 936 w 1020"/>
                <a:gd name="T31" fmla="*/ 56 h 473"/>
                <a:gd name="T32" fmla="*/ 963 w 1020"/>
                <a:gd name="T33" fmla="*/ 84 h 473"/>
                <a:gd name="T34" fmla="*/ 1000 w 1020"/>
                <a:gd name="T35" fmla="*/ 98 h 473"/>
                <a:gd name="T36" fmla="*/ 1020 w 1020"/>
                <a:gd name="T37" fmla="*/ 101 h 473"/>
                <a:gd name="T38" fmla="*/ 1020 w 1020"/>
                <a:gd name="T39" fmla="*/ 236 h 473"/>
                <a:gd name="T40" fmla="*/ 1020 w 1020"/>
                <a:gd name="T41" fmla="*/ 372 h 473"/>
                <a:gd name="T42" fmla="*/ 1000 w 1020"/>
                <a:gd name="T43" fmla="*/ 373 h 473"/>
                <a:gd name="T44" fmla="*/ 963 w 1020"/>
                <a:gd name="T45" fmla="*/ 389 h 473"/>
                <a:gd name="T46" fmla="*/ 936 w 1020"/>
                <a:gd name="T47" fmla="*/ 416 h 473"/>
                <a:gd name="T48" fmla="*/ 920 w 1020"/>
                <a:gd name="T49" fmla="*/ 452 h 473"/>
                <a:gd name="T50" fmla="*/ 919 w 1020"/>
                <a:gd name="T51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0" h="473">
                  <a:moveTo>
                    <a:pt x="919" y="473"/>
                  </a:moveTo>
                  <a:lnTo>
                    <a:pt x="101" y="473"/>
                  </a:lnTo>
                  <a:lnTo>
                    <a:pt x="100" y="452"/>
                  </a:lnTo>
                  <a:lnTo>
                    <a:pt x="84" y="416"/>
                  </a:lnTo>
                  <a:lnTo>
                    <a:pt x="57" y="389"/>
                  </a:lnTo>
                  <a:lnTo>
                    <a:pt x="21" y="373"/>
                  </a:lnTo>
                  <a:lnTo>
                    <a:pt x="0" y="372"/>
                  </a:lnTo>
                  <a:lnTo>
                    <a:pt x="0" y="101"/>
                  </a:lnTo>
                  <a:lnTo>
                    <a:pt x="21" y="98"/>
                  </a:lnTo>
                  <a:lnTo>
                    <a:pt x="57" y="84"/>
                  </a:lnTo>
                  <a:lnTo>
                    <a:pt x="84" y="56"/>
                  </a:lnTo>
                  <a:lnTo>
                    <a:pt x="100" y="19"/>
                  </a:lnTo>
                  <a:lnTo>
                    <a:pt x="101" y="0"/>
                  </a:lnTo>
                  <a:lnTo>
                    <a:pt x="919" y="0"/>
                  </a:lnTo>
                  <a:lnTo>
                    <a:pt x="920" y="19"/>
                  </a:lnTo>
                  <a:lnTo>
                    <a:pt x="936" y="56"/>
                  </a:lnTo>
                  <a:lnTo>
                    <a:pt x="963" y="84"/>
                  </a:lnTo>
                  <a:lnTo>
                    <a:pt x="1000" y="98"/>
                  </a:lnTo>
                  <a:lnTo>
                    <a:pt x="1020" y="101"/>
                  </a:lnTo>
                  <a:lnTo>
                    <a:pt x="1020" y="236"/>
                  </a:lnTo>
                  <a:lnTo>
                    <a:pt x="1020" y="372"/>
                  </a:lnTo>
                  <a:lnTo>
                    <a:pt x="1000" y="373"/>
                  </a:lnTo>
                  <a:lnTo>
                    <a:pt x="963" y="389"/>
                  </a:lnTo>
                  <a:lnTo>
                    <a:pt x="936" y="416"/>
                  </a:lnTo>
                  <a:lnTo>
                    <a:pt x="920" y="452"/>
                  </a:lnTo>
                  <a:lnTo>
                    <a:pt x="919" y="473"/>
                  </a:lnTo>
                  <a:close/>
                </a:path>
              </a:pathLst>
            </a:custGeom>
            <a:solidFill>
              <a:srgbClr val="C68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</p:grpSp>
      <p:grpSp>
        <p:nvGrpSpPr>
          <p:cNvPr id="42" name="Group 97">
            <a:extLst>
              <a:ext uri="{FF2B5EF4-FFF2-40B4-BE49-F238E27FC236}">
                <a16:creationId xmlns:a16="http://schemas.microsoft.com/office/drawing/2014/main" id="{8E981FAA-77CE-4F2A-A5DC-5CDE95F3D2CC}"/>
              </a:ext>
            </a:extLst>
          </p:cNvPr>
          <p:cNvGrpSpPr/>
          <p:nvPr/>
        </p:nvGrpSpPr>
        <p:grpSpPr>
          <a:xfrm>
            <a:off x="872034" y="4059524"/>
            <a:ext cx="8265258" cy="1940468"/>
            <a:chOff x="1143000" y="2315679"/>
            <a:chExt cx="8436202" cy="3180246"/>
          </a:xfrm>
        </p:grpSpPr>
        <p:grpSp>
          <p:nvGrpSpPr>
            <p:cNvPr id="43" name="Group 71">
              <a:extLst>
                <a:ext uri="{FF2B5EF4-FFF2-40B4-BE49-F238E27FC236}">
                  <a16:creationId xmlns:a16="http://schemas.microsoft.com/office/drawing/2014/main" id="{D2691887-98CE-4727-B080-28C283C42CDC}"/>
                </a:ext>
              </a:extLst>
            </p:cNvPr>
            <p:cNvGrpSpPr/>
            <p:nvPr/>
          </p:nvGrpSpPr>
          <p:grpSpPr>
            <a:xfrm>
              <a:off x="1143000" y="2315679"/>
              <a:ext cx="8436202" cy="3180246"/>
              <a:chOff x="2493141" y="2782404"/>
              <a:chExt cx="7667086" cy="2423160"/>
            </a:xfrm>
          </p:grpSpPr>
          <p:sp>
            <p:nvSpPr>
              <p:cNvPr id="59" name="Freeform 68">
                <a:extLst>
                  <a:ext uri="{FF2B5EF4-FFF2-40B4-BE49-F238E27FC236}">
                    <a16:creationId xmlns:a16="http://schemas.microsoft.com/office/drawing/2014/main" id="{B0240DC6-2737-4621-B3DB-4C10415C85EA}"/>
                  </a:ext>
                </a:extLst>
              </p:cNvPr>
              <p:cNvSpPr/>
              <p:nvPr/>
            </p:nvSpPr>
            <p:spPr>
              <a:xfrm>
                <a:off x="4442380" y="2928227"/>
                <a:ext cx="144084" cy="2130552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Freeform 69">
                <a:extLst>
                  <a:ext uri="{FF2B5EF4-FFF2-40B4-BE49-F238E27FC236}">
                    <a16:creationId xmlns:a16="http://schemas.microsoft.com/office/drawing/2014/main" id="{1E98B0D9-7004-46B9-8451-8C057B00D302}"/>
                  </a:ext>
                </a:extLst>
              </p:cNvPr>
              <p:cNvSpPr/>
              <p:nvPr/>
            </p:nvSpPr>
            <p:spPr>
              <a:xfrm>
                <a:off x="6462712" y="3079525"/>
                <a:ext cx="92717" cy="1828800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1" name="Freeform 70">
                <a:extLst>
                  <a:ext uri="{FF2B5EF4-FFF2-40B4-BE49-F238E27FC236}">
                    <a16:creationId xmlns:a16="http://schemas.microsoft.com/office/drawing/2014/main" id="{63E1E77E-E823-4B95-A066-445C36FFA4AC}"/>
                  </a:ext>
                </a:extLst>
              </p:cNvPr>
              <p:cNvSpPr/>
              <p:nvPr/>
            </p:nvSpPr>
            <p:spPr>
              <a:xfrm>
                <a:off x="8478016" y="3231670"/>
                <a:ext cx="61804" cy="1527048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Pentagon 62">
                <a:extLst>
                  <a:ext uri="{FF2B5EF4-FFF2-40B4-BE49-F238E27FC236}">
                    <a16:creationId xmlns:a16="http://schemas.microsoft.com/office/drawing/2014/main" id="{1AB96CFD-4E64-4D75-86F3-E119B0426024}"/>
                  </a:ext>
                </a:extLst>
              </p:cNvPr>
              <p:cNvSpPr/>
              <p:nvPr/>
            </p:nvSpPr>
            <p:spPr>
              <a:xfrm>
                <a:off x="3576439" y="3820872"/>
                <a:ext cx="968027" cy="345595"/>
              </a:xfrm>
              <a:prstGeom prst="homePlat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3" name="Pentagon 63">
                <a:extLst>
                  <a:ext uri="{FF2B5EF4-FFF2-40B4-BE49-F238E27FC236}">
                    <a16:creationId xmlns:a16="http://schemas.microsoft.com/office/drawing/2014/main" id="{76A818F1-1E2F-4E3E-8E30-5D9FD45711F3}"/>
                  </a:ext>
                </a:extLst>
              </p:cNvPr>
              <p:cNvSpPr/>
              <p:nvPr/>
            </p:nvSpPr>
            <p:spPr>
              <a:xfrm>
                <a:off x="5579534" y="3820872"/>
                <a:ext cx="968027" cy="345595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4" name="Pentagon 64">
                <a:extLst>
                  <a:ext uri="{FF2B5EF4-FFF2-40B4-BE49-F238E27FC236}">
                    <a16:creationId xmlns:a16="http://schemas.microsoft.com/office/drawing/2014/main" id="{56BEB846-3F93-46A4-A1B2-9E80AD2A8550}"/>
                  </a:ext>
                </a:extLst>
              </p:cNvPr>
              <p:cNvSpPr/>
              <p:nvPr/>
            </p:nvSpPr>
            <p:spPr>
              <a:xfrm>
                <a:off x="7558373" y="3820871"/>
                <a:ext cx="968027" cy="345595"/>
              </a:xfrm>
              <a:prstGeom prst="homePlat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5" name="Pentagon 65">
                <a:extLst>
                  <a:ext uri="{FF2B5EF4-FFF2-40B4-BE49-F238E27FC236}">
                    <a16:creationId xmlns:a16="http://schemas.microsoft.com/office/drawing/2014/main" id="{10D32905-0921-4A12-ABDB-0CC6F77DA964}"/>
                  </a:ext>
                </a:extLst>
              </p:cNvPr>
              <p:cNvSpPr/>
              <p:nvPr/>
            </p:nvSpPr>
            <p:spPr>
              <a:xfrm>
                <a:off x="9503838" y="3820871"/>
                <a:ext cx="656389" cy="345595"/>
              </a:xfrm>
              <a:prstGeom prst="homePlat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6" name="Freeform 67">
                <a:extLst>
                  <a:ext uri="{FF2B5EF4-FFF2-40B4-BE49-F238E27FC236}">
                    <a16:creationId xmlns:a16="http://schemas.microsoft.com/office/drawing/2014/main" id="{2C3E7187-2A73-459C-B24B-D6535BAA435A}"/>
                  </a:ext>
                </a:extLst>
              </p:cNvPr>
              <p:cNvSpPr/>
              <p:nvPr/>
            </p:nvSpPr>
            <p:spPr>
              <a:xfrm>
                <a:off x="2493141" y="2782404"/>
                <a:ext cx="144084" cy="2423160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Freeform 58">
                <a:extLst>
                  <a:ext uri="{FF2B5EF4-FFF2-40B4-BE49-F238E27FC236}">
                    <a16:creationId xmlns:a16="http://schemas.microsoft.com/office/drawing/2014/main" id="{93E44472-F58E-45E5-AFC8-82472B7B096C}"/>
                  </a:ext>
                </a:extLst>
              </p:cNvPr>
              <p:cNvSpPr/>
              <p:nvPr/>
            </p:nvSpPr>
            <p:spPr>
              <a:xfrm rot="5400000">
                <a:off x="2116991" y="3278063"/>
                <a:ext cx="2422532" cy="1431220"/>
              </a:xfrm>
              <a:custGeom>
                <a:avLst/>
                <a:gdLst>
                  <a:gd name="connsiteX0" fmla="*/ 0 w 2422532"/>
                  <a:gd name="connsiteY0" fmla="*/ 1031331 h 1031331"/>
                  <a:gd name="connsiteX1" fmla="*/ 72672 w 2422532"/>
                  <a:gd name="connsiteY1" fmla="*/ 63695 h 1031331"/>
                  <a:gd name="connsiteX2" fmla="*/ 96342 w 2422532"/>
                  <a:gd name="connsiteY2" fmla="*/ 60256 h 1031331"/>
                  <a:gd name="connsiteX3" fmla="*/ 1211268 w 2422532"/>
                  <a:gd name="connsiteY3" fmla="*/ 0 h 1031331"/>
                  <a:gd name="connsiteX4" fmla="*/ 2326194 w 2422532"/>
                  <a:gd name="connsiteY4" fmla="*/ 60256 h 1031331"/>
                  <a:gd name="connsiteX5" fmla="*/ 2349860 w 2422532"/>
                  <a:gd name="connsiteY5" fmla="*/ 63694 h 1031331"/>
                  <a:gd name="connsiteX6" fmla="*/ 2422532 w 2422532"/>
                  <a:gd name="connsiteY6" fmla="*/ 1031331 h 1031331"/>
                  <a:gd name="connsiteX7" fmla="*/ 2261543 w 2422532"/>
                  <a:gd name="connsiteY7" fmla="*/ 1011218 h 1031331"/>
                  <a:gd name="connsiteX8" fmla="*/ 1211266 w 2422532"/>
                  <a:gd name="connsiteY8" fmla="*/ 958033 h 1031331"/>
                  <a:gd name="connsiteX9" fmla="*/ 160989 w 2422532"/>
                  <a:gd name="connsiteY9" fmla="*/ 1011218 h 1031331"/>
                  <a:gd name="connsiteX10" fmla="*/ 0 w 2422532"/>
                  <a:gd name="connsiteY10" fmla="*/ 1031331 h 103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22532" h="1031331">
                    <a:moveTo>
                      <a:pt x="0" y="1031331"/>
                    </a:moveTo>
                    <a:lnTo>
                      <a:pt x="72672" y="63695"/>
                    </a:lnTo>
                    <a:lnTo>
                      <a:pt x="96342" y="60256"/>
                    </a:lnTo>
                    <a:cubicBezTo>
                      <a:pt x="439025" y="21456"/>
                      <a:pt x="815787" y="0"/>
                      <a:pt x="1211268" y="0"/>
                    </a:cubicBezTo>
                    <a:cubicBezTo>
                      <a:pt x="1606749" y="0"/>
                      <a:pt x="1983510" y="21456"/>
                      <a:pt x="2326194" y="60256"/>
                    </a:cubicBezTo>
                    <a:lnTo>
                      <a:pt x="2349860" y="63694"/>
                    </a:lnTo>
                    <a:lnTo>
                      <a:pt x="2422532" y="1031331"/>
                    </a:lnTo>
                    <a:lnTo>
                      <a:pt x="2261543" y="1011218"/>
                    </a:lnTo>
                    <a:cubicBezTo>
                      <a:pt x="1936340" y="976890"/>
                      <a:pt x="1582030" y="958033"/>
                      <a:pt x="1211266" y="958033"/>
                    </a:cubicBezTo>
                    <a:cubicBezTo>
                      <a:pt x="840502" y="958033"/>
                      <a:pt x="486192" y="976890"/>
                      <a:pt x="160989" y="1011218"/>
                    </a:cubicBezTo>
                    <a:lnTo>
                      <a:pt x="0" y="1031331"/>
                    </a:lnTo>
                    <a:close/>
                  </a:path>
                </a:pathLst>
              </a:custGeom>
              <a:solidFill>
                <a:schemeClr val="tx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Freeform 59">
                <a:extLst>
                  <a:ext uri="{FF2B5EF4-FFF2-40B4-BE49-F238E27FC236}">
                    <a16:creationId xmlns:a16="http://schemas.microsoft.com/office/drawing/2014/main" id="{F0D2DA07-073A-4D40-AF3A-2851D484762B}"/>
                  </a:ext>
                </a:extLst>
              </p:cNvPr>
              <p:cNvSpPr/>
              <p:nvPr/>
            </p:nvSpPr>
            <p:spPr>
              <a:xfrm rot="5400000">
                <a:off x="4044516" y="3456221"/>
                <a:ext cx="2130217" cy="1074898"/>
              </a:xfrm>
              <a:custGeom>
                <a:avLst/>
                <a:gdLst>
                  <a:gd name="connsiteX0" fmla="*/ 0 w 2130217"/>
                  <a:gd name="connsiteY0" fmla="*/ 1074898 h 1074898"/>
                  <a:gd name="connsiteX1" fmla="*/ 77137 w 2130217"/>
                  <a:gd name="connsiteY1" fmla="*/ 47817 h 1074898"/>
                  <a:gd name="connsiteX2" fmla="*/ 213347 w 2130217"/>
                  <a:gd name="connsiteY2" fmla="*/ 34472 h 1074898"/>
                  <a:gd name="connsiteX3" fmla="*/ 1065111 w 2130217"/>
                  <a:gd name="connsiteY3" fmla="*/ 0 h 1074898"/>
                  <a:gd name="connsiteX4" fmla="*/ 1916875 w 2130217"/>
                  <a:gd name="connsiteY4" fmla="*/ 34472 h 1074898"/>
                  <a:gd name="connsiteX5" fmla="*/ 2053081 w 2130217"/>
                  <a:gd name="connsiteY5" fmla="*/ 47817 h 1074898"/>
                  <a:gd name="connsiteX6" fmla="*/ 2130217 w 2130217"/>
                  <a:gd name="connsiteY6" fmla="*/ 1074898 h 1074898"/>
                  <a:gd name="connsiteX7" fmla="*/ 2115386 w 2130217"/>
                  <a:gd name="connsiteY7" fmla="*/ 1073045 h 1074898"/>
                  <a:gd name="connsiteX8" fmla="*/ 1065109 w 2130217"/>
                  <a:gd name="connsiteY8" fmla="*/ 1019860 h 1074898"/>
                  <a:gd name="connsiteX9" fmla="*/ 14832 w 2130217"/>
                  <a:gd name="connsiteY9" fmla="*/ 1073045 h 1074898"/>
                  <a:gd name="connsiteX10" fmla="*/ 0 w 2130217"/>
                  <a:gd name="connsiteY10" fmla="*/ 1074898 h 1074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30217" h="1074898">
                    <a:moveTo>
                      <a:pt x="0" y="1074898"/>
                    </a:moveTo>
                    <a:lnTo>
                      <a:pt x="77137" y="47817"/>
                    </a:lnTo>
                    <a:lnTo>
                      <a:pt x="213347" y="34472"/>
                    </a:lnTo>
                    <a:cubicBezTo>
                      <a:pt x="482419" y="12069"/>
                      <a:pt x="768500" y="0"/>
                      <a:pt x="1065111" y="0"/>
                    </a:cubicBezTo>
                    <a:cubicBezTo>
                      <a:pt x="1361722" y="0"/>
                      <a:pt x="1647802" y="12069"/>
                      <a:pt x="1916875" y="34472"/>
                    </a:cubicBezTo>
                    <a:lnTo>
                      <a:pt x="2053081" y="47817"/>
                    </a:lnTo>
                    <a:lnTo>
                      <a:pt x="2130217" y="1074898"/>
                    </a:lnTo>
                    <a:lnTo>
                      <a:pt x="2115386" y="1073045"/>
                    </a:lnTo>
                    <a:cubicBezTo>
                      <a:pt x="1790183" y="1038717"/>
                      <a:pt x="1435873" y="1019860"/>
                      <a:pt x="1065109" y="1019860"/>
                    </a:cubicBezTo>
                    <a:cubicBezTo>
                      <a:pt x="694345" y="1019860"/>
                      <a:pt x="340035" y="1038717"/>
                      <a:pt x="14832" y="1073045"/>
                    </a:cubicBezTo>
                    <a:lnTo>
                      <a:pt x="0" y="1074898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Freeform 60">
                <a:extLst>
                  <a:ext uri="{FF2B5EF4-FFF2-40B4-BE49-F238E27FC236}">
                    <a16:creationId xmlns:a16="http://schemas.microsoft.com/office/drawing/2014/main" id="{B121D910-1345-43EA-B78E-95DC149D8530}"/>
                  </a:ext>
                </a:extLst>
              </p:cNvPr>
              <p:cNvSpPr/>
              <p:nvPr/>
            </p:nvSpPr>
            <p:spPr>
              <a:xfrm rot="5400000">
                <a:off x="6185937" y="3468349"/>
                <a:ext cx="1829310" cy="1050642"/>
              </a:xfrm>
              <a:custGeom>
                <a:avLst/>
                <a:gdLst>
                  <a:gd name="connsiteX0" fmla="*/ 0 w 1829310"/>
                  <a:gd name="connsiteY0" fmla="*/ 1050642 h 1050642"/>
                  <a:gd name="connsiteX1" fmla="*/ 76386 w 1829310"/>
                  <a:gd name="connsiteY1" fmla="*/ 33543 h 1050642"/>
                  <a:gd name="connsiteX2" fmla="*/ 337395 w 1829310"/>
                  <a:gd name="connsiteY2" fmla="*/ 15578 h 1050642"/>
                  <a:gd name="connsiteX3" fmla="*/ 914657 w 1829310"/>
                  <a:gd name="connsiteY3" fmla="*/ 0 h 1050642"/>
                  <a:gd name="connsiteX4" fmla="*/ 1491919 w 1829310"/>
                  <a:gd name="connsiteY4" fmla="*/ 15578 h 1050642"/>
                  <a:gd name="connsiteX5" fmla="*/ 1752923 w 1829310"/>
                  <a:gd name="connsiteY5" fmla="*/ 33543 h 1050642"/>
                  <a:gd name="connsiteX6" fmla="*/ 1829310 w 1829310"/>
                  <a:gd name="connsiteY6" fmla="*/ 1050642 h 1050642"/>
                  <a:gd name="connsiteX7" fmla="*/ 1630495 w 1829310"/>
                  <a:gd name="connsiteY7" fmla="*/ 1033376 h 1050642"/>
                  <a:gd name="connsiteX8" fmla="*/ 914655 w 1829310"/>
                  <a:gd name="connsiteY8" fmla="*/ 1009236 h 1050642"/>
                  <a:gd name="connsiteX9" fmla="*/ 198815 w 1829310"/>
                  <a:gd name="connsiteY9" fmla="*/ 1033376 h 1050642"/>
                  <a:gd name="connsiteX10" fmla="*/ 0 w 1829310"/>
                  <a:gd name="connsiteY10" fmla="*/ 1050642 h 105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9310" h="1050642">
                    <a:moveTo>
                      <a:pt x="0" y="1050642"/>
                    </a:moveTo>
                    <a:lnTo>
                      <a:pt x="76386" y="33543"/>
                    </a:lnTo>
                    <a:lnTo>
                      <a:pt x="337395" y="15578"/>
                    </a:lnTo>
                    <a:cubicBezTo>
                      <a:pt x="523855" y="5364"/>
                      <a:pt x="716916" y="0"/>
                      <a:pt x="914657" y="0"/>
                    </a:cubicBezTo>
                    <a:cubicBezTo>
                      <a:pt x="1112397" y="0"/>
                      <a:pt x="1305458" y="5364"/>
                      <a:pt x="1491919" y="15578"/>
                    </a:cubicBezTo>
                    <a:lnTo>
                      <a:pt x="1752923" y="33543"/>
                    </a:lnTo>
                    <a:lnTo>
                      <a:pt x="1829310" y="1050642"/>
                    </a:lnTo>
                    <a:lnTo>
                      <a:pt x="1630495" y="1033376"/>
                    </a:lnTo>
                    <a:cubicBezTo>
                      <a:pt x="1401694" y="1017617"/>
                      <a:pt x="1161831" y="1009236"/>
                      <a:pt x="914655" y="1009236"/>
                    </a:cubicBezTo>
                    <a:cubicBezTo>
                      <a:pt x="667479" y="1009236"/>
                      <a:pt x="427616" y="1017617"/>
                      <a:pt x="198815" y="1033376"/>
                    </a:cubicBezTo>
                    <a:lnTo>
                      <a:pt x="0" y="1050642"/>
                    </a:lnTo>
                    <a:close/>
                  </a:path>
                </a:pathLst>
              </a:custGeom>
              <a:solidFill>
                <a:schemeClr val="accent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Freeform 61">
                <a:extLst>
                  <a:ext uri="{FF2B5EF4-FFF2-40B4-BE49-F238E27FC236}">
                    <a16:creationId xmlns:a16="http://schemas.microsoft.com/office/drawing/2014/main" id="{3561C933-9F14-4F0B-9166-8C0A7DCB1967}"/>
                  </a:ext>
                </a:extLst>
              </p:cNvPr>
              <p:cNvSpPr/>
              <p:nvPr/>
            </p:nvSpPr>
            <p:spPr>
              <a:xfrm rot="5400000">
                <a:off x="8313198" y="3469534"/>
                <a:ext cx="1530095" cy="1048272"/>
              </a:xfrm>
              <a:custGeom>
                <a:avLst/>
                <a:gdLst>
                  <a:gd name="connsiteX0" fmla="*/ 0 w 1530095"/>
                  <a:gd name="connsiteY0" fmla="*/ 1048272 h 1048272"/>
                  <a:gd name="connsiteX1" fmla="*/ 76985 w 1530095"/>
                  <a:gd name="connsiteY1" fmla="*/ 23205 h 1048272"/>
                  <a:gd name="connsiteX2" fmla="*/ 187788 w 1530095"/>
                  <a:gd name="connsiteY2" fmla="*/ 15578 h 1048272"/>
                  <a:gd name="connsiteX3" fmla="*/ 765050 w 1530095"/>
                  <a:gd name="connsiteY3" fmla="*/ 0 h 1048272"/>
                  <a:gd name="connsiteX4" fmla="*/ 1342312 w 1530095"/>
                  <a:gd name="connsiteY4" fmla="*/ 15578 h 1048272"/>
                  <a:gd name="connsiteX5" fmla="*/ 1453110 w 1530095"/>
                  <a:gd name="connsiteY5" fmla="*/ 23204 h 1048272"/>
                  <a:gd name="connsiteX6" fmla="*/ 1530095 w 1530095"/>
                  <a:gd name="connsiteY6" fmla="*/ 1048272 h 1048272"/>
                  <a:gd name="connsiteX7" fmla="*/ 1480888 w 1530095"/>
                  <a:gd name="connsiteY7" fmla="*/ 1043998 h 1048272"/>
                  <a:gd name="connsiteX8" fmla="*/ 765048 w 1530095"/>
                  <a:gd name="connsiteY8" fmla="*/ 1019858 h 1048272"/>
                  <a:gd name="connsiteX9" fmla="*/ 49208 w 1530095"/>
                  <a:gd name="connsiteY9" fmla="*/ 1043998 h 1048272"/>
                  <a:gd name="connsiteX10" fmla="*/ 0 w 1530095"/>
                  <a:gd name="connsiteY10" fmla="*/ 1048272 h 1048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30095" h="1048272">
                    <a:moveTo>
                      <a:pt x="0" y="1048272"/>
                    </a:moveTo>
                    <a:lnTo>
                      <a:pt x="76985" y="23205"/>
                    </a:lnTo>
                    <a:lnTo>
                      <a:pt x="187788" y="15578"/>
                    </a:lnTo>
                    <a:cubicBezTo>
                      <a:pt x="374248" y="5364"/>
                      <a:pt x="567309" y="0"/>
                      <a:pt x="765050" y="0"/>
                    </a:cubicBezTo>
                    <a:cubicBezTo>
                      <a:pt x="962790" y="0"/>
                      <a:pt x="1155851" y="5364"/>
                      <a:pt x="1342312" y="15578"/>
                    </a:cubicBezTo>
                    <a:lnTo>
                      <a:pt x="1453110" y="23204"/>
                    </a:lnTo>
                    <a:lnTo>
                      <a:pt x="1530095" y="1048272"/>
                    </a:lnTo>
                    <a:lnTo>
                      <a:pt x="1480888" y="1043998"/>
                    </a:lnTo>
                    <a:cubicBezTo>
                      <a:pt x="1252087" y="1028239"/>
                      <a:pt x="1012224" y="1019858"/>
                      <a:pt x="765048" y="1019858"/>
                    </a:cubicBezTo>
                    <a:cubicBezTo>
                      <a:pt x="517872" y="1019858"/>
                      <a:pt x="278009" y="1028239"/>
                      <a:pt x="49208" y="1043998"/>
                    </a:cubicBezTo>
                    <a:lnTo>
                      <a:pt x="0" y="1048272"/>
                    </a:lnTo>
                    <a:close/>
                  </a:path>
                </a:pathLst>
              </a:custGeom>
              <a:solidFill>
                <a:schemeClr val="accent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4" name="TextBox 82">
              <a:extLst>
                <a:ext uri="{FF2B5EF4-FFF2-40B4-BE49-F238E27FC236}">
                  <a16:creationId xmlns:a16="http://schemas.microsoft.com/office/drawing/2014/main" id="{31B0BFE2-421C-46B3-83A7-AD5B8A72F6A9}"/>
                </a:ext>
              </a:extLst>
            </p:cNvPr>
            <p:cNvSpPr txBox="1"/>
            <p:nvPr/>
          </p:nvSpPr>
          <p:spPr>
            <a:xfrm>
              <a:off x="1367321" y="3220377"/>
              <a:ext cx="1400171" cy="136192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s-CO" sz="1600">
                  <a:solidFill>
                    <a:schemeClr val="bg1"/>
                  </a:solidFill>
                </a:rPr>
                <a:t>Claridad en documentos corporativos</a:t>
              </a:r>
            </a:p>
          </p:txBody>
        </p:sp>
        <p:sp>
          <p:nvSpPr>
            <p:cNvPr id="45" name="TextBox 83">
              <a:extLst>
                <a:ext uri="{FF2B5EF4-FFF2-40B4-BE49-F238E27FC236}">
                  <a16:creationId xmlns:a16="http://schemas.microsoft.com/office/drawing/2014/main" id="{683E2618-7B62-4887-92D0-DE6E9D28CE26}"/>
                </a:ext>
              </a:extLst>
            </p:cNvPr>
            <p:cNvSpPr txBox="1"/>
            <p:nvPr/>
          </p:nvSpPr>
          <p:spPr>
            <a:xfrm>
              <a:off x="3447610" y="2918759"/>
              <a:ext cx="1058878" cy="216899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>
                  <a:solidFill>
                    <a:schemeClr val="tx1"/>
                  </a:solidFill>
                </a:rPr>
                <a:t>Órganos de toma de decisión claros</a:t>
              </a:r>
            </a:p>
          </p:txBody>
        </p:sp>
        <p:sp>
          <p:nvSpPr>
            <p:cNvPr id="46" name="TextBox 84">
              <a:extLst>
                <a:ext uri="{FF2B5EF4-FFF2-40B4-BE49-F238E27FC236}">
                  <a16:creationId xmlns:a16="http://schemas.microsoft.com/office/drawing/2014/main" id="{8C23E0A2-037D-4634-BC72-4BEA56E15133}"/>
                </a:ext>
              </a:extLst>
            </p:cNvPr>
            <p:cNvSpPr txBox="1"/>
            <p:nvPr/>
          </p:nvSpPr>
          <p:spPr>
            <a:xfrm>
              <a:off x="5588208" y="2989565"/>
              <a:ext cx="1277961" cy="176546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/>
                <a:t>Roles y responsa-</a:t>
              </a:r>
              <a:r>
                <a:rPr lang="es-CO" err="1"/>
                <a:t>bilidades</a:t>
              </a:r>
              <a:r>
                <a:rPr lang="es-CO"/>
                <a:t> definidos</a:t>
              </a:r>
            </a:p>
          </p:txBody>
        </p:sp>
        <p:sp>
          <p:nvSpPr>
            <p:cNvPr id="47" name="TextBox 85">
              <a:extLst>
                <a:ext uri="{FF2B5EF4-FFF2-40B4-BE49-F238E27FC236}">
                  <a16:creationId xmlns:a16="http://schemas.microsoft.com/office/drawing/2014/main" id="{6538A16C-BDC4-434F-9828-22749E2E25AE}"/>
                </a:ext>
              </a:extLst>
            </p:cNvPr>
            <p:cNvSpPr txBox="1"/>
            <p:nvPr/>
          </p:nvSpPr>
          <p:spPr>
            <a:xfrm>
              <a:off x="7777952" y="3018609"/>
              <a:ext cx="1220586" cy="176546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/>
                <a:t>Estructura de relaciona-mient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66126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41">
            <a:extLst>
              <a:ext uri="{FF2B5EF4-FFF2-40B4-BE49-F238E27FC236}">
                <a16:creationId xmlns:a16="http://schemas.microsoft.com/office/drawing/2014/main" id="{9333B746-8064-8449-9B04-F0504AC05014}"/>
              </a:ext>
            </a:extLst>
          </p:cNvPr>
          <p:cNvSpPr txBox="1"/>
          <p:nvPr/>
        </p:nvSpPr>
        <p:spPr>
          <a:xfrm>
            <a:off x="3744131" y="3567821"/>
            <a:ext cx="7435702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s-CO" err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rices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MAD </a:t>
            </a:r>
            <a:r>
              <a:rPr lang="es-CO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das 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los 12 macroprocesos.</a:t>
            </a:r>
          </a:p>
        </p:txBody>
      </p:sp>
      <p:sp>
        <p:nvSpPr>
          <p:cNvPr id="3" name="CuadroTexto 142">
            <a:extLst>
              <a:ext uri="{FF2B5EF4-FFF2-40B4-BE49-F238E27FC236}">
                <a16:creationId xmlns:a16="http://schemas.microsoft.com/office/drawing/2014/main" id="{FD10FE48-69AD-E749-A7B5-03B0174E8100}"/>
              </a:ext>
            </a:extLst>
          </p:cNvPr>
          <p:cNvSpPr txBox="1"/>
          <p:nvPr/>
        </p:nvSpPr>
        <p:spPr>
          <a:xfrm>
            <a:off x="3712397" y="2056577"/>
            <a:ext cx="7467436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ción de </a:t>
            </a:r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clave </a:t>
            </a: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</a:t>
            </a:r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adores </a:t>
            </a: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</a:t>
            </a:r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s decisiones.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144">
            <a:extLst>
              <a:ext uri="{FF2B5EF4-FFF2-40B4-BE49-F238E27FC236}">
                <a16:creationId xmlns:a16="http://schemas.microsoft.com/office/drawing/2014/main" id="{00567431-B678-D640-9C52-AD0586099CB4}"/>
              </a:ext>
            </a:extLst>
          </p:cNvPr>
          <p:cNvSpPr txBox="1"/>
          <p:nvPr/>
        </p:nvSpPr>
        <p:spPr>
          <a:xfrm>
            <a:off x="3744131" y="2664980"/>
            <a:ext cx="7435702" cy="64633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s-CO" err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gación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s-CO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críticas 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ún</a:t>
            </a:r>
            <a:r>
              <a:rPr lang="es-CO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anca de agilidad, claridad y consistencia. </a:t>
            </a:r>
          </a:p>
        </p:txBody>
      </p:sp>
      <p:sp>
        <p:nvSpPr>
          <p:cNvPr id="10" name="CuadroTexto 44">
            <a:extLst>
              <a:ext uri="{FF2B5EF4-FFF2-40B4-BE49-F238E27FC236}">
                <a16:creationId xmlns:a16="http://schemas.microsoft.com/office/drawing/2014/main" id="{3E1CC9AC-897D-E04E-99AF-760D523DB0A8}"/>
              </a:ext>
            </a:extLst>
          </p:cNvPr>
          <p:cNvSpPr txBox="1"/>
          <p:nvPr/>
        </p:nvSpPr>
        <p:spPr>
          <a:xfrm>
            <a:off x="10752514" y="868602"/>
            <a:ext cx="863680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/>
              <a:t>100%</a:t>
            </a:r>
            <a:endParaRPr lang="es-CO" sz="2000"/>
          </a:p>
        </p:txBody>
      </p:sp>
      <p:sp>
        <p:nvSpPr>
          <p:cNvPr id="16" name="CuadroTexto 47">
            <a:extLst>
              <a:ext uri="{FF2B5EF4-FFF2-40B4-BE49-F238E27FC236}">
                <a16:creationId xmlns:a16="http://schemas.microsoft.com/office/drawing/2014/main" id="{08C4BC45-A881-BB43-8991-7F434CCD56A7}"/>
              </a:ext>
            </a:extLst>
          </p:cNvPr>
          <p:cNvSpPr txBox="1"/>
          <p:nvPr/>
        </p:nvSpPr>
        <p:spPr>
          <a:xfrm>
            <a:off x="3688322" y="597054"/>
            <a:ext cx="6828279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5BB45E83-35DA-46EF-B4DB-5D71AD3B2EA6}"/>
              </a:ext>
            </a:extLst>
          </p:cNvPr>
          <p:cNvSpPr/>
          <p:nvPr/>
        </p:nvSpPr>
        <p:spPr>
          <a:xfrm rot="16200000">
            <a:off x="6369399" y="3505693"/>
            <a:ext cx="1284398" cy="31993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6E3C441-DFAD-4F93-AD8E-85A0A709F810}"/>
              </a:ext>
            </a:extLst>
          </p:cNvPr>
          <p:cNvSpPr txBox="1"/>
          <p:nvPr/>
        </p:nvSpPr>
        <p:spPr>
          <a:xfrm>
            <a:off x="7182477" y="4682163"/>
            <a:ext cx="14510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5000" b="1">
                <a:solidFill>
                  <a:srgbClr val="99CC00"/>
                </a:solidFill>
              </a:rPr>
              <a:t>155</a:t>
            </a:r>
            <a:endParaRPr lang="es-CO" sz="5000">
              <a:solidFill>
                <a:srgbClr val="10476B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6D68CFE-9473-4259-985E-E73C54C0AB2C}"/>
              </a:ext>
            </a:extLst>
          </p:cNvPr>
          <p:cNvSpPr txBox="1"/>
          <p:nvPr/>
        </p:nvSpPr>
        <p:spPr>
          <a:xfrm>
            <a:off x="5434212" y="4721033"/>
            <a:ext cx="178534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5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formalizadas en nuevo MAD</a:t>
            </a:r>
            <a:endParaRPr lang="es-CO" sz="150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C9BC9A7E-BBF8-45D2-8451-88207B9E08D1}"/>
              </a:ext>
            </a:extLst>
          </p:cNvPr>
          <p:cNvCxnSpPr>
            <a:cxnSpLocks/>
          </p:cNvCxnSpPr>
          <p:nvPr/>
        </p:nvCxnSpPr>
        <p:spPr>
          <a:xfrm flipV="1">
            <a:off x="7219561" y="4477192"/>
            <a:ext cx="22292" cy="1270378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A6846F95-AEC6-4C88-9C37-7C4AEC0514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31" y="563804"/>
            <a:ext cx="2562373" cy="2562373"/>
          </a:xfrm>
          <a:prstGeom prst="rect">
            <a:avLst/>
          </a:prstGeom>
        </p:spPr>
      </p:pic>
      <p:sp>
        <p:nvSpPr>
          <p:cNvPr id="9" name="Oval 109">
            <a:extLst>
              <a:ext uri="{FF2B5EF4-FFF2-40B4-BE49-F238E27FC236}">
                <a16:creationId xmlns:a16="http://schemas.microsoft.com/office/drawing/2014/main" id="{5F717C8E-9030-4E5A-A099-28AAD3340896}"/>
              </a:ext>
            </a:extLst>
          </p:cNvPr>
          <p:cNvSpPr/>
          <p:nvPr/>
        </p:nvSpPr>
        <p:spPr>
          <a:xfrm>
            <a:off x="2209029" y="20369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789326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CuadroTexto 120">
            <a:extLst>
              <a:ext uri="{FF2B5EF4-FFF2-40B4-BE49-F238E27FC236}">
                <a16:creationId xmlns:a16="http://schemas.microsoft.com/office/drawing/2014/main" id="{B090BFCE-20D4-4C2E-AB13-0B67385FA7AD}"/>
              </a:ext>
            </a:extLst>
          </p:cNvPr>
          <p:cNvSpPr txBox="1"/>
          <p:nvPr/>
        </p:nvSpPr>
        <p:spPr>
          <a:xfrm>
            <a:off x="5968153" y="4180059"/>
            <a:ext cx="6151523" cy="2079528"/>
          </a:xfrm>
          <a:prstGeom prst="rect">
            <a:avLst/>
          </a:prstGeom>
          <a:noFill/>
          <a:ln>
            <a:solidFill>
              <a:schemeClr val="accent6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s-CO"/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740088A-8ABF-414B-8746-763C3F660F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740088A-8ABF-414B-8746-763C3F660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42B40C10-F876-4F1B-842D-C3F6355B6C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419" sz="2000" b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95" name="Straight Connector 55">
            <a:extLst>
              <a:ext uri="{FF2B5EF4-FFF2-40B4-BE49-F238E27FC236}">
                <a16:creationId xmlns:a16="http://schemas.microsoft.com/office/drawing/2014/main" id="{992CCE25-00CE-4C15-881A-068C6B1A3F0E}"/>
              </a:ext>
            </a:extLst>
          </p:cNvPr>
          <p:cNvCxnSpPr>
            <a:cxnSpLocks/>
          </p:cNvCxnSpPr>
          <p:nvPr/>
        </p:nvCxnSpPr>
        <p:spPr>
          <a:xfrm flipH="1">
            <a:off x="3535047" y="2180729"/>
            <a:ext cx="6262987" cy="9499"/>
          </a:xfrm>
          <a:prstGeom prst="line">
            <a:avLst/>
          </a:prstGeom>
          <a:ln w="9525"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ángulo 95">
            <a:extLst>
              <a:ext uri="{FF2B5EF4-FFF2-40B4-BE49-F238E27FC236}">
                <a16:creationId xmlns:a16="http://schemas.microsoft.com/office/drawing/2014/main" id="{1DFEF71A-A80A-4597-AAC9-DB256058084B}"/>
              </a:ext>
            </a:extLst>
          </p:cNvPr>
          <p:cNvSpPr>
            <a:spLocks/>
          </p:cNvSpPr>
          <p:nvPr/>
        </p:nvSpPr>
        <p:spPr>
          <a:xfrm>
            <a:off x="7393208" y="683710"/>
            <a:ext cx="1357075" cy="1348761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100">
                <a:solidFill>
                  <a:schemeClr val="tx2"/>
                </a:solidFill>
              </a:rPr>
              <a:t>Aprobar y actualizar los Lineamientos, Planes y Estrategias de HSE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97" name="Rectángulo 96">
            <a:extLst>
              <a:ext uri="{FF2B5EF4-FFF2-40B4-BE49-F238E27FC236}">
                <a16:creationId xmlns:a16="http://schemas.microsoft.com/office/drawing/2014/main" id="{99300021-C267-43BD-A0F5-B3ECE622345E}"/>
              </a:ext>
            </a:extLst>
          </p:cNvPr>
          <p:cNvSpPr>
            <a:spLocks/>
          </p:cNvSpPr>
          <p:nvPr/>
        </p:nvSpPr>
        <p:spPr>
          <a:xfrm>
            <a:off x="210232" y="699588"/>
            <a:ext cx="1711053" cy="483094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100">
                <a:solidFill>
                  <a:schemeClr val="tx2"/>
                </a:solidFill>
              </a:rPr>
              <a:t>Autorizar inversiones y pagos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99" name="Rectángulo 98">
            <a:extLst>
              <a:ext uri="{FF2B5EF4-FFF2-40B4-BE49-F238E27FC236}">
                <a16:creationId xmlns:a16="http://schemas.microsoft.com/office/drawing/2014/main" id="{90CC82AC-D82E-4F89-AC67-093894759099}"/>
              </a:ext>
            </a:extLst>
          </p:cNvPr>
          <p:cNvSpPr>
            <a:spLocks/>
          </p:cNvSpPr>
          <p:nvPr/>
        </p:nvSpPr>
        <p:spPr>
          <a:xfrm>
            <a:off x="8944926" y="655324"/>
            <a:ext cx="1289264" cy="1343853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100">
                <a:solidFill>
                  <a:schemeClr val="tx2"/>
                </a:solidFill>
              </a:rPr>
              <a:t>Aprobar la compra y venta de inmuebles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1835F856-5B59-4AFF-86DE-2F0968B76CF7}"/>
              </a:ext>
            </a:extLst>
          </p:cNvPr>
          <p:cNvSpPr>
            <a:spLocks/>
          </p:cNvSpPr>
          <p:nvPr/>
        </p:nvSpPr>
        <p:spPr>
          <a:xfrm>
            <a:off x="3909698" y="695020"/>
            <a:ext cx="1449097" cy="1315262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100">
                <a:solidFill>
                  <a:schemeClr val="tx2"/>
                </a:solidFill>
              </a:rPr>
              <a:t>Aprobar y actualizar los Lineamientos, Planes y Estrategias de Sostenibilidad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02" name="Rectángulo 101">
            <a:extLst>
              <a:ext uri="{FF2B5EF4-FFF2-40B4-BE49-F238E27FC236}">
                <a16:creationId xmlns:a16="http://schemas.microsoft.com/office/drawing/2014/main" id="{101F3273-AA10-47F1-9872-07AD50130DF5}"/>
              </a:ext>
            </a:extLst>
          </p:cNvPr>
          <p:cNvSpPr>
            <a:spLocks/>
          </p:cNvSpPr>
          <p:nvPr/>
        </p:nvSpPr>
        <p:spPr>
          <a:xfrm>
            <a:off x="5534820" y="682150"/>
            <a:ext cx="1680048" cy="1331895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100" dirty="0">
                <a:solidFill>
                  <a:schemeClr val="tx2"/>
                </a:solidFill>
              </a:rPr>
              <a:t>Aprobar planes de acción de manejo de crisis 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103" name="Rectángulo 102">
            <a:extLst>
              <a:ext uri="{FF2B5EF4-FFF2-40B4-BE49-F238E27FC236}">
                <a16:creationId xmlns:a16="http://schemas.microsoft.com/office/drawing/2014/main" id="{BDBCDC72-F935-45A4-AE31-C045019965AF}"/>
              </a:ext>
            </a:extLst>
          </p:cNvPr>
          <p:cNvSpPr>
            <a:spLocks/>
          </p:cNvSpPr>
          <p:nvPr/>
        </p:nvSpPr>
        <p:spPr>
          <a:xfrm>
            <a:off x="10422853" y="693341"/>
            <a:ext cx="1613924" cy="433770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100">
                <a:solidFill>
                  <a:schemeClr val="tx2"/>
                </a:solidFill>
              </a:rPr>
              <a:t>Aprobar la suscripción de actos jurídicos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04" name="Elipse 103">
            <a:extLst>
              <a:ext uri="{FF2B5EF4-FFF2-40B4-BE49-F238E27FC236}">
                <a16:creationId xmlns:a16="http://schemas.microsoft.com/office/drawing/2014/main" id="{0326A105-08B6-409E-9596-07BD7645DEAE}"/>
              </a:ext>
            </a:extLst>
          </p:cNvPr>
          <p:cNvSpPr/>
          <p:nvPr/>
        </p:nvSpPr>
        <p:spPr>
          <a:xfrm>
            <a:off x="8769479" y="534977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4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05" name="Elipse 104">
            <a:extLst>
              <a:ext uri="{FF2B5EF4-FFF2-40B4-BE49-F238E27FC236}">
                <a16:creationId xmlns:a16="http://schemas.microsoft.com/office/drawing/2014/main" id="{DC633C75-4D21-4E37-ABEB-B69D06C0A224}"/>
              </a:ext>
            </a:extLst>
          </p:cNvPr>
          <p:cNvSpPr/>
          <p:nvPr/>
        </p:nvSpPr>
        <p:spPr>
          <a:xfrm>
            <a:off x="3737634" y="534977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1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06" name="Elipse 105">
            <a:extLst>
              <a:ext uri="{FF2B5EF4-FFF2-40B4-BE49-F238E27FC236}">
                <a16:creationId xmlns:a16="http://schemas.microsoft.com/office/drawing/2014/main" id="{8BF155F6-9EE4-4410-BB22-DEE4B18E9FEF}"/>
              </a:ext>
            </a:extLst>
          </p:cNvPr>
          <p:cNvSpPr/>
          <p:nvPr/>
        </p:nvSpPr>
        <p:spPr>
          <a:xfrm>
            <a:off x="5358430" y="534977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2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08" name="Elipse 107">
            <a:extLst>
              <a:ext uri="{FF2B5EF4-FFF2-40B4-BE49-F238E27FC236}">
                <a16:creationId xmlns:a16="http://schemas.microsoft.com/office/drawing/2014/main" id="{E7417F2C-4445-4433-AA31-1B1D9A1C89B3}"/>
              </a:ext>
            </a:extLst>
          </p:cNvPr>
          <p:cNvSpPr/>
          <p:nvPr/>
        </p:nvSpPr>
        <p:spPr>
          <a:xfrm>
            <a:off x="10245666" y="534977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5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37" name="Rectangle 30">
            <a:extLst>
              <a:ext uri="{FF2B5EF4-FFF2-40B4-BE49-F238E27FC236}">
                <a16:creationId xmlns:a16="http://schemas.microsoft.com/office/drawing/2014/main" id="{F2F1441C-82E3-4978-ADB4-2E81AB714A12}"/>
              </a:ext>
            </a:extLst>
          </p:cNvPr>
          <p:cNvSpPr>
            <a:spLocks/>
          </p:cNvSpPr>
          <p:nvPr/>
        </p:nvSpPr>
        <p:spPr>
          <a:xfrm>
            <a:off x="243772" y="1268151"/>
            <a:ext cx="1639004" cy="721273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Autorización para ejecutar actividades de compensación e inversión del 1%</a:t>
            </a:r>
          </a:p>
        </p:txBody>
      </p:sp>
      <p:sp>
        <p:nvSpPr>
          <p:cNvPr id="138" name="Rectangle 30">
            <a:extLst>
              <a:ext uri="{FF2B5EF4-FFF2-40B4-BE49-F238E27FC236}">
                <a16:creationId xmlns:a16="http://schemas.microsoft.com/office/drawing/2014/main" id="{B7572FF5-C3B2-41FB-AC8B-11068157874D}"/>
              </a:ext>
            </a:extLst>
          </p:cNvPr>
          <p:cNvSpPr>
            <a:spLocks/>
          </p:cNvSpPr>
          <p:nvPr/>
        </p:nvSpPr>
        <p:spPr>
          <a:xfrm>
            <a:off x="244471" y="2081500"/>
            <a:ext cx="1639004" cy="623624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Autorización del pago a autoridades ambientales</a:t>
            </a:r>
          </a:p>
        </p:txBody>
      </p:sp>
      <p:sp>
        <p:nvSpPr>
          <p:cNvPr id="139" name="Rectangle 30">
            <a:extLst>
              <a:ext uri="{FF2B5EF4-FFF2-40B4-BE49-F238E27FC236}">
                <a16:creationId xmlns:a16="http://schemas.microsoft.com/office/drawing/2014/main" id="{2227F15F-B01E-49E7-B6F1-35FB55117734}"/>
              </a:ext>
            </a:extLst>
          </p:cNvPr>
          <p:cNvSpPr>
            <a:spLocks/>
          </p:cNvSpPr>
          <p:nvPr/>
        </p:nvSpPr>
        <p:spPr>
          <a:xfrm>
            <a:off x="241243" y="2805963"/>
            <a:ext cx="1632537" cy="621055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Aprobación del portafolio de inversión socio-ambiental</a:t>
            </a:r>
          </a:p>
        </p:txBody>
      </p:sp>
      <p:sp>
        <p:nvSpPr>
          <p:cNvPr id="140" name="Rectángulo 139">
            <a:extLst>
              <a:ext uri="{FF2B5EF4-FFF2-40B4-BE49-F238E27FC236}">
                <a16:creationId xmlns:a16="http://schemas.microsoft.com/office/drawing/2014/main" id="{2062ABD7-3E18-481C-BE0F-59304E710CAD}"/>
              </a:ext>
            </a:extLst>
          </p:cNvPr>
          <p:cNvSpPr>
            <a:spLocks/>
          </p:cNvSpPr>
          <p:nvPr/>
        </p:nvSpPr>
        <p:spPr>
          <a:xfrm>
            <a:off x="5143461" y="2011490"/>
            <a:ext cx="1440000" cy="333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O" sz="1400" b="1">
                <a:solidFill>
                  <a:schemeClr val="tx2"/>
                </a:solidFill>
              </a:rPr>
              <a:t>Categorías: </a:t>
            </a:r>
          </a:p>
        </p:txBody>
      </p:sp>
      <p:sp>
        <p:nvSpPr>
          <p:cNvPr id="141" name="Rectangle 30">
            <a:extLst>
              <a:ext uri="{FF2B5EF4-FFF2-40B4-BE49-F238E27FC236}">
                <a16:creationId xmlns:a16="http://schemas.microsoft.com/office/drawing/2014/main" id="{6DFBB2A7-5F2D-4D91-9156-98CB032BD858}"/>
              </a:ext>
            </a:extLst>
          </p:cNvPr>
          <p:cNvSpPr>
            <a:spLocks/>
          </p:cNvSpPr>
          <p:nvPr/>
        </p:nvSpPr>
        <p:spPr>
          <a:xfrm>
            <a:off x="8944925" y="2337443"/>
            <a:ext cx="1289263" cy="137278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Autorización compra de inmuebles para el cumplimiento de obligaciones ambientales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42" name="Rectangle 30">
            <a:extLst>
              <a:ext uri="{FF2B5EF4-FFF2-40B4-BE49-F238E27FC236}">
                <a16:creationId xmlns:a16="http://schemas.microsoft.com/office/drawing/2014/main" id="{9660C67C-C249-4C29-87B1-2E22B67DE74F}"/>
              </a:ext>
            </a:extLst>
          </p:cNvPr>
          <p:cNvSpPr>
            <a:spLocks/>
          </p:cNvSpPr>
          <p:nvPr/>
        </p:nvSpPr>
        <p:spPr>
          <a:xfrm>
            <a:off x="7393208" y="2365027"/>
            <a:ext cx="1357075" cy="107468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Aprobación del Modelo de Gestión HSE, y sus ajustes</a:t>
            </a:r>
          </a:p>
        </p:txBody>
      </p:sp>
      <p:sp>
        <p:nvSpPr>
          <p:cNvPr id="144" name="Rectangle 30">
            <a:extLst>
              <a:ext uri="{FF2B5EF4-FFF2-40B4-BE49-F238E27FC236}">
                <a16:creationId xmlns:a16="http://schemas.microsoft.com/office/drawing/2014/main" id="{25AF8D90-7CF9-4004-AFE7-8FD9BCD562C6}"/>
              </a:ext>
            </a:extLst>
          </p:cNvPr>
          <p:cNvSpPr>
            <a:spLocks/>
          </p:cNvSpPr>
          <p:nvPr/>
        </p:nvSpPr>
        <p:spPr>
          <a:xfrm>
            <a:off x="3908846" y="2347105"/>
            <a:ext cx="1450800" cy="875351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Aprobación de la Estrategia de Seguridad Física y sus actualizaciones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45" name="Rectangle 30">
            <a:extLst>
              <a:ext uri="{FF2B5EF4-FFF2-40B4-BE49-F238E27FC236}">
                <a16:creationId xmlns:a16="http://schemas.microsoft.com/office/drawing/2014/main" id="{1FACAF7C-6304-4959-827F-E5EC80E0E805}"/>
              </a:ext>
            </a:extLst>
          </p:cNvPr>
          <p:cNvSpPr>
            <a:spLocks/>
          </p:cNvSpPr>
          <p:nvPr/>
        </p:nvSpPr>
        <p:spPr>
          <a:xfrm>
            <a:off x="3908846" y="3344639"/>
            <a:ext cx="1450800" cy="803464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Aprobación de la Estrategia de Sostenibilidad para la Organización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46" name="Rectangle 30">
            <a:extLst>
              <a:ext uri="{FF2B5EF4-FFF2-40B4-BE49-F238E27FC236}">
                <a16:creationId xmlns:a16="http://schemas.microsoft.com/office/drawing/2014/main" id="{D86974CC-32BF-439F-A6E2-D1E82520294D}"/>
              </a:ext>
            </a:extLst>
          </p:cNvPr>
          <p:cNvSpPr>
            <a:spLocks/>
          </p:cNvSpPr>
          <p:nvPr/>
        </p:nvSpPr>
        <p:spPr>
          <a:xfrm>
            <a:off x="5533960" y="2365480"/>
            <a:ext cx="1691379" cy="80323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 dirty="0">
                <a:solidFill>
                  <a:schemeClr val="tx2"/>
                </a:solidFill>
              </a:rPr>
              <a:t>Aprobación de la activación de la respuesta al manejo de crisis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147" name="Rectangle 30">
            <a:extLst>
              <a:ext uri="{FF2B5EF4-FFF2-40B4-BE49-F238E27FC236}">
                <a16:creationId xmlns:a16="http://schemas.microsoft.com/office/drawing/2014/main" id="{58F0CDC2-9414-439E-A3CB-C4B6F7ADCE1B}"/>
              </a:ext>
            </a:extLst>
          </p:cNvPr>
          <p:cNvSpPr>
            <a:spLocks/>
          </p:cNvSpPr>
          <p:nvPr/>
        </p:nvSpPr>
        <p:spPr>
          <a:xfrm>
            <a:off x="5533961" y="3296526"/>
            <a:ext cx="1691378" cy="84431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 dirty="0">
                <a:solidFill>
                  <a:schemeClr val="tx2"/>
                </a:solidFill>
              </a:rPr>
              <a:t>Aprobación de lineamientos para Planes de Emergencias y ayuda mutua.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40" name="Rectangle 30">
            <a:extLst>
              <a:ext uri="{FF2B5EF4-FFF2-40B4-BE49-F238E27FC236}">
                <a16:creationId xmlns:a16="http://schemas.microsoft.com/office/drawing/2014/main" id="{2631D492-951C-4EB3-926A-C7A33457A10A}"/>
              </a:ext>
            </a:extLst>
          </p:cNvPr>
          <p:cNvSpPr>
            <a:spLocks/>
          </p:cNvSpPr>
          <p:nvPr/>
        </p:nvSpPr>
        <p:spPr>
          <a:xfrm>
            <a:off x="3908846" y="4286065"/>
            <a:ext cx="1450800" cy="1358482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Aprobar el plan de trabajo de control interno y de cumplimiento que incluye las actividades a realizar en el año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6" name="Triángulo isósceles 5">
            <a:extLst>
              <a:ext uri="{FF2B5EF4-FFF2-40B4-BE49-F238E27FC236}">
                <a16:creationId xmlns:a16="http://schemas.microsoft.com/office/drawing/2014/main" id="{6F097E8B-274A-49AC-8761-8119E3C5B68F}"/>
              </a:ext>
            </a:extLst>
          </p:cNvPr>
          <p:cNvSpPr/>
          <p:nvPr/>
        </p:nvSpPr>
        <p:spPr>
          <a:xfrm>
            <a:off x="3982636" y="5053297"/>
            <a:ext cx="154534" cy="253087"/>
          </a:xfrm>
          <a:prstGeom prst="triangl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51" name="Rectangle 30">
            <a:extLst>
              <a:ext uri="{FF2B5EF4-FFF2-40B4-BE49-F238E27FC236}">
                <a16:creationId xmlns:a16="http://schemas.microsoft.com/office/drawing/2014/main" id="{D1BBB9FD-BBB2-4DBE-B91B-1ABE54C48C86}"/>
              </a:ext>
            </a:extLst>
          </p:cNvPr>
          <p:cNvSpPr>
            <a:spLocks/>
          </p:cNvSpPr>
          <p:nvPr/>
        </p:nvSpPr>
        <p:spPr>
          <a:xfrm>
            <a:off x="10424422" y="1223315"/>
            <a:ext cx="1609729" cy="94007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Suscripción de contratos de arrendamiento con terceros sobre activos inmobiliarios de CENIT 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52" name="Círculo parcial 51">
            <a:extLst>
              <a:ext uri="{FF2B5EF4-FFF2-40B4-BE49-F238E27FC236}">
                <a16:creationId xmlns:a16="http://schemas.microsoft.com/office/drawing/2014/main" id="{7B36949A-E22B-4AD5-9F62-88623E4F7646}"/>
              </a:ext>
            </a:extLst>
          </p:cNvPr>
          <p:cNvSpPr/>
          <p:nvPr/>
        </p:nvSpPr>
        <p:spPr>
          <a:xfrm>
            <a:off x="10430849" y="1624109"/>
            <a:ext cx="162145" cy="181741"/>
          </a:xfrm>
          <a:prstGeom prst="pie">
            <a:avLst/>
          </a:prstGeom>
          <a:solidFill>
            <a:srgbClr val="00B0F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tx1"/>
              </a:solidFill>
            </a:endParaRPr>
          </a:p>
        </p:txBody>
      </p:sp>
      <p:sp>
        <p:nvSpPr>
          <p:cNvPr id="57" name="Rectangle 30">
            <a:extLst>
              <a:ext uri="{FF2B5EF4-FFF2-40B4-BE49-F238E27FC236}">
                <a16:creationId xmlns:a16="http://schemas.microsoft.com/office/drawing/2014/main" id="{48380FA4-D73B-4203-B6A3-A6970B4FD90E}"/>
              </a:ext>
            </a:extLst>
          </p:cNvPr>
          <p:cNvSpPr>
            <a:spLocks/>
          </p:cNvSpPr>
          <p:nvPr/>
        </p:nvSpPr>
        <p:spPr>
          <a:xfrm>
            <a:off x="238010" y="3547806"/>
            <a:ext cx="1639004" cy="1040823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Aprobación de pagos de impuestos y contribuciones relacionadas a los activos inmobiliarios de la Compañía </a:t>
            </a:r>
          </a:p>
        </p:txBody>
      </p:sp>
      <p:sp>
        <p:nvSpPr>
          <p:cNvPr id="59" name="Círculo parcial 58">
            <a:extLst>
              <a:ext uri="{FF2B5EF4-FFF2-40B4-BE49-F238E27FC236}">
                <a16:creationId xmlns:a16="http://schemas.microsoft.com/office/drawing/2014/main" id="{EAF78979-5F8E-4AF6-BC74-2B4E7343311B}"/>
              </a:ext>
            </a:extLst>
          </p:cNvPr>
          <p:cNvSpPr/>
          <p:nvPr/>
        </p:nvSpPr>
        <p:spPr>
          <a:xfrm>
            <a:off x="352181" y="3886477"/>
            <a:ext cx="162145" cy="181741"/>
          </a:xfrm>
          <a:prstGeom prst="pie">
            <a:avLst/>
          </a:prstGeom>
          <a:solidFill>
            <a:srgbClr val="00B0F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122" name="Rectángulo 121">
            <a:extLst>
              <a:ext uri="{FF2B5EF4-FFF2-40B4-BE49-F238E27FC236}">
                <a16:creationId xmlns:a16="http://schemas.microsoft.com/office/drawing/2014/main" id="{86903DE0-ADCA-4DC8-9E6D-E9AED1F442A0}"/>
              </a:ext>
            </a:extLst>
          </p:cNvPr>
          <p:cNvSpPr/>
          <p:nvPr/>
        </p:nvSpPr>
        <p:spPr>
          <a:xfrm>
            <a:off x="6034545" y="4286860"/>
            <a:ext cx="5925653" cy="46166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 sz="1200" b="1">
                <a:solidFill>
                  <a:srgbClr val="254147"/>
                </a:solidFill>
                <a:sym typeface="Wingdings" panose="05000000000000000000" pitchFamily="2" charset="2"/>
              </a:rPr>
              <a:t>Total Macroproceso: 7</a:t>
            </a:r>
            <a:r>
              <a:rPr lang="es-ES" sz="1200">
                <a:solidFill>
                  <a:srgbClr val="254147"/>
                </a:solidFill>
                <a:sym typeface="Wingdings" panose="05000000000000000000" pitchFamily="2" charset="2"/>
              </a:rPr>
              <a:t> procesos Nivel 1, </a:t>
            </a:r>
            <a:r>
              <a:rPr lang="es-ES" sz="1200" b="1">
                <a:solidFill>
                  <a:srgbClr val="254147"/>
                </a:solidFill>
                <a:sym typeface="Wingdings" panose="05000000000000000000" pitchFamily="2" charset="2"/>
              </a:rPr>
              <a:t>12</a:t>
            </a:r>
            <a:r>
              <a:rPr lang="es-ES" sz="1200">
                <a:solidFill>
                  <a:srgbClr val="254147"/>
                </a:solidFill>
                <a:sym typeface="Wingdings" panose="05000000000000000000" pitchFamily="2" charset="2"/>
              </a:rPr>
              <a:t> decisiones críticas en su matriz del MAD con </a:t>
            </a:r>
            <a:r>
              <a:rPr lang="es-ES" sz="1200" b="1">
                <a:solidFill>
                  <a:schemeClr val="tx2"/>
                </a:solidFill>
                <a:sym typeface="Wingdings" panose="05000000000000000000" pitchFamily="2" charset="2"/>
              </a:rPr>
              <a:t>19 </a:t>
            </a:r>
            <a:r>
              <a:rPr lang="es-ES" sz="1200">
                <a:solidFill>
                  <a:srgbClr val="254147"/>
                </a:solidFill>
                <a:sym typeface="Wingdings" panose="05000000000000000000" pitchFamily="2" charset="2"/>
              </a:rPr>
              <a:t>categorías de tomadores de decisiones: </a:t>
            </a:r>
            <a:endParaRPr lang="es-CO" sz="1200">
              <a:solidFill>
                <a:srgbClr val="254147"/>
              </a:solidFill>
            </a:endParaRPr>
          </a:p>
        </p:txBody>
      </p:sp>
      <p:sp>
        <p:nvSpPr>
          <p:cNvPr id="123" name="Rectángulo 122">
            <a:extLst>
              <a:ext uri="{FF2B5EF4-FFF2-40B4-BE49-F238E27FC236}">
                <a16:creationId xmlns:a16="http://schemas.microsoft.com/office/drawing/2014/main" id="{EA803C8F-BBB1-4354-90E8-720062F397E0}"/>
              </a:ext>
            </a:extLst>
          </p:cNvPr>
          <p:cNvSpPr/>
          <p:nvPr/>
        </p:nvSpPr>
        <p:spPr>
          <a:xfrm>
            <a:off x="6161609" y="5166452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24" name="CuadroTexto 123">
            <a:extLst>
              <a:ext uri="{FF2B5EF4-FFF2-40B4-BE49-F238E27FC236}">
                <a16:creationId xmlns:a16="http://schemas.microsoft.com/office/drawing/2014/main" id="{E0A25213-98A0-4D9C-B905-69EC0D854861}"/>
              </a:ext>
            </a:extLst>
          </p:cNvPr>
          <p:cNvSpPr txBox="1"/>
          <p:nvPr/>
        </p:nvSpPr>
        <p:spPr>
          <a:xfrm>
            <a:off x="6559887" y="5078632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Presidente</a:t>
            </a: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11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25" name="Rectángulo 124">
            <a:extLst>
              <a:ext uri="{FF2B5EF4-FFF2-40B4-BE49-F238E27FC236}">
                <a16:creationId xmlns:a16="http://schemas.microsoft.com/office/drawing/2014/main" id="{6EEE8AFC-471F-4452-9936-7BAF0D8C6B67}"/>
              </a:ext>
            </a:extLst>
          </p:cNvPr>
          <p:cNvSpPr/>
          <p:nvPr/>
        </p:nvSpPr>
        <p:spPr>
          <a:xfrm>
            <a:off x="6158158" y="4803798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92D05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26" name="CuadroTexto 125">
            <a:extLst>
              <a:ext uri="{FF2B5EF4-FFF2-40B4-BE49-F238E27FC236}">
                <a16:creationId xmlns:a16="http://schemas.microsoft.com/office/drawing/2014/main" id="{B3717873-697F-451F-BA49-9F0AB4550A45}"/>
              </a:ext>
            </a:extLst>
          </p:cNvPr>
          <p:cNvSpPr txBox="1"/>
          <p:nvPr/>
        </p:nvSpPr>
        <p:spPr>
          <a:xfrm>
            <a:off x="6542164" y="4743863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Junta Directiva</a:t>
            </a: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11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27" name="CuadroTexto 126">
            <a:extLst>
              <a:ext uri="{FF2B5EF4-FFF2-40B4-BE49-F238E27FC236}">
                <a16:creationId xmlns:a16="http://schemas.microsoft.com/office/drawing/2014/main" id="{21108AA1-2B9D-4188-BBCC-74BBBE9302C7}"/>
              </a:ext>
            </a:extLst>
          </p:cNvPr>
          <p:cNvSpPr txBox="1"/>
          <p:nvPr/>
        </p:nvSpPr>
        <p:spPr>
          <a:xfrm>
            <a:off x="7977837" y="4747419"/>
            <a:ext cx="13555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Vicepresidentes</a:t>
            </a: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11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28" name="Rectángulo 127">
            <a:extLst>
              <a:ext uri="{FF2B5EF4-FFF2-40B4-BE49-F238E27FC236}">
                <a16:creationId xmlns:a16="http://schemas.microsoft.com/office/drawing/2014/main" id="{DCF3D11F-3DD2-486A-8119-9C38A5A436D5}"/>
              </a:ext>
            </a:extLst>
          </p:cNvPr>
          <p:cNvSpPr/>
          <p:nvPr/>
        </p:nvSpPr>
        <p:spPr>
          <a:xfrm>
            <a:off x="7629264" y="4811260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29" name="CuadroTexto 128">
            <a:extLst>
              <a:ext uri="{FF2B5EF4-FFF2-40B4-BE49-F238E27FC236}">
                <a16:creationId xmlns:a16="http://schemas.microsoft.com/office/drawing/2014/main" id="{AF127B43-599C-4DF7-9C76-8EFCDD84F269}"/>
              </a:ext>
            </a:extLst>
          </p:cNvPr>
          <p:cNvSpPr txBox="1"/>
          <p:nvPr/>
        </p:nvSpPr>
        <p:spPr>
          <a:xfrm>
            <a:off x="6542164" y="5504948"/>
            <a:ext cx="13555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VP HSE &amp; </a:t>
            </a:r>
            <a:r>
              <a:rPr lang="es-ES" sz="1000" err="1">
                <a:solidFill>
                  <a:schemeClr val="accent1">
                    <a:lumMod val="25000"/>
                  </a:schemeClr>
                </a:solidFill>
              </a:rPr>
              <a:t>Sos</a:t>
            </a:r>
            <a:endParaRPr lang="es-ES" sz="1000">
              <a:solidFill>
                <a:schemeClr val="accent1">
                  <a:lumMod val="25000"/>
                </a:schemeClr>
              </a:solidFill>
            </a:endParaRP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20% 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30" name="Rectángulo 129">
            <a:extLst>
              <a:ext uri="{FF2B5EF4-FFF2-40B4-BE49-F238E27FC236}">
                <a16:creationId xmlns:a16="http://schemas.microsoft.com/office/drawing/2014/main" id="{4EFB3025-4C2C-44FD-B2C8-39B360082221}"/>
              </a:ext>
            </a:extLst>
          </p:cNvPr>
          <p:cNvSpPr/>
          <p:nvPr/>
        </p:nvSpPr>
        <p:spPr>
          <a:xfrm>
            <a:off x="6191251" y="5565877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31" name="Rectángulo 130">
            <a:extLst>
              <a:ext uri="{FF2B5EF4-FFF2-40B4-BE49-F238E27FC236}">
                <a16:creationId xmlns:a16="http://schemas.microsoft.com/office/drawing/2014/main" id="{865EADF7-6A89-4769-AC5C-AA4FA77A6660}"/>
              </a:ext>
            </a:extLst>
          </p:cNvPr>
          <p:cNvSpPr/>
          <p:nvPr/>
        </p:nvSpPr>
        <p:spPr>
          <a:xfrm>
            <a:off x="7598594" y="5155705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32" name="CuadroTexto 131">
            <a:extLst>
              <a:ext uri="{FF2B5EF4-FFF2-40B4-BE49-F238E27FC236}">
                <a16:creationId xmlns:a16="http://schemas.microsoft.com/office/drawing/2014/main" id="{FC03C305-04BA-46AF-B7D7-D94598B2FE83}"/>
              </a:ext>
            </a:extLst>
          </p:cNvPr>
          <p:cNvSpPr txBox="1"/>
          <p:nvPr/>
        </p:nvSpPr>
        <p:spPr>
          <a:xfrm>
            <a:off x="7977952" y="5072102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Comité de </a:t>
            </a:r>
            <a:r>
              <a:rPr lang="es-ES" sz="1000" err="1">
                <a:solidFill>
                  <a:schemeClr val="accent1">
                    <a:lumMod val="25000"/>
                  </a:schemeClr>
                </a:solidFill>
              </a:rPr>
              <a:t>Aud</a:t>
            </a:r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. JD 5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33" name="CuadroTexto 132">
            <a:extLst>
              <a:ext uri="{FF2B5EF4-FFF2-40B4-BE49-F238E27FC236}">
                <a16:creationId xmlns:a16="http://schemas.microsoft.com/office/drawing/2014/main" id="{310CB3A5-C87B-4760-B9D3-E7FEB278DACA}"/>
              </a:ext>
            </a:extLst>
          </p:cNvPr>
          <p:cNvSpPr txBox="1"/>
          <p:nvPr/>
        </p:nvSpPr>
        <p:spPr>
          <a:xfrm>
            <a:off x="7989663" y="5499317"/>
            <a:ext cx="14905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Comité de ética</a:t>
            </a: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5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34" name="Rectángulo 133">
            <a:extLst>
              <a:ext uri="{FF2B5EF4-FFF2-40B4-BE49-F238E27FC236}">
                <a16:creationId xmlns:a16="http://schemas.microsoft.com/office/drawing/2014/main" id="{B2D44EE1-B15C-4463-8E05-2A1954C1E647}"/>
              </a:ext>
            </a:extLst>
          </p:cNvPr>
          <p:cNvSpPr/>
          <p:nvPr/>
        </p:nvSpPr>
        <p:spPr>
          <a:xfrm>
            <a:off x="7588045" y="5561532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43" name="CuadroTexto 142">
            <a:extLst>
              <a:ext uri="{FF2B5EF4-FFF2-40B4-BE49-F238E27FC236}">
                <a16:creationId xmlns:a16="http://schemas.microsoft.com/office/drawing/2014/main" id="{92043131-3755-4946-AA99-1BAB416E79D7}"/>
              </a:ext>
            </a:extLst>
          </p:cNvPr>
          <p:cNvSpPr txBox="1"/>
          <p:nvPr/>
        </p:nvSpPr>
        <p:spPr>
          <a:xfrm>
            <a:off x="2581541" y="4636737"/>
            <a:ext cx="10236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Gerente HSE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49" name="CuadroTexto 148">
            <a:extLst>
              <a:ext uri="{FF2B5EF4-FFF2-40B4-BE49-F238E27FC236}">
                <a16:creationId xmlns:a16="http://schemas.microsoft.com/office/drawing/2014/main" id="{7DD301E2-FD8B-473E-AC06-7B1BEE6BC359}"/>
              </a:ext>
            </a:extLst>
          </p:cNvPr>
          <p:cNvSpPr txBox="1"/>
          <p:nvPr/>
        </p:nvSpPr>
        <p:spPr>
          <a:xfrm>
            <a:off x="9424123" y="5028018"/>
            <a:ext cx="14905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Gerente de Cumplimiento</a:t>
            </a: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11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50" name="Rectángulo 149">
            <a:extLst>
              <a:ext uri="{FF2B5EF4-FFF2-40B4-BE49-F238E27FC236}">
                <a16:creationId xmlns:a16="http://schemas.microsoft.com/office/drawing/2014/main" id="{18B0FAF4-B25E-430A-B44F-BB89581DF8C7}"/>
              </a:ext>
            </a:extLst>
          </p:cNvPr>
          <p:cNvSpPr/>
          <p:nvPr/>
        </p:nvSpPr>
        <p:spPr>
          <a:xfrm>
            <a:off x="2244564" y="4717184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FF33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51" name="Rectángulo 150">
            <a:extLst>
              <a:ext uri="{FF2B5EF4-FFF2-40B4-BE49-F238E27FC236}">
                <a16:creationId xmlns:a16="http://schemas.microsoft.com/office/drawing/2014/main" id="{6759F741-D2BA-47AD-9BE9-B5F911C114F3}"/>
              </a:ext>
            </a:extLst>
          </p:cNvPr>
          <p:cNvSpPr/>
          <p:nvPr/>
        </p:nvSpPr>
        <p:spPr>
          <a:xfrm>
            <a:off x="9086890" y="5185023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6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52" name="CuadroTexto 151">
            <a:extLst>
              <a:ext uri="{FF2B5EF4-FFF2-40B4-BE49-F238E27FC236}">
                <a16:creationId xmlns:a16="http://schemas.microsoft.com/office/drawing/2014/main" id="{7A395937-9DFA-4F55-91C6-913660069E89}"/>
              </a:ext>
            </a:extLst>
          </p:cNvPr>
          <p:cNvSpPr txBox="1"/>
          <p:nvPr/>
        </p:nvSpPr>
        <p:spPr>
          <a:xfrm>
            <a:off x="2543880" y="3831950"/>
            <a:ext cx="10916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Jefe de Tierras 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53" name="Rectángulo 152">
            <a:extLst>
              <a:ext uri="{FF2B5EF4-FFF2-40B4-BE49-F238E27FC236}">
                <a16:creationId xmlns:a16="http://schemas.microsoft.com/office/drawing/2014/main" id="{4D3DF7EF-4C67-47D9-B3B2-1EE8EBA2B408}"/>
              </a:ext>
            </a:extLst>
          </p:cNvPr>
          <p:cNvSpPr/>
          <p:nvPr/>
        </p:nvSpPr>
        <p:spPr>
          <a:xfrm>
            <a:off x="2221545" y="3913879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948F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54" name="CuadroTexto 153">
            <a:extLst>
              <a:ext uri="{FF2B5EF4-FFF2-40B4-BE49-F238E27FC236}">
                <a16:creationId xmlns:a16="http://schemas.microsoft.com/office/drawing/2014/main" id="{7CCA0A5A-A0E7-4CFD-87B3-1917D7D6D482}"/>
              </a:ext>
            </a:extLst>
          </p:cNvPr>
          <p:cNvSpPr txBox="1"/>
          <p:nvPr/>
        </p:nvSpPr>
        <p:spPr>
          <a:xfrm>
            <a:off x="10817315" y="4778321"/>
            <a:ext cx="11792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VP /Manager de crisis 5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55" name="Rectángulo 154">
            <a:extLst>
              <a:ext uri="{FF2B5EF4-FFF2-40B4-BE49-F238E27FC236}">
                <a16:creationId xmlns:a16="http://schemas.microsoft.com/office/drawing/2014/main" id="{35F89E97-6F48-4EEF-A953-195B7A0A5828}"/>
              </a:ext>
            </a:extLst>
          </p:cNvPr>
          <p:cNvSpPr/>
          <p:nvPr/>
        </p:nvSpPr>
        <p:spPr>
          <a:xfrm>
            <a:off x="10483430" y="4879425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69" name="Rectángulo 68">
            <a:extLst>
              <a:ext uri="{FF2B5EF4-FFF2-40B4-BE49-F238E27FC236}">
                <a16:creationId xmlns:a16="http://schemas.microsoft.com/office/drawing/2014/main" id="{C8FFD2CE-E309-4072-9297-68D81274B40A}"/>
              </a:ext>
            </a:extLst>
          </p:cNvPr>
          <p:cNvSpPr/>
          <p:nvPr/>
        </p:nvSpPr>
        <p:spPr>
          <a:xfrm rot="5400000">
            <a:off x="1634372" y="1538474"/>
            <a:ext cx="579600" cy="223200"/>
          </a:xfrm>
          <a:prstGeom prst="rect">
            <a:avLst/>
          </a:prstGeom>
          <a:solidFill>
            <a:srgbClr val="FFFFFF"/>
          </a:solidFill>
          <a:ln w="19050">
            <a:solidFill>
              <a:srgbClr val="FF33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700">
                <a:solidFill>
                  <a:schemeClr val="tx2"/>
                </a:solidFill>
              </a:rPr>
              <a:t>GHSE</a:t>
            </a:r>
          </a:p>
        </p:txBody>
      </p:sp>
      <p:sp>
        <p:nvSpPr>
          <p:cNvPr id="70" name="Rectángulo 69">
            <a:extLst>
              <a:ext uri="{FF2B5EF4-FFF2-40B4-BE49-F238E27FC236}">
                <a16:creationId xmlns:a16="http://schemas.microsoft.com/office/drawing/2014/main" id="{10CEAC64-42D3-4879-B6BE-C8E72BFE35E5}"/>
              </a:ext>
            </a:extLst>
          </p:cNvPr>
          <p:cNvSpPr/>
          <p:nvPr/>
        </p:nvSpPr>
        <p:spPr>
          <a:xfrm rot="5400000">
            <a:off x="1621747" y="2281712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FF33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700">
                <a:solidFill>
                  <a:schemeClr val="tx2"/>
                </a:solidFill>
              </a:rPr>
              <a:t>GHSE</a:t>
            </a: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90F0F570-83E8-4E69-A9A0-FCCDD1A6305C}"/>
              </a:ext>
            </a:extLst>
          </p:cNvPr>
          <p:cNvSpPr/>
          <p:nvPr/>
        </p:nvSpPr>
        <p:spPr>
          <a:xfrm rot="5400000">
            <a:off x="1631485" y="3014865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VPH&amp;S</a:t>
            </a: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4260919B-02F7-4252-A8DC-A6A9A717EDBD}"/>
              </a:ext>
            </a:extLst>
          </p:cNvPr>
          <p:cNvSpPr/>
          <p:nvPr/>
        </p:nvSpPr>
        <p:spPr>
          <a:xfrm rot="5400000">
            <a:off x="1630149" y="3917763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948F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JT</a:t>
            </a:r>
          </a:p>
        </p:txBody>
      </p:sp>
      <p:sp>
        <p:nvSpPr>
          <p:cNvPr id="74" name="Rectángulo 73">
            <a:extLst>
              <a:ext uri="{FF2B5EF4-FFF2-40B4-BE49-F238E27FC236}">
                <a16:creationId xmlns:a16="http://schemas.microsoft.com/office/drawing/2014/main" id="{B33AE336-9430-49D7-A74B-E3F446F53353}"/>
              </a:ext>
            </a:extLst>
          </p:cNvPr>
          <p:cNvSpPr/>
          <p:nvPr/>
        </p:nvSpPr>
        <p:spPr>
          <a:xfrm>
            <a:off x="6646211" y="3181808"/>
            <a:ext cx="579128" cy="223203"/>
          </a:xfrm>
          <a:prstGeom prst="rect">
            <a:avLst/>
          </a:prstGeom>
          <a:solidFill>
            <a:srgbClr val="FFFFFF"/>
          </a:solidFill>
          <a:ln w="127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</a:rPr>
              <a:t>VPH&amp;S</a:t>
            </a:r>
          </a:p>
        </p:txBody>
      </p:sp>
      <p:sp>
        <p:nvSpPr>
          <p:cNvPr id="75" name="Rectángulo 74">
            <a:extLst>
              <a:ext uri="{FF2B5EF4-FFF2-40B4-BE49-F238E27FC236}">
                <a16:creationId xmlns:a16="http://schemas.microsoft.com/office/drawing/2014/main" id="{10CA6977-1DFC-403C-A45F-5C7F8E4CD4C3}"/>
              </a:ext>
            </a:extLst>
          </p:cNvPr>
          <p:cNvSpPr/>
          <p:nvPr/>
        </p:nvSpPr>
        <p:spPr>
          <a:xfrm>
            <a:off x="4899694" y="2247954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VPH&amp;S</a:t>
            </a:r>
          </a:p>
        </p:txBody>
      </p:sp>
      <p:sp>
        <p:nvSpPr>
          <p:cNvPr id="76" name="Rectángulo 75">
            <a:extLst>
              <a:ext uri="{FF2B5EF4-FFF2-40B4-BE49-F238E27FC236}">
                <a16:creationId xmlns:a16="http://schemas.microsoft.com/office/drawing/2014/main" id="{F6C39026-16E8-46B2-BBB2-C363EF966425}"/>
              </a:ext>
            </a:extLst>
          </p:cNvPr>
          <p:cNvSpPr/>
          <p:nvPr/>
        </p:nvSpPr>
        <p:spPr>
          <a:xfrm>
            <a:off x="8280696" y="2242913"/>
            <a:ext cx="579128" cy="223203"/>
          </a:xfrm>
          <a:prstGeom prst="rect">
            <a:avLst/>
          </a:prstGeom>
          <a:solidFill>
            <a:srgbClr val="FFFFFF"/>
          </a:solidFill>
          <a:ln w="127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VPH&amp;S</a:t>
            </a:r>
          </a:p>
        </p:txBody>
      </p:sp>
      <p:sp>
        <p:nvSpPr>
          <p:cNvPr id="77" name="Rectángulo 76">
            <a:extLst>
              <a:ext uri="{FF2B5EF4-FFF2-40B4-BE49-F238E27FC236}">
                <a16:creationId xmlns:a16="http://schemas.microsoft.com/office/drawing/2014/main" id="{250DDC32-7399-472D-8369-461782ED2483}"/>
              </a:ext>
            </a:extLst>
          </p:cNvPr>
          <p:cNvSpPr/>
          <p:nvPr/>
        </p:nvSpPr>
        <p:spPr>
          <a:xfrm>
            <a:off x="9834822" y="2250660"/>
            <a:ext cx="579128" cy="223203"/>
          </a:xfrm>
          <a:prstGeom prst="rect">
            <a:avLst/>
          </a:prstGeom>
          <a:solidFill>
            <a:srgbClr val="FFFFFF"/>
          </a:solidFill>
          <a:ln w="127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VPH&amp;S</a:t>
            </a:r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EECEA763-7F2B-4DAF-B4D2-08130142AA14}"/>
              </a:ext>
            </a:extLst>
          </p:cNvPr>
          <p:cNvSpPr/>
          <p:nvPr/>
        </p:nvSpPr>
        <p:spPr>
          <a:xfrm>
            <a:off x="6642072" y="2209891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</a:rPr>
              <a:t>MC</a:t>
            </a:r>
          </a:p>
        </p:txBody>
      </p:sp>
      <p:sp>
        <p:nvSpPr>
          <p:cNvPr id="81" name="Rectángulo 80">
            <a:extLst>
              <a:ext uri="{FF2B5EF4-FFF2-40B4-BE49-F238E27FC236}">
                <a16:creationId xmlns:a16="http://schemas.microsoft.com/office/drawing/2014/main" id="{C631E4FA-DE7B-421C-942A-141780DC78A4}"/>
              </a:ext>
            </a:extLst>
          </p:cNvPr>
          <p:cNvSpPr/>
          <p:nvPr/>
        </p:nvSpPr>
        <p:spPr>
          <a:xfrm>
            <a:off x="4899694" y="4152967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900">
                <a:solidFill>
                  <a:schemeClr val="tx2"/>
                </a:solidFill>
              </a:rPr>
              <a:t>GC</a:t>
            </a:r>
          </a:p>
        </p:txBody>
      </p:sp>
      <p:sp>
        <p:nvSpPr>
          <p:cNvPr id="82" name="Rectángulo 81">
            <a:extLst>
              <a:ext uri="{FF2B5EF4-FFF2-40B4-BE49-F238E27FC236}">
                <a16:creationId xmlns:a16="http://schemas.microsoft.com/office/drawing/2014/main" id="{A365855A-28E1-4840-82FA-0C3F7779753F}"/>
              </a:ext>
            </a:extLst>
          </p:cNvPr>
          <p:cNvSpPr/>
          <p:nvPr/>
        </p:nvSpPr>
        <p:spPr>
          <a:xfrm>
            <a:off x="4899694" y="3200021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P</a:t>
            </a:r>
          </a:p>
        </p:txBody>
      </p:sp>
      <p:sp>
        <p:nvSpPr>
          <p:cNvPr id="113" name="CuadroTexto 112">
            <a:extLst>
              <a:ext uri="{FF2B5EF4-FFF2-40B4-BE49-F238E27FC236}">
                <a16:creationId xmlns:a16="http://schemas.microsoft.com/office/drawing/2014/main" id="{441FAA60-63AD-4CC5-AD45-5D9BA9F5B68B}"/>
              </a:ext>
            </a:extLst>
          </p:cNvPr>
          <p:cNvSpPr txBox="1"/>
          <p:nvPr/>
        </p:nvSpPr>
        <p:spPr>
          <a:xfrm>
            <a:off x="6598154" y="5951916"/>
            <a:ext cx="1520344" cy="261610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>
                <a:solidFill>
                  <a:schemeClr val="tx2"/>
                </a:solidFill>
              </a:rPr>
              <a:t>Palanca de Agilidad 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14" name="CuadroTexto 113">
            <a:extLst>
              <a:ext uri="{FF2B5EF4-FFF2-40B4-BE49-F238E27FC236}">
                <a16:creationId xmlns:a16="http://schemas.microsoft.com/office/drawing/2014/main" id="{D4928E43-184C-4F89-A5DB-B6007137710D}"/>
              </a:ext>
            </a:extLst>
          </p:cNvPr>
          <p:cNvSpPr txBox="1"/>
          <p:nvPr/>
        </p:nvSpPr>
        <p:spPr>
          <a:xfrm>
            <a:off x="8289654" y="5951916"/>
            <a:ext cx="1541838" cy="26161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>
                <a:solidFill>
                  <a:schemeClr val="tx2"/>
                </a:solidFill>
              </a:rPr>
              <a:t>Palanca de Claridad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15" name="CuadroTexto 114">
            <a:extLst>
              <a:ext uri="{FF2B5EF4-FFF2-40B4-BE49-F238E27FC236}">
                <a16:creationId xmlns:a16="http://schemas.microsoft.com/office/drawing/2014/main" id="{E26055A8-02B1-4ECA-9E20-4089928DF9EB}"/>
              </a:ext>
            </a:extLst>
          </p:cNvPr>
          <p:cNvSpPr txBox="1"/>
          <p:nvPr/>
        </p:nvSpPr>
        <p:spPr>
          <a:xfrm>
            <a:off x="10000177" y="5951916"/>
            <a:ext cx="1793088" cy="261610"/>
          </a:xfrm>
          <a:prstGeom prst="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>
                <a:solidFill>
                  <a:schemeClr val="tx2"/>
                </a:solidFill>
              </a:rPr>
              <a:t>Palanca de Consistencia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17" name="Triángulo isósceles 116">
            <a:extLst>
              <a:ext uri="{FF2B5EF4-FFF2-40B4-BE49-F238E27FC236}">
                <a16:creationId xmlns:a16="http://schemas.microsoft.com/office/drawing/2014/main" id="{F61C864A-9A93-4E9F-9696-95BA709B906A}"/>
              </a:ext>
            </a:extLst>
          </p:cNvPr>
          <p:cNvSpPr/>
          <p:nvPr/>
        </p:nvSpPr>
        <p:spPr>
          <a:xfrm>
            <a:off x="5866615" y="6466858"/>
            <a:ext cx="153160" cy="229170"/>
          </a:xfrm>
          <a:prstGeom prst="triangl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118" name="Círculo parcial 117">
            <a:extLst>
              <a:ext uri="{FF2B5EF4-FFF2-40B4-BE49-F238E27FC236}">
                <a16:creationId xmlns:a16="http://schemas.microsoft.com/office/drawing/2014/main" id="{3E887259-9725-41DC-84F2-12618F2AEF5D}"/>
              </a:ext>
            </a:extLst>
          </p:cNvPr>
          <p:cNvSpPr/>
          <p:nvPr/>
        </p:nvSpPr>
        <p:spPr>
          <a:xfrm>
            <a:off x="7434386" y="6490573"/>
            <a:ext cx="162145" cy="181741"/>
          </a:xfrm>
          <a:prstGeom prst="pie">
            <a:avLst/>
          </a:prstGeom>
          <a:solidFill>
            <a:srgbClr val="00B0F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119" name="CuadroTexto 118">
            <a:extLst>
              <a:ext uri="{FF2B5EF4-FFF2-40B4-BE49-F238E27FC236}">
                <a16:creationId xmlns:a16="http://schemas.microsoft.com/office/drawing/2014/main" id="{CF27F8C4-20D0-4D77-B45B-A4590944E79B}"/>
              </a:ext>
            </a:extLst>
          </p:cNvPr>
          <p:cNvSpPr txBox="1"/>
          <p:nvPr/>
        </p:nvSpPr>
        <p:spPr>
          <a:xfrm>
            <a:off x="5968153" y="6450638"/>
            <a:ext cx="1230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>
                <a:solidFill>
                  <a:schemeClr val="tx2"/>
                </a:solidFill>
              </a:rPr>
              <a:t>Cumplimiento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20" name="CuadroTexto 119">
            <a:extLst>
              <a:ext uri="{FF2B5EF4-FFF2-40B4-BE49-F238E27FC236}">
                <a16:creationId xmlns:a16="http://schemas.microsoft.com/office/drawing/2014/main" id="{2531434F-E118-4E2D-88FB-E9F0792BE557}"/>
              </a:ext>
            </a:extLst>
          </p:cNvPr>
          <p:cNvSpPr txBox="1"/>
          <p:nvPr/>
        </p:nvSpPr>
        <p:spPr>
          <a:xfrm>
            <a:off x="7734583" y="6450638"/>
            <a:ext cx="1230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>
                <a:solidFill>
                  <a:schemeClr val="tx2"/>
                </a:solidFill>
              </a:rPr>
              <a:t>Inmobiliaria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56" name="Rectangle 30">
            <a:extLst>
              <a:ext uri="{FF2B5EF4-FFF2-40B4-BE49-F238E27FC236}">
                <a16:creationId xmlns:a16="http://schemas.microsoft.com/office/drawing/2014/main" id="{E9BCE429-585B-45A6-85A4-C7E36494C46F}"/>
              </a:ext>
            </a:extLst>
          </p:cNvPr>
          <p:cNvSpPr>
            <a:spLocks/>
          </p:cNvSpPr>
          <p:nvPr/>
        </p:nvSpPr>
        <p:spPr>
          <a:xfrm>
            <a:off x="2173524" y="705792"/>
            <a:ext cx="1325352" cy="1712244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Suscripción y pago de acuerdos de indemnizaciones prediales a terceros por desarrollo de obras de mantenimiento o nuevos proyectos </a:t>
            </a:r>
          </a:p>
        </p:txBody>
      </p:sp>
      <p:sp>
        <p:nvSpPr>
          <p:cNvPr id="159" name="Rectangle 30">
            <a:extLst>
              <a:ext uri="{FF2B5EF4-FFF2-40B4-BE49-F238E27FC236}">
                <a16:creationId xmlns:a16="http://schemas.microsoft.com/office/drawing/2014/main" id="{0414BD16-5AD5-4608-995D-08C9D27746E1}"/>
              </a:ext>
            </a:extLst>
          </p:cNvPr>
          <p:cNvSpPr>
            <a:spLocks/>
          </p:cNvSpPr>
          <p:nvPr/>
        </p:nvSpPr>
        <p:spPr>
          <a:xfrm>
            <a:off x="2172772" y="2572928"/>
            <a:ext cx="1314297" cy="419154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Hasta 35 </a:t>
            </a:r>
          </a:p>
          <a:p>
            <a:pPr algn="ctr"/>
            <a:r>
              <a:rPr lang="es-ES" sz="1100">
                <a:solidFill>
                  <a:schemeClr val="tx2"/>
                </a:solidFill>
              </a:rPr>
              <a:t>SMLMV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60" name="Rectangle 30">
            <a:extLst>
              <a:ext uri="{FF2B5EF4-FFF2-40B4-BE49-F238E27FC236}">
                <a16:creationId xmlns:a16="http://schemas.microsoft.com/office/drawing/2014/main" id="{D8414B9E-A552-4BCE-AE55-8089DA4FCB0A}"/>
              </a:ext>
            </a:extLst>
          </p:cNvPr>
          <p:cNvSpPr>
            <a:spLocks/>
          </p:cNvSpPr>
          <p:nvPr/>
        </p:nvSpPr>
        <p:spPr>
          <a:xfrm>
            <a:off x="2142734" y="3174320"/>
            <a:ext cx="1304168" cy="419154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Superiores de </a:t>
            </a:r>
          </a:p>
          <a:p>
            <a:pPr algn="ctr"/>
            <a:r>
              <a:rPr lang="es-ES" sz="1100">
                <a:solidFill>
                  <a:schemeClr val="tx2"/>
                </a:solidFill>
              </a:rPr>
              <a:t>35 SMLMV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61" name="Rectángulo 160">
            <a:extLst>
              <a:ext uri="{FF2B5EF4-FFF2-40B4-BE49-F238E27FC236}">
                <a16:creationId xmlns:a16="http://schemas.microsoft.com/office/drawing/2014/main" id="{53AD37EB-B346-4460-9981-82CA1C730DF2}"/>
              </a:ext>
            </a:extLst>
          </p:cNvPr>
          <p:cNvSpPr/>
          <p:nvPr/>
        </p:nvSpPr>
        <p:spPr>
          <a:xfrm rot="5400000">
            <a:off x="3161972" y="2647841"/>
            <a:ext cx="448288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948FD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JT</a:t>
            </a:r>
          </a:p>
        </p:txBody>
      </p:sp>
      <p:sp>
        <p:nvSpPr>
          <p:cNvPr id="162" name="Rectángulo 161">
            <a:extLst>
              <a:ext uri="{FF2B5EF4-FFF2-40B4-BE49-F238E27FC236}">
                <a16:creationId xmlns:a16="http://schemas.microsoft.com/office/drawing/2014/main" id="{340970B5-B4C0-44C0-A487-91F5170AC55E}"/>
              </a:ext>
            </a:extLst>
          </p:cNvPr>
          <p:cNvSpPr/>
          <p:nvPr/>
        </p:nvSpPr>
        <p:spPr>
          <a:xfrm>
            <a:off x="2233013" y="4302686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00B0F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63" name="CuadroTexto 162">
            <a:extLst>
              <a:ext uri="{FF2B5EF4-FFF2-40B4-BE49-F238E27FC236}">
                <a16:creationId xmlns:a16="http://schemas.microsoft.com/office/drawing/2014/main" id="{E68DC65A-93B8-4587-BF1A-B897E00D4BA9}"/>
              </a:ext>
            </a:extLst>
          </p:cNvPr>
          <p:cNvSpPr txBox="1"/>
          <p:nvPr/>
        </p:nvSpPr>
        <p:spPr>
          <a:xfrm>
            <a:off x="2562651" y="4204032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Gerente Legal Operacional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64" name="Rectángulo 163">
            <a:extLst>
              <a:ext uri="{FF2B5EF4-FFF2-40B4-BE49-F238E27FC236}">
                <a16:creationId xmlns:a16="http://schemas.microsoft.com/office/drawing/2014/main" id="{C61A6580-57EA-404B-8AB3-3154ED4D91E2}"/>
              </a:ext>
            </a:extLst>
          </p:cNvPr>
          <p:cNvSpPr/>
          <p:nvPr/>
        </p:nvSpPr>
        <p:spPr>
          <a:xfrm rot="5400000">
            <a:off x="3174658" y="3247352"/>
            <a:ext cx="448288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00B0F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GLO</a:t>
            </a:r>
          </a:p>
        </p:txBody>
      </p:sp>
      <p:sp>
        <p:nvSpPr>
          <p:cNvPr id="165" name="CuadroTexto 164">
            <a:extLst>
              <a:ext uri="{FF2B5EF4-FFF2-40B4-BE49-F238E27FC236}">
                <a16:creationId xmlns:a16="http://schemas.microsoft.com/office/drawing/2014/main" id="{5ECB6BAB-01A4-4031-AFF5-666CA1F7C303}"/>
              </a:ext>
            </a:extLst>
          </p:cNvPr>
          <p:cNvSpPr txBox="1"/>
          <p:nvPr/>
        </p:nvSpPr>
        <p:spPr>
          <a:xfrm>
            <a:off x="10914634" y="5244360"/>
            <a:ext cx="87572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Comité de </a:t>
            </a:r>
            <a:r>
              <a:rPr lang="es-ES" sz="1000" err="1">
                <a:solidFill>
                  <a:schemeClr val="accent1">
                    <a:lumMod val="25000"/>
                  </a:schemeClr>
                </a:solidFill>
              </a:rPr>
              <a:t>Gest</a:t>
            </a:r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. </a:t>
            </a:r>
            <a:r>
              <a:rPr lang="es-ES" sz="1000" err="1">
                <a:solidFill>
                  <a:schemeClr val="accent1">
                    <a:lumMod val="25000"/>
                  </a:schemeClr>
                </a:solidFill>
              </a:rPr>
              <a:t>Act</a:t>
            </a:r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. Y Proy.5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66" name="CuadroTexto 165">
            <a:extLst>
              <a:ext uri="{FF2B5EF4-FFF2-40B4-BE49-F238E27FC236}">
                <a16:creationId xmlns:a16="http://schemas.microsoft.com/office/drawing/2014/main" id="{D622807D-0029-496D-9FF0-3E3E825043ED}"/>
              </a:ext>
            </a:extLst>
          </p:cNvPr>
          <p:cNvSpPr txBox="1"/>
          <p:nvPr/>
        </p:nvSpPr>
        <p:spPr>
          <a:xfrm>
            <a:off x="9420658" y="4697558"/>
            <a:ext cx="10751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Comité de Negocios 11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67" name="Rectángulo 166">
            <a:extLst>
              <a:ext uri="{FF2B5EF4-FFF2-40B4-BE49-F238E27FC236}">
                <a16:creationId xmlns:a16="http://schemas.microsoft.com/office/drawing/2014/main" id="{775B6AE0-CB44-4723-A497-8EAECD1943BD}"/>
              </a:ext>
            </a:extLst>
          </p:cNvPr>
          <p:cNvSpPr/>
          <p:nvPr/>
        </p:nvSpPr>
        <p:spPr>
          <a:xfrm>
            <a:off x="10485643" y="5422548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68" name="Rectángulo 167">
            <a:extLst>
              <a:ext uri="{FF2B5EF4-FFF2-40B4-BE49-F238E27FC236}">
                <a16:creationId xmlns:a16="http://schemas.microsoft.com/office/drawing/2014/main" id="{27CE3CF4-8552-4668-8C92-72492F9C7EDE}"/>
              </a:ext>
            </a:extLst>
          </p:cNvPr>
          <p:cNvSpPr/>
          <p:nvPr/>
        </p:nvSpPr>
        <p:spPr>
          <a:xfrm>
            <a:off x="9074414" y="4824314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FF99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78" name="Rectángulo 77">
            <a:extLst>
              <a:ext uri="{FF2B5EF4-FFF2-40B4-BE49-F238E27FC236}">
                <a16:creationId xmlns:a16="http://schemas.microsoft.com/office/drawing/2014/main" id="{9207C83B-D9D1-4EF5-A6BA-47A0F83FCE5C}"/>
              </a:ext>
            </a:extLst>
          </p:cNvPr>
          <p:cNvSpPr/>
          <p:nvPr/>
        </p:nvSpPr>
        <p:spPr>
          <a:xfrm>
            <a:off x="11400712" y="1126523"/>
            <a:ext cx="711360" cy="2232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CGA y P</a:t>
            </a:r>
          </a:p>
        </p:txBody>
      </p:sp>
      <p:sp>
        <p:nvSpPr>
          <p:cNvPr id="175" name="Rectangle 7">
            <a:extLst>
              <a:ext uri="{FF2B5EF4-FFF2-40B4-BE49-F238E27FC236}">
                <a16:creationId xmlns:a16="http://schemas.microsoft.com/office/drawing/2014/main" id="{C6A85CE0-D516-4D47-80B2-B2B61C459D20}"/>
              </a:ext>
            </a:extLst>
          </p:cNvPr>
          <p:cNvSpPr/>
          <p:nvPr/>
        </p:nvSpPr>
        <p:spPr>
          <a:xfrm>
            <a:off x="96946" y="657470"/>
            <a:ext cx="3470799" cy="4975455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81EF6D6-B646-4C41-9412-D3C8807256CB}"/>
              </a:ext>
            </a:extLst>
          </p:cNvPr>
          <p:cNvSpPr txBox="1"/>
          <p:nvPr/>
        </p:nvSpPr>
        <p:spPr>
          <a:xfrm>
            <a:off x="1189574" y="5936745"/>
            <a:ext cx="14607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>
                <a:solidFill>
                  <a:schemeClr val="tx2"/>
                </a:solidFill>
              </a:rPr>
              <a:t>Al MAD de Finanzas 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2" name="Flecha: hacia abajo 11">
            <a:extLst>
              <a:ext uri="{FF2B5EF4-FFF2-40B4-BE49-F238E27FC236}">
                <a16:creationId xmlns:a16="http://schemas.microsoft.com/office/drawing/2014/main" id="{C439253A-F324-4629-9301-79D1D68D6668}"/>
              </a:ext>
            </a:extLst>
          </p:cNvPr>
          <p:cNvSpPr/>
          <p:nvPr/>
        </p:nvSpPr>
        <p:spPr>
          <a:xfrm>
            <a:off x="1811373" y="5733927"/>
            <a:ext cx="202613" cy="185628"/>
          </a:xfrm>
          <a:prstGeom prst="down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6" name="Elipse 175">
            <a:extLst>
              <a:ext uri="{FF2B5EF4-FFF2-40B4-BE49-F238E27FC236}">
                <a16:creationId xmlns:a16="http://schemas.microsoft.com/office/drawing/2014/main" id="{B0F58865-93CC-435C-AAD7-8207773D551B}"/>
              </a:ext>
            </a:extLst>
          </p:cNvPr>
          <p:cNvSpPr/>
          <p:nvPr/>
        </p:nvSpPr>
        <p:spPr>
          <a:xfrm>
            <a:off x="7217401" y="534977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3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11" name="Rectángulo 110">
            <a:extLst>
              <a:ext uri="{FF2B5EF4-FFF2-40B4-BE49-F238E27FC236}">
                <a16:creationId xmlns:a16="http://schemas.microsoft.com/office/drawing/2014/main" id="{33054A9A-549A-46EA-92C1-A009641F3BB9}"/>
              </a:ext>
            </a:extLst>
          </p:cNvPr>
          <p:cNvSpPr>
            <a:spLocks/>
          </p:cNvSpPr>
          <p:nvPr/>
        </p:nvSpPr>
        <p:spPr>
          <a:xfrm>
            <a:off x="210232" y="4716297"/>
            <a:ext cx="1711053" cy="749596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100">
                <a:solidFill>
                  <a:schemeClr val="tx2"/>
                </a:solidFill>
              </a:rPr>
              <a:t>Aprobar Hojas de Vida de Indicadores que afectan la compensación variable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12" name="Rectángulo 111">
            <a:extLst>
              <a:ext uri="{FF2B5EF4-FFF2-40B4-BE49-F238E27FC236}">
                <a16:creationId xmlns:a16="http://schemas.microsoft.com/office/drawing/2014/main" id="{22B5CFB4-BFDC-4A1D-A451-0270A649F5C0}"/>
              </a:ext>
            </a:extLst>
          </p:cNvPr>
          <p:cNvSpPr/>
          <p:nvPr/>
        </p:nvSpPr>
        <p:spPr>
          <a:xfrm rot="5400000">
            <a:off x="1627352" y="4979495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VPH&amp;S</a:t>
            </a:r>
          </a:p>
        </p:txBody>
      </p:sp>
      <p:sp>
        <p:nvSpPr>
          <p:cNvPr id="116" name="Rectángulo 115">
            <a:extLst>
              <a:ext uri="{FF2B5EF4-FFF2-40B4-BE49-F238E27FC236}">
                <a16:creationId xmlns:a16="http://schemas.microsoft.com/office/drawing/2014/main" id="{879B225E-11CB-48BD-B073-6718F5FD2747}"/>
              </a:ext>
            </a:extLst>
          </p:cNvPr>
          <p:cNvSpPr/>
          <p:nvPr/>
        </p:nvSpPr>
        <p:spPr>
          <a:xfrm>
            <a:off x="9105410" y="5642055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00B0F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57" name="CuadroTexto 156">
            <a:extLst>
              <a:ext uri="{FF2B5EF4-FFF2-40B4-BE49-F238E27FC236}">
                <a16:creationId xmlns:a16="http://schemas.microsoft.com/office/drawing/2014/main" id="{1F1CC25B-2BA4-4BD5-BA03-F2FA6AE36939}"/>
              </a:ext>
            </a:extLst>
          </p:cNvPr>
          <p:cNvSpPr txBox="1"/>
          <p:nvPr/>
        </p:nvSpPr>
        <p:spPr>
          <a:xfrm>
            <a:off x="9435048" y="5543401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Gerente Legal Operacional 5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58" name="CuadroTexto 157">
            <a:extLst>
              <a:ext uri="{FF2B5EF4-FFF2-40B4-BE49-F238E27FC236}">
                <a16:creationId xmlns:a16="http://schemas.microsoft.com/office/drawing/2014/main" id="{7580C1C1-1118-4E58-9C3A-0048861203FA}"/>
              </a:ext>
            </a:extLst>
          </p:cNvPr>
          <p:cNvSpPr txBox="1"/>
          <p:nvPr/>
        </p:nvSpPr>
        <p:spPr>
          <a:xfrm>
            <a:off x="25643" y="6349697"/>
            <a:ext cx="55383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>
                <a:solidFill>
                  <a:schemeClr val="tx2"/>
                </a:solidFill>
              </a:rPr>
              <a:t>Convenios pasó a ser liderado por Abastecimiento según definición de Presidencia</a:t>
            </a:r>
          </a:p>
        </p:txBody>
      </p:sp>
      <p:sp>
        <p:nvSpPr>
          <p:cNvPr id="2" name="CuadroTexto 47">
            <a:extLst>
              <a:ext uri="{FF2B5EF4-FFF2-40B4-BE49-F238E27FC236}">
                <a16:creationId xmlns:a16="http://schemas.microsoft.com/office/drawing/2014/main" id="{9D9E597F-A0E4-4678-B725-3E9102EA2CF7}"/>
              </a:ext>
            </a:extLst>
          </p:cNvPr>
          <p:cNvSpPr txBox="1"/>
          <p:nvPr/>
        </p:nvSpPr>
        <p:spPr>
          <a:xfrm>
            <a:off x="-8926" y="44829"/>
            <a:ext cx="121026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4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 – HSE y Sostenibilidad (1/2)</a:t>
            </a:r>
            <a:endParaRPr lang="es-CO" sz="24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3983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740088A-8ABF-414B-8746-763C3F660F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740088A-8ABF-414B-8746-763C3F660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42B40C10-F876-4F1B-842D-C3F6355B6C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419" sz="2000" b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A93B487-116E-4767-AA0D-CAE2A460FB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44876" y="6428983"/>
            <a:ext cx="847124" cy="365125"/>
          </a:xfrm>
        </p:spPr>
        <p:txBody>
          <a:bodyPr/>
          <a:lstStyle/>
          <a:p>
            <a:fld id="{02F25750-4209-4357-A72F-45445C8044EF}" type="slidenum">
              <a:rPr lang="es-CO" smtClean="0"/>
              <a:pPr/>
              <a:t>23</a:t>
            </a:fld>
            <a:endParaRPr lang="es-CO"/>
          </a:p>
        </p:txBody>
      </p:sp>
      <p:cxnSp>
        <p:nvCxnSpPr>
          <p:cNvPr id="95" name="Straight Connector 55">
            <a:extLst>
              <a:ext uri="{FF2B5EF4-FFF2-40B4-BE49-F238E27FC236}">
                <a16:creationId xmlns:a16="http://schemas.microsoft.com/office/drawing/2014/main" id="{992CCE25-00CE-4C15-881A-068C6B1A3F0E}"/>
              </a:ext>
            </a:extLst>
          </p:cNvPr>
          <p:cNvCxnSpPr>
            <a:cxnSpLocks/>
          </p:cNvCxnSpPr>
          <p:nvPr/>
        </p:nvCxnSpPr>
        <p:spPr>
          <a:xfrm flipH="1">
            <a:off x="89970" y="1783206"/>
            <a:ext cx="12109832" cy="0"/>
          </a:xfrm>
          <a:prstGeom prst="line">
            <a:avLst/>
          </a:prstGeom>
          <a:ln w="9525"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ángulo 95">
            <a:extLst>
              <a:ext uri="{FF2B5EF4-FFF2-40B4-BE49-F238E27FC236}">
                <a16:creationId xmlns:a16="http://schemas.microsoft.com/office/drawing/2014/main" id="{1DFEF71A-A80A-4597-AAC9-DB256058084B}"/>
              </a:ext>
            </a:extLst>
          </p:cNvPr>
          <p:cNvSpPr>
            <a:spLocks/>
          </p:cNvSpPr>
          <p:nvPr/>
        </p:nvSpPr>
        <p:spPr>
          <a:xfrm>
            <a:off x="4984888" y="695823"/>
            <a:ext cx="1837963" cy="795388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200">
                <a:solidFill>
                  <a:schemeClr val="tx2"/>
                </a:solidFill>
              </a:rPr>
              <a:t>Reportar asuntos asociados a cumplimiento </a:t>
            </a:r>
            <a:endParaRPr lang="es-CO" sz="1200">
              <a:solidFill>
                <a:schemeClr val="tx2"/>
              </a:solidFill>
            </a:endParaRPr>
          </a:p>
        </p:txBody>
      </p:sp>
      <p:sp>
        <p:nvSpPr>
          <p:cNvPr id="97" name="Rectángulo 96">
            <a:extLst>
              <a:ext uri="{FF2B5EF4-FFF2-40B4-BE49-F238E27FC236}">
                <a16:creationId xmlns:a16="http://schemas.microsoft.com/office/drawing/2014/main" id="{99300021-C267-43BD-A0F5-B3ECE622345E}"/>
              </a:ext>
            </a:extLst>
          </p:cNvPr>
          <p:cNvSpPr>
            <a:spLocks/>
          </p:cNvSpPr>
          <p:nvPr/>
        </p:nvSpPr>
        <p:spPr>
          <a:xfrm>
            <a:off x="264648" y="717713"/>
            <a:ext cx="2405773" cy="822842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200">
                <a:solidFill>
                  <a:schemeClr val="tx2"/>
                </a:solidFill>
              </a:rPr>
              <a:t>Aprobar asuntos asociados a cumplimiento </a:t>
            </a:r>
            <a:endParaRPr lang="es-CO" sz="1200">
              <a:solidFill>
                <a:schemeClr val="tx2"/>
              </a:solidFill>
            </a:endParaRPr>
          </a:p>
        </p:txBody>
      </p:sp>
      <p:sp>
        <p:nvSpPr>
          <p:cNvPr id="99" name="Rectángulo 98">
            <a:extLst>
              <a:ext uri="{FF2B5EF4-FFF2-40B4-BE49-F238E27FC236}">
                <a16:creationId xmlns:a16="http://schemas.microsoft.com/office/drawing/2014/main" id="{90CC82AC-D82E-4F89-AC67-093894759099}"/>
              </a:ext>
            </a:extLst>
          </p:cNvPr>
          <p:cNvSpPr>
            <a:spLocks/>
          </p:cNvSpPr>
          <p:nvPr/>
        </p:nvSpPr>
        <p:spPr>
          <a:xfrm>
            <a:off x="7061103" y="671957"/>
            <a:ext cx="1108800" cy="859458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200">
                <a:solidFill>
                  <a:schemeClr val="tx2"/>
                </a:solidFill>
              </a:rPr>
              <a:t>Aprobar y actualizar documentos  corporativos </a:t>
            </a:r>
            <a:endParaRPr lang="es-CO" sz="1200">
              <a:solidFill>
                <a:schemeClr val="tx2"/>
              </a:solidFill>
            </a:endParaRP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1835F856-5B59-4AFF-86DE-2F0968B76CF7}"/>
              </a:ext>
            </a:extLst>
          </p:cNvPr>
          <p:cNvSpPr>
            <a:spLocks/>
          </p:cNvSpPr>
          <p:nvPr/>
        </p:nvSpPr>
        <p:spPr>
          <a:xfrm>
            <a:off x="2908673" y="729668"/>
            <a:ext cx="1837963" cy="778522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200">
                <a:solidFill>
                  <a:schemeClr val="tx2"/>
                </a:solidFill>
              </a:rPr>
              <a:t>Certificar asuntos asociados a cumplimiento</a:t>
            </a:r>
            <a:endParaRPr lang="es-CO" sz="1200">
              <a:solidFill>
                <a:schemeClr val="tx2"/>
              </a:solidFill>
            </a:endParaRP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815B10B7-60B3-4C63-8431-70CC556387C9}"/>
              </a:ext>
            </a:extLst>
          </p:cNvPr>
          <p:cNvSpPr/>
          <p:nvPr/>
        </p:nvSpPr>
        <p:spPr>
          <a:xfrm>
            <a:off x="101242" y="488714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6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04" name="Elipse 103">
            <a:extLst>
              <a:ext uri="{FF2B5EF4-FFF2-40B4-BE49-F238E27FC236}">
                <a16:creationId xmlns:a16="http://schemas.microsoft.com/office/drawing/2014/main" id="{0326A105-08B6-409E-9596-07BD7645DEAE}"/>
              </a:ext>
            </a:extLst>
          </p:cNvPr>
          <p:cNvSpPr/>
          <p:nvPr/>
        </p:nvSpPr>
        <p:spPr>
          <a:xfrm>
            <a:off x="6886136" y="488714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9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06" name="Elipse 105">
            <a:extLst>
              <a:ext uri="{FF2B5EF4-FFF2-40B4-BE49-F238E27FC236}">
                <a16:creationId xmlns:a16="http://schemas.microsoft.com/office/drawing/2014/main" id="{8BF155F6-9EE4-4410-BB22-DEE4B18E9FEF}"/>
              </a:ext>
            </a:extLst>
          </p:cNvPr>
          <p:cNvSpPr/>
          <p:nvPr/>
        </p:nvSpPr>
        <p:spPr>
          <a:xfrm>
            <a:off x="4818429" y="488714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8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07" name="Elipse 106">
            <a:extLst>
              <a:ext uri="{FF2B5EF4-FFF2-40B4-BE49-F238E27FC236}">
                <a16:creationId xmlns:a16="http://schemas.microsoft.com/office/drawing/2014/main" id="{4802A65C-C4BA-49C6-A107-DC404BE5C336}"/>
              </a:ext>
            </a:extLst>
          </p:cNvPr>
          <p:cNvSpPr/>
          <p:nvPr/>
        </p:nvSpPr>
        <p:spPr>
          <a:xfrm>
            <a:off x="2738800" y="488714"/>
            <a:ext cx="360000" cy="360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7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40" name="Rectángulo 139">
            <a:extLst>
              <a:ext uri="{FF2B5EF4-FFF2-40B4-BE49-F238E27FC236}">
                <a16:creationId xmlns:a16="http://schemas.microsoft.com/office/drawing/2014/main" id="{2062ABD7-3E18-481C-BE0F-59304E710CAD}"/>
              </a:ext>
            </a:extLst>
          </p:cNvPr>
          <p:cNvSpPr>
            <a:spLocks/>
          </p:cNvSpPr>
          <p:nvPr/>
        </p:nvSpPr>
        <p:spPr>
          <a:xfrm>
            <a:off x="4803308" y="1647337"/>
            <a:ext cx="1440000" cy="2060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O" sz="1400" b="1">
                <a:solidFill>
                  <a:schemeClr val="tx2"/>
                </a:solidFill>
              </a:rPr>
              <a:t>Categorías: </a:t>
            </a:r>
          </a:p>
        </p:txBody>
      </p:sp>
      <p:sp>
        <p:nvSpPr>
          <p:cNvPr id="146" name="Rectangle 30">
            <a:extLst>
              <a:ext uri="{FF2B5EF4-FFF2-40B4-BE49-F238E27FC236}">
                <a16:creationId xmlns:a16="http://schemas.microsoft.com/office/drawing/2014/main" id="{D86974CC-32BF-439F-A6E2-D1E82520294D}"/>
              </a:ext>
            </a:extLst>
          </p:cNvPr>
          <p:cNvSpPr>
            <a:spLocks/>
          </p:cNvSpPr>
          <p:nvPr/>
        </p:nvSpPr>
        <p:spPr>
          <a:xfrm>
            <a:off x="265134" y="4940616"/>
            <a:ext cx="2404800" cy="76943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>
                <a:solidFill>
                  <a:schemeClr val="tx2"/>
                </a:solidFill>
              </a:rPr>
              <a:t>Vigilar el establecimiento de un sistema de gestión de riesgos que incluya los planes de manejo y mecanismos de monitoreo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2FE2391-690B-4D13-B0BE-AD54BD4AFEAA}"/>
              </a:ext>
            </a:extLst>
          </p:cNvPr>
          <p:cNvSpPr txBox="1"/>
          <p:nvPr/>
        </p:nvSpPr>
        <p:spPr>
          <a:xfrm>
            <a:off x="0" y="6243957"/>
            <a:ext cx="51634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>
                <a:solidFill>
                  <a:schemeClr val="tx2"/>
                </a:solidFill>
              </a:rPr>
              <a:t>* (no incluye auditoría interna).</a:t>
            </a:r>
            <a:endParaRPr lang="es-CO" sz="1200">
              <a:solidFill>
                <a:schemeClr val="tx2"/>
              </a:solidFill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A11713A1-A10D-481C-88FE-F4218C21E34C}"/>
              </a:ext>
            </a:extLst>
          </p:cNvPr>
          <p:cNvSpPr txBox="1"/>
          <p:nvPr/>
        </p:nvSpPr>
        <p:spPr>
          <a:xfrm>
            <a:off x="265134" y="1994605"/>
            <a:ext cx="2404800" cy="430887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2"/>
                </a:solidFill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5pPr>
            <a:lvl6pPr>
              <a:defRPr sz="1600">
                <a:solidFill>
                  <a:schemeClr val="lt1"/>
                </a:solidFill>
              </a:defRPr>
            </a:lvl6pPr>
            <a:lvl7pPr>
              <a:defRPr sz="1600">
                <a:solidFill>
                  <a:schemeClr val="lt1"/>
                </a:solidFill>
              </a:defRPr>
            </a:lvl7pPr>
            <a:lvl8pPr>
              <a:defRPr sz="1600">
                <a:solidFill>
                  <a:schemeClr val="lt1"/>
                </a:solidFill>
              </a:defRPr>
            </a:lvl8pPr>
            <a:lvl9pPr>
              <a:defRPr sz="1600">
                <a:solidFill>
                  <a:schemeClr val="lt1"/>
                </a:solidFill>
              </a:defRPr>
            </a:lvl9pPr>
          </a:lstStyle>
          <a:p>
            <a:r>
              <a:rPr lang="es-ES"/>
              <a:t>Aprobación de los riesgos empresariales*</a:t>
            </a:r>
            <a:endParaRPr lang="es-CO"/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6B85F83C-1F4E-4C9F-945A-BF3A010998CA}"/>
              </a:ext>
            </a:extLst>
          </p:cNvPr>
          <p:cNvSpPr txBox="1"/>
          <p:nvPr/>
        </p:nvSpPr>
        <p:spPr>
          <a:xfrm>
            <a:off x="265134" y="2589076"/>
            <a:ext cx="2404800" cy="600164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2"/>
                </a:solidFill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1600"/>
            </a:lvl2pPr>
            <a:lvl3pPr fontAlgn="base">
              <a:spcBef>
                <a:spcPct val="0"/>
              </a:spcBef>
              <a:spcAft>
                <a:spcPct val="0"/>
              </a:spcAft>
              <a:defRPr sz="1600"/>
            </a:lvl3pPr>
            <a:lvl4pPr fontAlgn="base">
              <a:spcBef>
                <a:spcPct val="0"/>
              </a:spcBef>
              <a:spcAft>
                <a:spcPct val="0"/>
              </a:spcAft>
              <a:defRPr sz="1600"/>
            </a:lvl4pPr>
            <a:lvl5pPr fontAlgn="base">
              <a:spcBef>
                <a:spcPct val="0"/>
              </a:spcBef>
              <a:spcAft>
                <a:spcPct val="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s-ES"/>
              <a:t>Aprobación de los </a:t>
            </a:r>
            <a:r>
              <a:rPr lang="es-ES" err="1"/>
              <a:t>KRI</a:t>
            </a:r>
            <a:r>
              <a:rPr lang="es-ES"/>
              <a:t>´s que se definan para el monitoreo de los riesgos empresariales.</a:t>
            </a:r>
            <a:endParaRPr lang="es-CO"/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2E9313C2-48BF-4BEC-84FF-27E4DA635C08}"/>
              </a:ext>
            </a:extLst>
          </p:cNvPr>
          <p:cNvSpPr txBox="1"/>
          <p:nvPr/>
        </p:nvSpPr>
        <p:spPr>
          <a:xfrm>
            <a:off x="265134" y="3321986"/>
            <a:ext cx="2404800" cy="600164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2"/>
                </a:solidFill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1600"/>
            </a:lvl2pPr>
            <a:lvl3pPr fontAlgn="base">
              <a:spcBef>
                <a:spcPct val="0"/>
              </a:spcBef>
              <a:spcAft>
                <a:spcPct val="0"/>
              </a:spcAft>
              <a:defRPr sz="1600"/>
            </a:lvl3pPr>
            <a:lvl4pPr fontAlgn="base">
              <a:spcBef>
                <a:spcPct val="0"/>
              </a:spcBef>
              <a:spcAft>
                <a:spcPct val="0"/>
              </a:spcAft>
              <a:defRPr sz="1600"/>
            </a:lvl4pPr>
            <a:lvl5pPr fontAlgn="base">
              <a:spcBef>
                <a:spcPct val="0"/>
              </a:spcBef>
              <a:spcAft>
                <a:spcPct val="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s-ES"/>
              <a:t>Aprobación de la Planeación, implementación y evaluación de la gestión de los Riesgos en Cenit.</a:t>
            </a:r>
            <a:endParaRPr lang="es-CO"/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4724087F-5CE9-4DDB-BAFD-F7A2BCA8A16F}"/>
              </a:ext>
            </a:extLst>
          </p:cNvPr>
          <p:cNvSpPr txBox="1"/>
          <p:nvPr/>
        </p:nvSpPr>
        <p:spPr>
          <a:xfrm>
            <a:off x="265134" y="4038429"/>
            <a:ext cx="2404800" cy="769441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2"/>
                </a:solidFill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1600"/>
            </a:lvl2pPr>
            <a:lvl3pPr fontAlgn="base">
              <a:spcBef>
                <a:spcPct val="0"/>
              </a:spcBef>
              <a:spcAft>
                <a:spcPct val="0"/>
              </a:spcAft>
              <a:defRPr sz="1600"/>
            </a:lvl3pPr>
            <a:lvl4pPr fontAlgn="base">
              <a:spcBef>
                <a:spcPct val="0"/>
              </a:spcBef>
              <a:spcAft>
                <a:spcPct val="0"/>
              </a:spcAft>
              <a:defRPr sz="1600"/>
            </a:lvl4pPr>
            <a:lvl5pPr fontAlgn="base">
              <a:spcBef>
                <a:spcPct val="0"/>
              </a:spcBef>
              <a:spcAft>
                <a:spcPct val="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s-ES"/>
              <a:t>Aprobación de la solicitud de prórroga a los planes de acción producto de las observaciones de los entes de control*</a:t>
            </a:r>
            <a:endParaRPr lang="es-CO"/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BD5C92D0-454D-4F3C-9980-21CD644F1A95}"/>
              </a:ext>
            </a:extLst>
          </p:cNvPr>
          <p:cNvSpPr txBox="1"/>
          <p:nvPr/>
        </p:nvSpPr>
        <p:spPr>
          <a:xfrm>
            <a:off x="2908673" y="2006522"/>
            <a:ext cx="1839600" cy="93871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2"/>
                </a:solidFill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1600"/>
            </a:lvl2pPr>
            <a:lvl3pPr fontAlgn="base">
              <a:spcBef>
                <a:spcPct val="0"/>
              </a:spcBef>
              <a:spcAft>
                <a:spcPct val="0"/>
              </a:spcAft>
              <a:defRPr sz="1600"/>
            </a:lvl3pPr>
            <a:lvl4pPr fontAlgn="base">
              <a:spcBef>
                <a:spcPct val="0"/>
              </a:spcBef>
              <a:spcAft>
                <a:spcPct val="0"/>
              </a:spcAft>
              <a:defRPr sz="1600"/>
            </a:lvl4pPr>
            <a:lvl5pPr fontAlgn="base">
              <a:spcBef>
                <a:spcPct val="0"/>
              </a:spcBef>
              <a:spcAft>
                <a:spcPct val="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s-ES"/>
              <a:t>Certificación anual del diseño y la operatividad del control interno en cumplimiento con la Ley Sarbanes Oxley.</a:t>
            </a:r>
            <a:endParaRPr lang="es-CO"/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D51C7D30-E0C6-45B8-A151-C992F84F77A1}"/>
              </a:ext>
            </a:extLst>
          </p:cNvPr>
          <p:cNvSpPr txBox="1"/>
          <p:nvPr/>
        </p:nvSpPr>
        <p:spPr>
          <a:xfrm>
            <a:off x="4990697" y="2000190"/>
            <a:ext cx="1841426" cy="93871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2"/>
                </a:solidFill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5pPr>
            <a:lvl6pPr>
              <a:defRPr sz="1600">
                <a:solidFill>
                  <a:schemeClr val="lt1"/>
                </a:solidFill>
              </a:defRPr>
            </a:lvl6pPr>
            <a:lvl7pPr>
              <a:defRPr sz="1600">
                <a:solidFill>
                  <a:schemeClr val="lt1"/>
                </a:solidFill>
              </a:defRPr>
            </a:lvl7pPr>
            <a:lvl8pPr>
              <a:defRPr sz="1600">
                <a:solidFill>
                  <a:schemeClr val="lt1"/>
                </a:solidFill>
              </a:defRPr>
            </a:lvl8pPr>
            <a:lvl9pPr>
              <a:defRPr sz="1600">
                <a:solidFill>
                  <a:schemeClr val="lt1"/>
                </a:solidFill>
              </a:defRPr>
            </a:lvl9pPr>
          </a:lstStyle>
          <a:p>
            <a:r>
              <a:rPr lang="es-ES"/>
              <a:t>Decidir la naturaleza y alcance del reporte o traslado de información a las autoridades y entes de control.</a:t>
            </a:r>
            <a:endParaRPr lang="es-CO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A9B6670C-9FA9-460C-B8DE-3379ABC12A8C}"/>
              </a:ext>
            </a:extLst>
          </p:cNvPr>
          <p:cNvSpPr/>
          <p:nvPr/>
        </p:nvSpPr>
        <p:spPr>
          <a:xfrm>
            <a:off x="7097369" y="2007068"/>
            <a:ext cx="1108800" cy="1732231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100" dirty="0">
                <a:solidFill>
                  <a:schemeClr val="tx2"/>
                </a:solidFill>
              </a:rPr>
              <a:t>Aprobación del Código de Ética y el Manual de Cumplimiento y sus modificaciones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55" name="Triángulo isósceles 54">
            <a:extLst>
              <a:ext uri="{FF2B5EF4-FFF2-40B4-BE49-F238E27FC236}">
                <a16:creationId xmlns:a16="http://schemas.microsoft.com/office/drawing/2014/main" id="{49F2795A-5140-4AC5-A7B3-7D9E1FDA715F}"/>
              </a:ext>
            </a:extLst>
          </p:cNvPr>
          <p:cNvSpPr/>
          <p:nvPr/>
        </p:nvSpPr>
        <p:spPr>
          <a:xfrm>
            <a:off x="357831" y="2098815"/>
            <a:ext cx="153160" cy="229170"/>
          </a:xfrm>
          <a:prstGeom prst="triangl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56" name="Triángulo isósceles 55">
            <a:extLst>
              <a:ext uri="{FF2B5EF4-FFF2-40B4-BE49-F238E27FC236}">
                <a16:creationId xmlns:a16="http://schemas.microsoft.com/office/drawing/2014/main" id="{DB12A4C4-1175-4202-AE66-75E4184D4889}"/>
              </a:ext>
            </a:extLst>
          </p:cNvPr>
          <p:cNvSpPr/>
          <p:nvPr/>
        </p:nvSpPr>
        <p:spPr>
          <a:xfrm>
            <a:off x="295691" y="5350956"/>
            <a:ext cx="153160" cy="229170"/>
          </a:xfrm>
          <a:prstGeom prst="triangl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57" name="Triángulo isósceles 56">
            <a:extLst>
              <a:ext uri="{FF2B5EF4-FFF2-40B4-BE49-F238E27FC236}">
                <a16:creationId xmlns:a16="http://schemas.microsoft.com/office/drawing/2014/main" id="{6D2C0EC2-9819-47A8-BF97-F113A3CCB2B6}"/>
              </a:ext>
            </a:extLst>
          </p:cNvPr>
          <p:cNvSpPr/>
          <p:nvPr/>
        </p:nvSpPr>
        <p:spPr>
          <a:xfrm>
            <a:off x="318104" y="2791918"/>
            <a:ext cx="153160" cy="229170"/>
          </a:xfrm>
          <a:prstGeom prst="triangl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58" name="Triángulo isósceles 57">
            <a:extLst>
              <a:ext uri="{FF2B5EF4-FFF2-40B4-BE49-F238E27FC236}">
                <a16:creationId xmlns:a16="http://schemas.microsoft.com/office/drawing/2014/main" id="{9B8439E9-756C-4802-AE86-DE4E66184BA1}"/>
              </a:ext>
            </a:extLst>
          </p:cNvPr>
          <p:cNvSpPr/>
          <p:nvPr/>
        </p:nvSpPr>
        <p:spPr>
          <a:xfrm>
            <a:off x="315433" y="4130855"/>
            <a:ext cx="153160" cy="229170"/>
          </a:xfrm>
          <a:prstGeom prst="triangl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59" name="Triángulo isósceles 58">
            <a:extLst>
              <a:ext uri="{FF2B5EF4-FFF2-40B4-BE49-F238E27FC236}">
                <a16:creationId xmlns:a16="http://schemas.microsoft.com/office/drawing/2014/main" id="{37A5FDFB-B4F6-4C26-ACAC-D5D3A3FE6F07}"/>
              </a:ext>
            </a:extLst>
          </p:cNvPr>
          <p:cNvSpPr/>
          <p:nvPr/>
        </p:nvSpPr>
        <p:spPr>
          <a:xfrm>
            <a:off x="2943464" y="2229722"/>
            <a:ext cx="153160" cy="229170"/>
          </a:xfrm>
          <a:prstGeom prst="triangl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60" name="Triángulo isósceles 59">
            <a:extLst>
              <a:ext uri="{FF2B5EF4-FFF2-40B4-BE49-F238E27FC236}">
                <a16:creationId xmlns:a16="http://schemas.microsoft.com/office/drawing/2014/main" id="{24ECBACF-9F7F-41A7-9239-E723EE2B1B87}"/>
              </a:ext>
            </a:extLst>
          </p:cNvPr>
          <p:cNvSpPr/>
          <p:nvPr/>
        </p:nvSpPr>
        <p:spPr>
          <a:xfrm>
            <a:off x="5394338" y="2681156"/>
            <a:ext cx="153160" cy="229170"/>
          </a:xfrm>
          <a:prstGeom prst="triangl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61" name="Triángulo isósceles 60">
            <a:extLst>
              <a:ext uri="{FF2B5EF4-FFF2-40B4-BE49-F238E27FC236}">
                <a16:creationId xmlns:a16="http://schemas.microsoft.com/office/drawing/2014/main" id="{650A9289-5CB4-4614-BEDF-A6E766DF033A}"/>
              </a:ext>
            </a:extLst>
          </p:cNvPr>
          <p:cNvSpPr/>
          <p:nvPr/>
        </p:nvSpPr>
        <p:spPr>
          <a:xfrm>
            <a:off x="7131819" y="2148326"/>
            <a:ext cx="117095" cy="229170"/>
          </a:xfrm>
          <a:prstGeom prst="triangl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62" name="Triángulo isósceles 61">
            <a:extLst>
              <a:ext uri="{FF2B5EF4-FFF2-40B4-BE49-F238E27FC236}">
                <a16:creationId xmlns:a16="http://schemas.microsoft.com/office/drawing/2014/main" id="{5419A0C4-DA63-40D3-B1C1-7D649744C961}"/>
              </a:ext>
            </a:extLst>
          </p:cNvPr>
          <p:cNvSpPr/>
          <p:nvPr/>
        </p:nvSpPr>
        <p:spPr>
          <a:xfrm>
            <a:off x="5866615" y="6466858"/>
            <a:ext cx="153160" cy="229170"/>
          </a:xfrm>
          <a:prstGeom prst="triangl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63" name="Círculo parcial 62">
            <a:extLst>
              <a:ext uri="{FF2B5EF4-FFF2-40B4-BE49-F238E27FC236}">
                <a16:creationId xmlns:a16="http://schemas.microsoft.com/office/drawing/2014/main" id="{921FDB8B-D26D-44D7-8FDF-62CCF1ED0C24}"/>
              </a:ext>
            </a:extLst>
          </p:cNvPr>
          <p:cNvSpPr/>
          <p:nvPr/>
        </p:nvSpPr>
        <p:spPr>
          <a:xfrm>
            <a:off x="7434386" y="6490573"/>
            <a:ext cx="162145" cy="181741"/>
          </a:xfrm>
          <a:prstGeom prst="pie">
            <a:avLst/>
          </a:prstGeom>
          <a:solidFill>
            <a:srgbClr val="00B0F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67034597-84B8-4A8E-A718-F04F8D12DA13}"/>
              </a:ext>
            </a:extLst>
          </p:cNvPr>
          <p:cNvSpPr txBox="1"/>
          <p:nvPr/>
        </p:nvSpPr>
        <p:spPr>
          <a:xfrm>
            <a:off x="5968153" y="6450638"/>
            <a:ext cx="1230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>
                <a:solidFill>
                  <a:schemeClr val="tx2"/>
                </a:solidFill>
              </a:rPr>
              <a:t>Cumplimiento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EFD704C2-B677-43C1-868E-4733842A4506}"/>
              </a:ext>
            </a:extLst>
          </p:cNvPr>
          <p:cNvSpPr txBox="1"/>
          <p:nvPr/>
        </p:nvSpPr>
        <p:spPr>
          <a:xfrm>
            <a:off x="7734583" y="6450638"/>
            <a:ext cx="1230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>
                <a:solidFill>
                  <a:schemeClr val="tx2"/>
                </a:solidFill>
              </a:rPr>
              <a:t>Inmobiliaria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E3715D34-037A-4075-AD33-D36B88DE8DA9}"/>
              </a:ext>
            </a:extLst>
          </p:cNvPr>
          <p:cNvSpPr>
            <a:spLocks/>
          </p:cNvSpPr>
          <p:nvPr/>
        </p:nvSpPr>
        <p:spPr>
          <a:xfrm>
            <a:off x="8408155" y="717713"/>
            <a:ext cx="1203211" cy="822842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200">
                <a:solidFill>
                  <a:schemeClr val="tx2"/>
                </a:solidFill>
              </a:rPr>
              <a:t>Aprobar la adquisición de derechos inmobiliarios</a:t>
            </a:r>
            <a:endParaRPr lang="es-CO" sz="1200">
              <a:solidFill>
                <a:schemeClr val="tx2"/>
              </a:solidFill>
            </a:endParaRPr>
          </a:p>
        </p:txBody>
      </p:sp>
      <p:sp>
        <p:nvSpPr>
          <p:cNvPr id="67" name="Rectángulo 66">
            <a:extLst>
              <a:ext uri="{FF2B5EF4-FFF2-40B4-BE49-F238E27FC236}">
                <a16:creationId xmlns:a16="http://schemas.microsoft.com/office/drawing/2014/main" id="{E41D27C7-41BB-46FF-B584-1636633442B6}"/>
              </a:ext>
            </a:extLst>
          </p:cNvPr>
          <p:cNvSpPr>
            <a:spLocks/>
          </p:cNvSpPr>
          <p:nvPr/>
        </p:nvSpPr>
        <p:spPr>
          <a:xfrm>
            <a:off x="9849618" y="695823"/>
            <a:ext cx="1001895" cy="844732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200">
                <a:solidFill>
                  <a:schemeClr val="tx2"/>
                </a:solidFill>
              </a:rPr>
              <a:t>Aprobar la compra y venta de inmuebles</a:t>
            </a:r>
            <a:endParaRPr lang="es-CO" sz="1200">
              <a:solidFill>
                <a:schemeClr val="tx2"/>
              </a:solidFill>
            </a:endParaRP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464D1786-51BC-4285-B1A0-B0A00A5B60C7}"/>
              </a:ext>
            </a:extLst>
          </p:cNvPr>
          <p:cNvSpPr txBox="1"/>
          <p:nvPr/>
        </p:nvSpPr>
        <p:spPr>
          <a:xfrm>
            <a:off x="8448720" y="2012536"/>
            <a:ext cx="1202400" cy="195603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2"/>
                </a:solidFill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5pPr>
            <a:lvl6pPr>
              <a:defRPr sz="1600">
                <a:solidFill>
                  <a:schemeClr val="lt1"/>
                </a:solidFill>
              </a:defRPr>
            </a:lvl6pPr>
            <a:lvl7pPr>
              <a:defRPr sz="1600">
                <a:solidFill>
                  <a:schemeClr val="lt1"/>
                </a:solidFill>
              </a:defRPr>
            </a:lvl7pPr>
            <a:lvl8pPr>
              <a:defRPr sz="1600">
                <a:solidFill>
                  <a:schemeClr val="lt1"/>
                </a:solidFill>
              </a:defRPr>
            </a:lvl8pPr>
            <a:lvl9pPr>
              <a:defRPr sz="1600">
                <a:solidFill>
                  <a:schemeClr val="lt1"/>
                </a:solidFill>
              </a:defRPr>
            </a:lvl9pPr>
          </a:lstStyle>
          <a:p>
            <a:r>
              <a:rPr lang="es-ES"/>
              <a:t>Adquisición o disposición final de derechos inmobiliarios sobre inmuebles de CENIT o de terceros (entre otros servidumbres y usufructos)</a:t>
            </a:r>
            <a:endParaRPr lang="es-CO"/>
          </a:p>
        </p:txBody>
      </p:sp>
      <p:sp>
        <p:nvSpPr>
          <p:cNvPr id="71" name="CuadroTexto 70">
            <a:extLst>
              <a:ext uri="{FF2B5EF4-FFF2-40B4-BE49-F238E27FC236}">
                <a16:creationId xmlns:a16="http://schemas.microsoft.com/office/drawing/2014/main" id="{4836D068-702B-4045-B7A8-99FF08023F6D}"/>
              </a:ext>
            </a:extLst>
          </p:cNvPr>
          <p:cNvSpPr txBox="1"/>
          <p:nvPr/>
        </p:nvSpPr>
        <p:spPr>
          <a:xfrm>
            <a:off x="9830244" y="1987881"/>
            <a:ext cx="1000800" cy="1743796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2"/>
                </a:solidFill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5pPr>
            <a:lvl6pPr>
              <a:defRPr sz="1600">
                <a:solidFill>
                  <a:schemeClr val="lt1"/>
                </a:solidFill>
              </a:defRPr>
            </a:lvl6pPr>
            <a:lvl7pPr>
              <a:defRPr sz="1600">
                <a:solidFill>
                  <a:schemeClr val="lt1"/>
                </a:solidFill>
              </a:defRPr>
            </a:lvl7pPr>
            <a:lvl8pPr>
              <a:defRPr sz="1600">
                <a:solidFill>
                  <a:schemeClr val="lt1"/>
                </a:solidFill>
              </a:defRPr>
            </a:lvl8pPr>
            <a:lvl9pPr>
              <a:defRPr sz="1600">
                <a:solidFill>
                  <a:schemeClr val="lt1"/>
                </a:solidFill>
              </a:defRPr>
            </a:lvl9pPr>
          </a:lstStyle>
          <a:p>
            <a:r>
              <a:rPr lang="es-ES"/>
              <a:t>Compra y venta de inmuebles en el desarrollo de la operación o los proyectos de CENIT</a:t>
            </a:r>
            <a:endParaRPr lang="es-CO"/>
          </a:p>
        </p:txBody>
      </p:sp>
      <p:sp>
        <p:nvSpPr>
          <p:cNvPr id="72" name="Círculo parcial 71">
            <a:extLst>
              <a:ext uri="{FF2B5EF4-FFF2-40B4-BE49-F238E27FC236}">
                <a16:creationId xmlns:a16="http://schemas.microsoft.com/office/drawing/2014/main" id="{89DE429E-CB9E-4D81-ABF0-57B74A17076B}"/>
              </a:ext>
            </a:extLst>
          </p:cNvPr>
          <p:cNvSpPr/>
          <p:nvPr/>
        </p:nvSpPr>
        <p:spPr>
          <a:xfrm>
            <a:off x="9893318" y="2505344"/>
            <a:ext cx="123965" cy="181741"/>
          </a:xfrm>
          <a:prstGeom prst="pie">
            <a:avLst/>
          </a:prstGeom>
          <a:solidFill>
            <a:srgbClr val="00B0F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73" name="Círculo parcial 72">
            <a:extLst>
              <a:ext uri="{FF2B5EF4-FFF2-40B4-BE49-F238E27FC236}">
                <a16:creationId xmlns:a16="http://schemas.microsoft.com/office/drawing/2014/main" id="{D2C8D331-431F-450E-984A-A362AB966BAC}"/>
              </a:ext>
            </a:extLst>
          </p:cNvPr>
          <p:cNvSpPr/>
          <p:nvPr/>
        </p:nvSpPr>
        <p:spPr>
          <a:xfrm>
            <a:off x="8537951" y="2710621"/>
            <a:ext cx="123965" cy="181741"/>
          </a:xfrm>
          <a:prstGeom prst="pie">
            <a:avLst/>
          </a:prstGeom>
          <a:solidFill>
            <a:srgbClr val="00B0F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74" name="Rectángulo 73">
            <a:extLst>
              <a:ext uri="{FF2B5EF4-FFF2-40B4-BE49-F238E27FC236}">
                <a16:creationId xmlns:a16="http://schemas.microsoft.com/office/drawing/2014/main" id="{028EA49A-637B-4697-A40E-1F22C3459645}"/>
              </a:ext>
            </a:extLst>
          </p:cNvPr>
          <p:cNvSpPr>
            <a:spLocks/>
          </p:cNvSpPr>
          <p:nvPr/>
        </p:nvSpPr>
        <p:spPr>
          <a:xfrm>
            <a:off x="11089766" y="679320"/>
            <a:ext cx="1017367" cy="985166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200">
                <a:solidFill>
                  <a:schemeClr val="tx2"/>
                </a:solidFill>
              </a:rPr>
              <a:t>Autorizar la entrega de datos geográficos de CENIT </a:t>
            </a:r>
            <a:endParaRPr lang="es-CO" sz="1200">
              <a:solidFill>
                <a:schemeClr val="tx2"/>
              </a:solidFill>
            </a:endParaRPr>
          </a:p>
        </p:txBody>
      </p:sp>
      <p:sp>
        <p:nvSpPr>
          <p:cNvPr id="76" name="CuadroTexto 75">
            <a:extLst>
              <a:ext uri="{FF2B5EF4-FFF2-40B4-BE49-F238E27FC236}">
                <a16:creationId xmlns:a16="http://schemas.microsoft.com/office/drawing/2014/main" id="{25A852B0-8475-4C60-AEB9-D1040C49C3BB}"/>
              </a:ext>
            </a:extLst>
          </p:cNvPr>
          <p:cNvSpPr txBox="1"/>
          <p:nvPr/>
        </p:nvSpPr>
        <p:spPr>
          <a:xfrm>
            <a:off x="11089049" y="1987515"/>
            <a:ext cx="1018800" cy="93871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2"/>
                </a:solidFill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lt1"/>
                </a:solidFill>
              </a:defRPr>
            </a:lvl5pPr>
            <a:lvl6pPr>
              <a:defRPr sz="1600">
                <a:solidFill>
                  <a:schemeClr val="lt1"/>
                </a:solidFill>
              </a:defRPr>
            </a:lvl6pPr>
            <a:lvl7pPr>
              <a:defRPr sz="1600">
                <a:solidFill>
                  <a:schemeClr val="lt1"/>
                </a:solidFill>
              </a:defRPr>
            </a:lvl7pPr>
            <a:lvl8pPr>
              <a:defRPr sz="1600">
                <a:solidFill>
                  <a:schemeClr val="lt1"/>
                </a:solidFill>
              </a:defRPr>
            </a:lvl8pPr>
            <a:lvl9pPr>
              <a:defRPr sz="1600">
                <a:solidFill>
                  <a:schemeClr val="lt1"/>
                </a:solidFill>
              </a:defRPr>
            </a:lvl9pPr>
          </a:lstStyle>
          <a:p>
            <a:r>
              <a:rPr lang="es-CO"/>
              <a:t>Autorización de entrega de datos geográficos de CENIT </a:t>
            </a:r>
          </a:p>
        </p:txBody>
      </p:sp>
      <p:sp>
        <p:nvSpPr>
          <p:cNvPr id="78" name="Círculo parcial 77">
            <a:extLst>
              <a:ext uri="{FF2B5EF4-FFF2-40B4-BE49-F238E27FC236}">
                <a16:creationId xmlns:a16="http://schemas.microsoft.com/office/drawing/2014/main" id="{46301A00-37E9-4660-814A-89E7E18F1668}"/>
              </a:ext>
            </a:extLst>
          </p:cNvPr>
          <p:cNvSpPr/>
          <p:nvPr/>
        </p:nvSpPr>
        <p:spPr>
          <a:xfrm>
            <a:off x="11150301" y="2373887"/>
            <a:ext cx="123965" cy="181741"/>
          </a:xfrm>
          <a:prstGeom prst="pie">
            <a:avLst/>
          </a:prstGeom>
          <a:solidFill>
            <a:srgbClr val="00B0F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75" name="Rectángulo 74">
            <a:extLst>
              <a:ext uri="{FF2B5EF4-FFF2-40B4-BE49-F238E27FC236}">
                <a16:creationId xmlns:a16="http://schemas.microsoft.com/office/drawing/2014/main" id="{FD204494-7569-4731-B89B-3E85FD58A95C}"/>
              </a:ext>
            </a:extLst>
          </p:cNvPr>
          <p:cNvSpPr/>
          <p:nvPr/>
        </p:nvSpPr>
        <p:spPr>
          <a:xfrm>
            <a:off x="2464602" y="3242758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900">
                <a:solidFill>
                  <a:schemeClr val="tx2"/>
                </a:solidFill>
              </a:rPr>
              <a:t>GC</a:t>
            </a:r>
          </a:p>
        </p:txBody>
      </p:sp>
      <p:sp>
        <p:nvSpPr>
          <p:cNvPr id="82" name="Rectángulo 81">
            <a:extLst>
              <a:ext uri="{FF2B5EF4-FFF2-40B4-BE49-F238E27FC236}">
                <a16:creationId xmlns:a16="http://schemas.microsoft.com/office/drawing/2014/main" id="{F356FE48-7C2B-4E8A-AABF-3B844FDD347E}"/>
              </a:ext>
            </a:extLst>
          </p:cNvPr>
          <p:cNvSpPr/>
          <p:nvPr/>
        </p:nvSpPr>
        <p:spPr>
          <a:xfrm>
            <a:off x="9245711" y="1803413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FF99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CN</a:t>
            </a:r>
          </a:p>
        </p:txBody>
      </p:sp>
      <p:sp>
        <p:nvSpPr>
          <p:cNvPr id="83" name="Rectángulo 82">
            <a:extLst>
              <a:ext uri="{FF2B5EF4-FFF2-40B4-BE49-F238E27FC236}">
                <a16:creationId xmlns:a16="http://schemas.microsoft.com/office/drawing/2014/main" id="{22BF857A-F1CA-4AEA-B4B8-103A1EDFD797}"/>
              </a:ext>
            </a:extLst>
          </p:cNvPr>
          <p:cNvSpPr/>
          <p:nvPr/>
        </p:nvSpPr>
        <p:spPr>
          <a:xfrm>
            <a:off x="10411214" y="1817694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FF99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CN</a:t>
            </a: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5B4C9EEB-37B7-4FDB-BA09-0170AE7E657E}"/>
              </a:ext>
            </a:extLst>
          </p:cNvPr>
          <p:cNvSpPr/>
          <p:nvPr/>
        </p:nvSpPr>
        <p:spPr>
          <a:xfrm>
            <a:off x="11576190" y="1803413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00B0F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GLO</a:t>
            </a:r>
          </a:p>
        </p:txBody>
      </p:sp>
      <p:sp>
        <p:nvSpPr>
          <p:cNvPr id="85" name="Rectángulo 84">
            <a:extLst>
              <a:ext uri="{FF2B5EF4-FFF2-40B4-BE49-F238E27FC236}">
                <a16:creationId xmlns:a16="http://schemas.microsoft.com/office/drawing/2014/main" id="{04A383B3-6D49-4DC2-BACB-FF985F0E8C83}"/>
              </a:ext>
            </a:extLst>
          </p:cNvPr>
          <p:cNvSpPr/>
          <p:nvPr/>
        </p:nvSpPr>
        <p:spPr>
          <a:xfrm>
            <a:off x="4342628" y="1820266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P</a:t>
            </a:r>
          </a:p>
        </p:txBody>
      </p:sp>
      <p:sp>
        <p:nvSpPr>
          <p:cNvPr id="86" name="Rectángulo 85">
            <a:extLst>
              <a:ext uri="{FF2B5EF4-FFF2-40B4-BE49-F238E27FC236}">
                <a16:creationId xmlns:a16="http://schemas.microsoft.com/office/drawing/2014/main" id="{D7955715-186E-4199-A93E-2F8E9EFDEB18}"/>
              </a:ext>
            </a:extLst>
          </p:cNvPr>
          <p:cNvSpPr/>
          <p:nvPr/>
        </p:nvSpPr>
        <p:spPr>
          <a:xfrm>
            <a:off x="2464602" y="1841879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92D050"/>
            </a:solidFill>
            <a:prstDash val="solid"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900">
                <a:solidFill>
                  <a:schemeClr val="tx2"/>
                </a:solidFill>
              </a:rPr>
              <a:t>JD</a:t>
            </a:r>
          </a:p>
        </p:txBody>
      </p:sp>
      <p:sp>
        <p:nvSpPr>
          <p:cNvPr id="87" name="Rectángulo 86">
            <a:extLst>
              <a:ext uri="{FF2B5EF4-FFF2-40B4-BE49-F238E27FC236}">
                <a16:creationId xmlns:a16="http://schemas.microsoft.com/office/drawing/2014/main" id="{9B7D4F54-F021-45C4-9755-1C8F1059DA04}"/>
              </a:ext>
            </a:extLst>
          </p:cNvPr>
          <p:cNvSpPr/>
          <p:nvPr/>
        </p:nvSpPr>
        <p:spPr>
          <a:xfrm>
            <a:off x="7828555" y="1825670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92D050"/>
            </a:solidFill>
            <a:prstDash val="solid"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900">
                <a:solidFill>
                  <a:schemeClr val="tx2"/>
                </a:solidFill>
              </a:rPr>
              <a:t>JD</a:t>
            </a:r>
          </a:p>
        </p:txBody>
      </p:sp>
      <p:sp>
        <p:nvSpPr>
          <p:cNvPr id="88" name="Rectángulo 87">
            <a:extLst>
              <a:ext uri="{FF2B5EF4-FFF2-40B4-BE49-F238E27FC236}">
                <a16:creationId xmlns:a16="http://schemas.microsoft.com/office/drawing/2014/main" id="{82527907-F5EC-4CCE-BAA8-8DAB1B602105}"/>
              </a:ext>
            </a:extLst>
          </p:cNvPr>
          <p:cNvSpPr/>
          <p:nvPr/>
        </p:nvSpPr>
        <p:spPr>
          <a:xfrm>
            <a:off x="6451241" y="1809780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00B050"/>
            </a:solidFill>
            <a:prstDash val="solid"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900">
                <a:solidFill>
                  <a:schemeClr val="tx2"/>
                </a:solidFill>
              </a:rPr>
              <a:t>CÉ</a:t>
            </a:r>
          </a:p>
        </p:txBody>
      </p:sp>
      <p:sp>
        <p:nvSpPr>
          <p:cNvPr id="89" name="Rectángulo 88">
            <a:extLst>
              <a:ext uri="{FF2B5EF4-FFF2-40B4-BE49-F238E27FC236}">
                <a16:creationId xmlns:a16="http://schemas.microsoft.com/office/drawing/2014/main" id="{ADA745C2-514E-40AF-A0D2-08040B35925B}"/>
              </a:ext>
            </a:extLst>
          </p:cNvPr>
          <p:cNvSpPr/>
          <p:nvPr/>
        </p:nvSpPr>
        <p:spPr>
          <a:xfrm>
            <a:off x="2464602" y="2442733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900">
                <a:solidFill>
                  <a:schemeClr val="tx2"/>
                </a:solidFill>
              </a:rPr>
              <a:t>V</a:t>
            </a:r>
          </a:p>
        </p:txBody>
      </p:sp>
      <p:sp>
        <p:nvSpPr>
          <p:cNvPr id="90" name="Rectángulo 89">
            <a:extLst>
              <a:ext uri="{FF2B5EF4-FFF2-40B4-BE49-F238E27FC236}">
                <a16:creationId xmlns:a16="http://schemas.microsoft.com/office/drawing/2014/main" id="{C3DD3E09-9FA7-487F-A866-E5D82217FCF0}"/>
              </a:ext>
            </a:extLst>
          </p:cNvPr>
          <p:cNvSpPr/>
          <p:nvPr/>
        </p:nvSpPr>
        <p:spPr>
          <a:xfrm>
            <a:off x="2464602" y="3905682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900">
                <a:solidFill>
                  <a:schemeClr val="tx2"/>
                </a:solidFill>
              </a:rPr>
              <a:t>V</a:t>
            </a:r>
          </a:p>
        </p:txBody>
      </p:sp>
      <p:sp>
        <p:nvSpPr>
          <p:cNvPr id="91" name="Rectángulo 90">
            <a:extLst>
              <a:ext uri="{FF2B5EF4-FFF2-40B4-BE49-F238E27FC236}">
                <a16:creationId xmlns:a16="http://schemas.microsoft.com/office/drawing/2014/main" id="{C67D0DCE-05A3-4FF0-85F8-E5DB56576E0F}"/>
              </a:ext>
            </a:extLst>
          </p:cNvPr>
          <p:cNvSpPr/>
          <p:nvPr/>
        </p:nvSpPr>
        <p:spPr>
          <a:xfrm>
            <a:off x="2464602" y="4793701"/>
            <a:ext cx="579600" cy="2232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2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800">
                <a:solidFill>
                  <a:schemeClr val="tx2"/>
                </a:solidFill>
              </a:rPr>
              <a:t>CAJD</a:t>
            </a:r>
          </a:p>
        </p:txBody>
      </p:sp>
      <p:sp>
        <p:nvSpPr>
          <p:cNvPr id="188" name="Triángulo isósceles 187">
            <a:extLst>
              <a:ext uri="{FF2B5EF4-FFF2-40B4-BE49-F238E27FC236}">
                <a16:creationId xmlns:a16="http://schemas.microsoft.com/office/drawing/2014/main" id="{FF7A2263-A063-406E-858B-519AB44EEF98}"/>
              </a:ext>
            </a:extLst>
          </p:cNvPr>
          <p:cNvSpPr/>
          <p:nvPr/>
        </p:nvSpPr>
        <p:spPr>
          <a:xfrm>
            <a:off x="295691" y="3326515"/>
            <a:ext cx="153160" cy="229170"/>
          </a:xfrm>
          <a:prstGeom prst="triangl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127" name="CuadroTexto 126">
            <a:extLst>
              <a:ext uri="{FF2B5EF4-FFF2-40B4-BE49-F238E27FC236}">
                <a16:creationId xmlns:a16="http://schemas.microsoft.com/office/drawing/2014/main" id="{73BEC0EA-3959-416F-A4C5-525162D5F070}"/>
              </a:ext>
            </a:extLst>
          </p:cNvPr>
          <p:cNvSpPr txBox="1"/>
          <p:nvPr/>
        </p:nvSpPr>
        <p:spPr>
          <a:xfrm>
            <a:off x="5866615" y="4134261"/>
            <a:ext cx="6151523" cy="2079528"/>
          </a:xfrm>
          <a:prstGeom prst="rect">
            <a:avLst/>
          </a:prstGeom>
          <a:noFill/>
          <a:ln>
            <a:solidFill>
              <a:schemeClr val="accent6"/>
            </a:solidFill>
            <a:prstDash val="sysDot"/>
          </a:ln>
        </p:spPr>
        <p:txBody>
          <a:bodyPr wrap="square" rtlCol="0">
            <a:spAutoFit/>
          </a:bodyPr>
          <a:lstStyle/>
          <a:p>
            <a:endParaRPr lang="es-CO"/>
          </a:p>
        </p:txBody>
      </p:sp>
      <p:sp>
        <p:nvSpPr>
          <p:cNvPr id="128" name="CuadroTexto 127">
            <a:extLst>
              <a:ext uri="{FF2B5EF4-FFF2-40B4-BE49-F238E27FC236}">
                <a16:creationId xmlns:a16="http://schemas.microsoft.com/office/drawing/2014/main" id="{889B266B-D890-4175-B6C4-661B7A5088EA}"/>
              </a:ext>
            </a:extLst>
          </p:cNvPr>
          <p:cNvSpPr txBox="1"/>
          <p:nvPr/>
        </p:nvSpPr>
        <p:spPr>
          <a:xfrm>
            <a:off x="25856" y="6431229"/>
            <a:ext cx="55383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solidFill>
                  <a:schemeClr val="tx2"/>
                </a:solidFill>
              </a:rPr>
              <a:t>Convenios pasó a ser liderado por Abastecimiento según definición de Presidencia</a:t>
            </a:r>
          </a:p>
        </p:txBody>
      </p:sp>
      <p:sp>
        <p:nvSpPr>
          <p:cNvPr id="129" name="Rectángulo 128">
            <a:extLst>
              <a:ext uri="{FF2B5EF4-FFF2-40B4-BE49-F238E27FC236}">
                <a16:creationId xmlns:a16="http://schemas.microsoft.com/office/drawing/2014/main" id="{1B1D8368-9D03-4A1F-BB5C-FA8A693650E2}"/>
              </a:ext>
            </a:extLst>
          </p:cNvPr>
          <p:cNvSpPr/>
          <p:nvPr/>
        </p:nvSpPr>
        <p:spPr>
          <a:xfrm>
            <a:off x="5933007" y="4241062"/>
            <a:ext cx="5925653" cy="46166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 sz="1200" b="1">
                <a:solidFill>
                  <a:srgbClr val="254147"/>
                </a:solidFill>
                <a:sym typeface="Wingdings" panose="05000000000000000000" pitchFamily="2" charset="2"/>
              </a:rPr>
              <a:t>Total Macroproceso: 7</a:t>
            </a:r>
            <a:r>
              <a:rPr lang="es-ES" sz="1200">
                <a:solidFill>
                  <a:srgbClr val="254147"/>
                </a:solidFill>
                <a:sym typeface="Wingdings" panose="05000000000000000000" pitchFamily="2" charset="2"/>
              </a:rPr>
              <a:t> procesos Nivel 1, </a:t>
            </a:r>
            <a:r>
              <a:rPr lang="es-ES" sz="1200" b="1">
                <a:solidFill>
                  <a:srgbClr val="254147"/>
                </a:solidFill>
                <a:sym typeface="Wingdings" panose="05000000000000000000" pitchFamily="2" charset="2"/>
              </a:rPr>
              <a:t>12</a:t>
            </a:r>
            <a:r>
              <a:rPr lang="es-ES" sz="1200">
                <a:solidFill>
                  <a:srgbClr val="254147"/>
                </a:solidFill>
                <a:sym typeface="Wingdings" panose="05000000000000000000" pitchFamily="2" charset="2"/>
              </a:rPr>
              <a:t> decisiones críticas en su matriz del MAD con </a:t>
            </a:r>
            <a:r>
              <a:rPr lang="es-ES" sz="1200" b="1">
                <a:solidFill>
                  <a:schemeClr val="tx2"/>
                </a:solidFill>
                <a:sym typeface="Wingdings" panose="05000000000000000000" pitchFamily="2" charset="2"/>
              </a:rPr>
              <a:t>19 </a:t>
            </a:r>
            <a:r>
              <a:rPr lang="es-ES" sz="1200">
                <a:solidFill>
                  <a:srgbClr val="254147"/>
                </a:solidFill>
                <a:sym typeface="Wingdings" panose="05000000000000000000" pitchFamily="2" charset="2"/>
              </a:rPr>
              <a:t>categorías de tomadores de decisiones: </a:t>
            </a:r>
            <a:endParaRPr lang="es-CO" sz="1200">
              <a:solidFill>
                <a:srgbClr val="254147"/>
              </a:solidFill>
            </a:endParaRPr>
          </a:p>
        </p:txBody>
      </p:sp>
      <p:sp>
        <p:nvSpPr>
          <p:cNvPr id="130" name="Rectángulo 129">
            <a:extLst>
              <a:ext uri="{FF2B5EF4-FFF2-40B4-BE49-F238E27FC236}">
                <a16:creationId xmlns:a16="http://schemas.microsoft.com/office/drawing/2014/main" id="{EE8A6937-8934-42CF-8F04-92239A952AE7}"/>
              </a:ext>
            </a:extLst>
          </p:cNvPr>
          <p:cNvSpPr/>
          <p:nvPr/>
        </p:nvSpPr>
        <p:spPr>
          <a:xfrm>
            <a:off x="6060071" y="5120654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31" name="CuadroTexto 130">
            <a:extLst>
              <a:ext uri="{FF2B5EF4-FFF2-40B4-BE49-F238E27FC236}">
                <a16:creationId xmlns:a16="http://schemas.microsoft.com/office/drawing/2014/main" id="{A20E4F12-875E-47FE-8A33-74B6A44D0A59}"/>
              </a:ext>
            </a:extLst>
          </p:cNvPr>
          <p:cNvSpPr txBox="1"/>
          <p:nvPr/>
        </p:nvSpPr>
        <p:spPr>
          <a:xfrm>
            <a:off x="6458349" y="5032834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Presidente</a:t>
            </a: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11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32" name="Rectángulo 131">
            <a:extLst>
              <a:ext uri="{FF2B5EF4-FFF2-40B4-BE49-F238E27FC236}">
                <a16:creationId xmlns:a16="http://schemas.microsoft.com/office/drawing/2014/main" id="{4F2FD083-C369-4561-BE25-9CBDC30055F9}"/>
              </a:ext>
            </a:extLst>
          </p:cNvPr>
          <p:cNvSpPr/>
          <p:nvPr/>
        </p:nvSpPr>
        <p:spPr>
          <a:xfrm>
            <a:off x="6056620" y="4758000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92D05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33" name="CuadroTexto 132">
            <a:extLst>
              <a:ext uri="{FF2B5EF4-FFF2-40B4-BE49-F238E27FC236}">
                <a16:creationId xmlns:a16="http://schemas.microsoft.com/office/drawing/2014/main" id="{20250544-0C4F-4167-8A78-3DE0C74007AF}"/>
              </a:ext>
            </a:extLst>
          </p:cNvPr>
          <p:cNvSpPr txBox="1"/>
          <p:nvPr/>
        </p:nvSpPr>
        <p:spPr>
          <a:xfrm>
            <a:off x="6440626" y="4698065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Junta Directiva</a:t>
            </a: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11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34" name="CuadroTexto 133">
            <a:extLst>
              <a:ext uri="{FF2B5EF4-FFF2-40B4-BE49-F238E27FC236}">
                <a16:creationId xmlns:a16="http://schemas.microsoft.com/office/drawing/2014/main" id="{5B999821-E384-44A1-B7FF-A4C4ED483560}"/>
              </a:ext>
            </a:extLst>
          </p:cNvPr>
          <p:cNvSpPr txBox="1"/>
          <p:nvPr/>
        </p:nvSpPr>
        <p:spPr>
          <a:xfrm>
            <a:off x="7876299" y="4701621"/>
            <a:ext cx="13555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Vicepresidentes</a:t>
            </a: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11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35" name="Rectángulo 134">
            <a:extLst>
              <a:ext uri="{FF2B5EF4-FFF2-40B4-BE49-F238E27FC236}">
                <a16:creationId xmlns:a16="http://schemas.microsoft.com/office/drawing/2014/main" id="{CED7C5F3-B86F-4DA0-9994-24F7FD6B35F9}"/>
              </a:ext>
            </a:extLst>
          </p:cNvPr>
          <p:cNvSpPr/>
          <p:nvPr/>
        </p:nvSpPr>
        <p:spPr>
          <a:xfrm>
            <a:off x="7527726" y="4765462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36" name="CuadroTexto 135">
            <a:extLst>
              <a:ext uri="{FF2B5EF4-FFF2-40B4-BE49-F238E27FC236}">
                <a16:creationId xmlns:a16="http://schemas.microsoft.com/office/drawing/2014/main" id="{FDB88927-277F-4AE8-8FA3-9CA1A1700B73}"/>
              </a:ext>
            </a:extLst>
          </p:cNvPr>
          <p:cNvSpPr txBox="1"/>
          <p:nvPr/>
        </p:nvSpPr>
        <p:spPr>
          <a:xfrm>
            <a:off x="6440626" y="5459150"/>
            <a:ext cx="13555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VP HSE &amp; </a:t>
            </a:r>
            <a:r>
              <a:rPr lang="es-ES" sz="1000" err="1">
                <a:solidFill>
                  <a:schemeClr val="accent1">
                    <a:lumMod val="25000"/>
                  </a:schemeClr>
                </a:solidFill>
              </a:rPr>
              <a:t>Sos</a:t>
            </a:r>
            <a:endParaRPr lang="es-ES" sz="1000">
              <a:solidFill>
                <a:schemeClr val="accent1">
                  <a:lumMod val="25000"/>
                </a:schemeClr>
              </a:solidFill>
            </a:endParaRP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20% 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37" name="Rectángulo 136">
            <a:extLst>
              <a:ext uri="{FF2B5EF4-FFF2-40B4-BE49-F238E27FC236}">
                <a16:creationId xmlns:a16="http://schemas.microsoft.com/office/drawing/2014/main" id="{F8F8DA14-A950-4AEB-A24B-177C3F208372}"/>
              </a:ext>
            </a:extLst>
          </p:cNvPr>
          <p:cNvSpPr/>
          <p:nvPr/>
        </p:nvSpPr>
        <p:spPr>
          <a:xfrm>
            <a:off x="6089713" y="5520079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38" name="Rectángulo 137">
            <a:extLst>
              <a:ext uri="{FF2B5EF4-FFF2-40B4-BE49-F238E27FC236}">
                <a16:creationId xmlns:a16="http://schemas.microsoft.com/office/drawing/2014/main" id="{BF99A66B-120F-49B2-A1CC-739047837BB6}"/>
              </a:ext>
            </a:extLst>
          </p:cNvPr>
          <p:cNvSpPr/>
          <p:nvPr/>
        </p:nvSpPr>
        <p:spPr>
          <a:xfrm>
            <a:off x="7497056" y="5109907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39" name="CuadroTexto 138">
            <a:extLst>
              <a:ext uri="{FF2B5EF4-FFF2-40B4-BE49-F238E27FC236}">
                <a16:creationId xmlns:a16="http://schemas.microsoft.com/office/drawing/2014/main" id="{844A1674-BCC7-4A52-8278-32D0CC73CF58}"/>
              </a:ext>
            </a:extLst>
          </p:cNvPr>
          <p:cNvSpPr txBox="1"/>
          <p:nvPr/>
        </p:nvSpPr>
        <p:spPr>
          <a:xfrm>
            <a:off x="7876414" y="5026304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Comité de </a:t>
            </a:r>
            <a:r>
              <a:rPr lang="es-ES" sz="1000" err="1">
                <a:solidFill>
                  <a:schemeClr val="accent1">
                    <a:lumMod val="25000"/>
                  </a:schemeClr>
                </a:solidFill>
              </a:rPr>
              <a:t>Aud</a:t>
            </a:r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. JD 5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41" name="CuadroTexto 140">
            <a:extLst>
              <a:ext uri="{FF2B5EF4-FFF2-40B4-BE49-F238E27FC236}">
                <a16:creationId xmlns:a16="http://schemas.microsoft.com/office/drawing/2014/main" id="{2623DE4E-1861-4CAA-B94A-BFAA4D5F0DB3}"/>
              </a:ext>
            </a:extLst>
          </p:cNvPr>
          <p:cNvSpPr txBox="1"/>
          <p:nvPr/>
        </p:nvSpPr>
        <p:spPr>
          <a:xfrm>
            <a:off x="7888125" y="5453519"/>
            <a:ext cx="14905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Comité de ética</a:t>
            </a: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5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42" name="Rectángulo 141">
            <a:extLst>
              <a:ext uri="{FF2B5EF4-FFF2-40B4-BE49-F238E27FC236}">
                <a16:creationId xmlns:a16="http://schemas.microsoft.com/office/drawing/2014/main" id="{49E740BE-8500-4117-AD0B-2E67208BD20B}"/>
              </a:ext>
            </a:extLst>
          </p:cNvPr>
          <p:cNvSpPr/>
          <p:nvPr/>
        </p:nvSpPr>
        <p:spPr>
          <a:xfrm>
            <a:off x="7486507" y="5515734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43" name="CuadroTexto 142">
            <a:extLst>
              <a:ext uri="{FF2B5EF4-FFF2-40B4-BE49-F238E27FC236}">
                <a16:creationId xmlns:a16="http://schemas.microsoft.com/office/drawing/2014/main" id="{85DA9DFF-D70E-46DA-B2A5-4567F9D5D109}"/>
              </a:ext>
            </a:extLst>
          </p:cNvPr>
          <p:cNvSpPr txBox="1"/>
          <p:nvPr/>
        </p:nvSpPr>
        <p:spPr>
          <a:xfrm>
            <a:off x="9322585" y="4982220"/>
            <a:ext cx="14905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Gerente de Cumplimiento</a:t>
            </a:r>
          </a:p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11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44" name="Rectángulo 143">
            <a:extLst>
              <a:ext uri="{FF2B5EF4-FFF2-40B4-BE49-F238E27FC236}">
                <a16:creationId xmlns:a16="http://schemas.microsoft.com/office/drawing/2014/main" id="{1C5981FC-047F-4A69-9B6A-7E8815CED431}"/>
              </a:ext>
            </a:extLst>
          </p:cNvPr>
          <p:cNvSpPr/>
          <p:nvPr/>
        </p:nvSpPr>
        <p:spPr>
          <a:xfrm>
            <a:off x="8985352" y="5139225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6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45" name="CuadroTexto 144">
            <a:extLst>
              <a:ext uri="{FF2B5EF4-FFF2-40B4-BE49-F238E27FC236}">
                <a16:creationId xmlns:a16="http://schemas.microsoft.com/office/drawing/2014/main" id="{DC519FD0-9445-4201-946D-656A5D5D6C84}"/>
              </a:ext>
            </a:extLst>
          </p:cNvPr>
          <p:cNvSpPr txBox="1"/>
          <p:nvPr/>
        </p:nvSpPr>
        <p:spPr>
          <a:xfrm>
            <a:off x="10715777" y="4732523"/>
            <a:ext cx="11792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VP /Manager de crisis 5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47" name="Rectángulo 146">
            <a:extLst>
              <a:ext uri="{FF2B5EF4-FFF2-40B4-BE49-F238E27FC236}">
                <a16:creationId xmlns:a16="http://schemas.microsoft.com/office/drawing/2014/main" id="{313853FA-2E51-4F3E-AE01-DDDAF6E96565}"/>
              </a:ext>
            </a:extLst>
          </p:cNvPr>
          <p:cNvSpPr/>
          <p:nvPr/>
        </p:nvSpPr>
        <p:spPr>
          <a:xfrm>
            <a:off x="10381892" y="4833627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48" name="CuadroTexto 147">
            <a:extLst>
              <a:ext uri="{FF2B5EF4-FFF2-40B4-BE49-F238E27FC236}">
                <a16:creationId xmlns:a16="http://schemas.microsoft.com/office/drawing/2014/main" id="{8C87CB62-0687-409F-B127-BA52AD580580}"/>
              </a:ext>
            </a:extLst>
          </p:cNvPr>
          <p:cNvSpPr txBox="1"/>
          <p:nvPr/>
        </p:nvSpPr>
        <p:spPr>
          <a:xfrm>
            <a:off x="6496616" y="5906118"/>
            <a:ext cx="1520344" cy="261610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>
                <a:solidFill>
                  <a:schemeClr val="tx2"/>
                </a:solidFill>
              </a:rPr>
              <a:t>Palanca de Agilidad 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49" name="CuadroTexto 148">
            <a:extLst>
              <a:ext uri="{FF2B5EF4-FFF2-40B4-BE49-F238E27FC236}">
                <a16:creationId xmlns:a16="http://schemas.microsoft.com/office/drawing/2014/main" id="{B0906DC3-598D-4F7D-A64E-183CF387ABFC}"/>
              </a:ext>
            </a:extLst>
          </p:cNvPr>
          <p:cNvSpPr txBox="1"/>
          <p:nvPr/>
        </p:nvSpPr>
        <p:spPr>
          <a:xfrm>
            <a:off x="8188116" y="5906118"/>
            <a:ext cx="1541838" cy="26161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>
                <a:solidFill>
                  <a:schemeClr val="tx2"/>
                </a:solidFill>
              </a:rPr>
              <a:t>Palanca de Claridad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50" name="CuadroTexto 149">
            <a:extLst>
              <a:ext uri="{FF2B5EF4-FFF2-40B4-BE49-F238E27FC236}">
                <a16:creationId xmlns:a16="http://schemas.microsoft.com/office/drawing/2014/main" id="{41F6E8B5-9D97-4BA1-9EEB-DCFF2BD13CA4}"/>
              </a:ext>
            </a:extLst>
          </p:cNvPr>
          <p:cNvSpPr txBox="1"/>
          <p:nvPr/>
        </p:nvSpPr>
        <p:spPr>
          <a:xfrm>
            <a:off x="9898639" y="5906118"/>
            <a:ext cx="1793088" cy="261610"/>
          </a:xfrm>
          <a:prstGeom prst="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>
                <a:solidFill>
                  <a:schemeClr val="tx2"/>
                </a:solidFill>
              </a:rPr>
              <a:t>Palanca de Consistencia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51" name="CuadroTexto 150">
            <a:extLst>
              <a:ext uri="{FF2B5EF4-FFF2-40B4-BE49-F238E27FC236}">
                <a16:creationId xmlns:a16="http://schemas.microsoft.com/office/drawing/2014/main" id="{62081328-F323-4DA1-9DDE-784A46EE4A94}"/>
              </a:ext>
            </a:extLst>
          </p:cNvPr>
          <p:cNvSpPr txBox="1"/>
          <p:nvPr/>
        </p:nvSpPr>
        <p:spPr>
          <a:xfrm>
            <a:off x="10813096" y="5198562"/>
            <a:ext cx="87572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Comité de </a:t>
            </a:r>
            <a:r>
              <a:rPr lang="es-ES" sz="1000" err="1">
                <a:solidFill>
                  <a:schemeClr val="accent1">
                    <a:lumMod val="25000"/>
                  </a:schemeClr>
                </a:solidFill>
              </a:rPr>
              <a:t>Gest</a:t>
            </a:r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. </a:t>
            </a:r>
            <a:r>
              <a:rPr lang="es-ES" sz="1000" err="1">
                <a:solidFill>
                  <a:schemeClr val="accent1">
                    <a:lumMod val="25000"/>
                  </a:schemeClr>
                </a:solidFill>
              </a:rPr>
              <a:t>Act</a:t>
            </a:r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. Y Proy.5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52" name="CuadroTexto 151">
            <a:extLst>
              <a:ext uri="{FF2B5EF4-FFF2-40B4-BE49-F238E27FC236}">
                <a16:creationId xmlns:a16="http://schemas.microsoft.com/office/drawing/2014/main" id="{29496DDD-4F17-477A-B207-9AA829455B4D}"/>
              </a:ext>
            </a:extLst>
          </p:cNvPr>
          <p:cNvSpPr txBox="1"/>
          <p:nvPr/>
        </p:nvSpPr>
        <p:spPr>
          <a:xfrm>
            <a:off x="9319120" y="4651760"/>
            <a:ext cx="10751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Comité de Negocios 11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153" name="Rectángulo 152">
            <a:extLst>
              <a:ext uri="{FF2B5EF4-FFF2-40B4-BE49-F238E27FC236}">
                <a16:creationId xmlns:a16="http://schemas.microsoft.com/office/drawing/2014/main" id="{DC0FBCC4-989D-4976-8983-34825D2D9047}"/>
              </a:ext>
            </a:extLst>
          </p:cNvPr>
          <p:cNvSpPr/>
          <p:nvPr/>
        </p:nvSpPr>
        <p:spPr>
          <a:xfrm>
            <a:off x="10384105" y="5376750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54" name="Rectángulo 153">
            <a:extLst>
              <a:ext uri="{FF2B5EF4-FFF2-40B4-BE49-F238E27FC236}">
                <a16:creationId xmlns:a16="http://schemas.microsoft.com/office/drawing/2014/main" id="{28C5640B-AA7B-4F00-B56A-C8EE9FA8497F}"/>
              </a:ext>
            </a:extLst>
          </p:cNvPr>
          <p:cNvSpPr/>
          <p:nvPr/>
        </p:nvSpPr>
        <p:spPr>
          <a:xfrm>
            <a:off x="8972876" y="4778516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FF99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55" name="Rectángulo 154">
            <a:extLst>
              <a:ext uri="{FF2B5EF4-FFF2-40B4-BE49-F238E27FC236}">
                <a16:creationId xmlns:a16="http://schemas.microsoft.com/office/drawing/2014/main" id="{454F4380-4BE4-4E21-AAAC-6B3C9286D5BB}"/>
              </a:ext>
            </a:extLst>
          </p:cNvPr>
          <p:cNvSpPr/>
          <p:nvPr/>
        </p:nvSpPr>
        <p:spPr>
          <a:xfrm>
            <a:off x="9003872" y="5596257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00B0F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56" name="CuadroTexto 155">
            <a:extLst>
              <a:ext uri="{FF2B5EF4-FFF2-40B4-BE49-F238E27FC236}">
                <a16:creationId xmlns:a16="http://schemas.microsoft.com/office/drawing/2014/main" id="{DF074B77-3C37-42D5-918A-F5C84802F788}"/>
              </a:ext>
            </a:extLst>
          </p:cNvPr>
          <p:cNvSpPr txBox="1"/>
          <p:nvPr/>
        </p:nvSpPr>
        <p:spPr>
          <a:xfrm>
            <a:off x="9333510" y="5497603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>
                <a:solidFill>
                  <a:schemeClr val="accent1">
                    <a:lumMod val="25000"/>
                  </a:schemeClr>
                </a:solidFill>
              </a:rPr>
              <a:t>Gerente Legal Operacional 5%</a:t>
            </a:r>
            <a:endParaRPr lang="es-CO" sz="100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8" name="CuadroTexto 47">
            <a:extLst>
              <a:ext uri="{FF2B5EF4-FFF2-40B4-BE49-F238E27FC236}">
                <a16:creationId xmlns:a16="http://schemas.microsoft.com/office/drawing/2014/main" id="{2E2FFF04-E606-4311-9BE9-FAEE2FA6E0E2}"/>
              </a:ext>
            </a:extLst>
          </p:cNvPr>
          <p:cNvSpPr txBox="1"/>
          <p:nvPr/>
        </p:nvSpPr>
        <p:spPr>
          <a:xfrm>
            <a:off x="-8926" y="44829"/>
            <a:ext cx="121026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4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 – HSE y Sostenibilidad (2/2)</a:t>
            </a:r>
            <a:endParaRPr lang="es-CO" sz="24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F919A4F9-0E48-4A62-B899-C4C49EFEC48A}"/>
              </a:ext>
            </a:extLst>
          </p:cNvPr>
          <p:cNvGrpSpPr/>
          <p:nvPr/>
        </p:nvGrpSpPr>
        <p:grpSpPr>
          <a:xfrm>
            <a:off x="8242926" y="488714"/>
            <a:ext cx="360000" cy="360000"/>
            <a:chOff x="8287896" y="558375"/>
            <a:chExt cx="360000" cy="360000"/>
          </a:xfrm>
        </p:grpSpPr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00908209-EB95-4225-8A4C-F1DF43BD2EF0}"/>
                </a:ext>
              </a:extLst>
            </p:cNvPr>
            <p:cNvSpPr/>
            <p:nvPr/>
          </p:nvSpPr>
          <p:spPr>
            <a:xfrm>
              <a:off x="8287896" y="558375"/>
              <a:ext cx="360000" cy="3600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6C86A42A-34A9-4DE2-8311-E238B95AF00F}"/>
                </a:ext>
              </a:extLst>
            </p:cNvPr>
            <p:cNvSpPr txBox="1"/>
            <p:nvPr/>
          </p:nvSpPr>
          <p:spPr>
            <a:xfrm>
              <a:off x="8290604" y="599876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200" b="1" dirty="0">
                  <a:solidFill>
                    <a:schemeClr val="bg1"/>
                  </a:solidFill>
                </a:rPr>
                <a:t>10</a:t>
              </a:r>
              <a:endParaRPr lang="es-CO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AD6D3F10-B35D-4796-8FF9-93147FBC94AC}"/>
              </a:ext>
            </a:extLst>
          </p:cNvPr>
          <p:cNvGrpSpPr/>
          <p:nvPr/>
        </p:nvGrpSpPr>
        <p:grpSpPr>
          <a:xfrm>
            <a:off x="9670308" y="488714"/>
            <a:ext cx="360000" cy="360000"/>
            <a:chOff x="9685298" y="579701"/>
            <a:chExt cx="360000" cy="360000"/>
          </a:xfrm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39D1BE7B-162C-4DC7-85E9-34EB7A36D6EB}"/>
                </a:ext>
              </a:extLst>
            </p:cNvPr>
            <p:cNvSpPr/>
            <p:nvPr/>
          </p:nvSpPr>
          <p:spPr>
            <a:xfrm>
              <a:off x="9685298" y="579701"/>
              <a:ext cx="360000" cy="3600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64870058-3057-4615-BB0D-9B3532171A30}"/>
                </a:ext>
              </a:extLst>
            </p:cNvPr>
            <p:cNvSpPr txBox="1"/>
            <p:nvPr/>
          </p:nvSpPr>
          <p:spPr>
            <a:xfrm>
              <a:off x="9688006" y="621202"/>
              <a:ext cx="34612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200" b="1" dirty="0">
                  <a:solidFill>
                    <a:schemeClr val="bg1"/>
                  </a:solidFill>
                </a:rPr>
                <a:t>11</a:t>
              </a:r>
              <a:endParaRPr lang="es-CO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1" name="Grupo 100">
            <a:extLst>
              <a:ext uri="{FF2B5EF4-FFF2-40B4-BE49-F238E27FC236}">
                <a16:creationId xmlns:a16="http://schemas.microsoft.com/office/drawing/2014/main" id="{DBAA46BF-9BE8-4C15-9549-A5A0074BE9DA}"/>
              </a:ext>
            </a:extLst>
          </p:cNvPr>
          <p:cNvGrpSpPr/>
          <p:nvPr/>
        </p:nvGrpSpPr>
        <p:grpSpPr>
          <a:xfrm>
            <a:off x="10914266" y="488714"/>
            <a:ext cx="360000" cy="360000"/>
            <a:chOff x="9685298" y="579701"/>
            <a:chExt cx="360000" cy="360000"/>
          </a:xfrm>
        </p:grpSpPr>
        <p:sp>
          <p:nvSpPr>
            <p:cNvPr id="102" name="Elipse 101">
              <a:extLst>
                <a:ext uri="{FF2B5EF4-FFF2-40B4-BE49-F238E27FC236}">
                  <a16:creationId xmlns:a16="http://schemas.microsoft.com/office/drawing/2014/main" id="{6EBF0531-DBB3-4306-A65F-094753E658BD}"/>
                </a:ext>
              </a:extLst>
            </p:cNvPr>
            <p:cNvSpPr/>
            <p:nvPr/>
          </p:nvSpPr>
          <p:spPr>
            <a:xfrm>
              <a:off x="9685298" y="579701"/>
              <a:ext cx="360000" cy="3600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03" name="CuadroTexto 102">
              <a:extLst>
                <a:ext uri="{FF2B5EF4-FFF2-40B4-BE49-F238E27FC236}">
                  <a16:creationId xmlns:a16="http://schemas.microsoft.com/office/drawing/2014/main" id="{8B94BBFC-F2D1-4504-A0A3-2F76E3C2B396}"/>
                </a:ext>
              </a:extLst>
            </p:cNvPr>
            <p:cNvSpPr txBox="1"/>
            <p:nvPr/>
          </p:nvSpPr>
          <p:spPr>
            <a:xfrm>
              <a:off x="9688006" y="621202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200" b="1" dirty="0">
                  <a:solidFill>
                    <a:schemeClr val="bg1"/>
                  </a:solidFill>
                </a:rPr>
                <a:t>12</a:t>
              </a:r>
              <a:endParaRPr lang="es-CO" sz="12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976623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2DBCC50-9677-4C0F-8F91-CE8AF2C207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9450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light&#10;&#10;Description automatically generated">
            <a:extLst>
              <a:ext uri="{FF2B5EF4-FFF2-40B4-BE49-F238E27FC236}">
                <a16:creationId xmlns:a16="http://schemas.microsoft.com/office/drawing/2014/main" id="{683C0F51-8C09-CE43-9A68-12C0E64311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03" y="3939967"/>
            <a:ext cx="10919593" cy="1855341"/>
          </a:xfrm>
          <a:prstGeom prst="rect">
            <a:avLst/>
          </a:prstGeom>
        </p:spPr>
      </p:pic>
      <p:sp>
        <p:nvSpPr>
          <p:cNvPr id="2" name="CuadroTexto 145">
            <a:extLst>
              <a:ext uri="{FF2B5EF4-FFF2-40B4-BE49-F238E27FC236}">
                <a16:creationId xmlns:a16="http://schemas.microsoft.com/office/drawing/2014/main" id="{465636FD-CDFE-0043-A2AE-795688D7897B}"/>
              </a:ext>
            </a:extLst>
          </p:cNvPr>
          <p:cNvSpPr txBox="1"/>
          <p:nvPr/>
        </p:nvSpPr>
        <p:spPr>
          <a:xfrm>
            <a:off x="4002009" y="2548702"/>
            <a:ext cx="7015399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/>
              <a:t>Etapas </a:t>
            </a:r>
            <a:r>
              <a:rPr lang="es-ES" sz="1800" b="0"/>
              <a:t>de </a:t>
            </a:r>
            <a:r>
              <a:rPr lang="es-ES" sz="1800"/>
              <a:t>negociación</a:t>
            </a:r>
            <a:r>
              <a:rPr lang="es-ES" sz="1800" b="0"/>
              <a:t> y de </a:t>
            </a:r>
            <a:r>
              <a:rPr lang="es-ES" sz="1800"/>
              <a:t>acuerdo</a:t>
            </a:r>
            <a:r>
              <a:rPr lang="es-ES" sz="1800" b="0"/>
              <a:t> con las filiales.</a:t>
            </a:r>
            <a:endParaRPr lang="es-CO" sz="1800"/>
          </a:p>
        </p:txBody>
      </p:sp>
      <p:sp>
        <p:nvSpPr>
          <p:cNvPr id="3" name="CuadroTexto 146">
            <a:extLst>
              <a:ext uri="{FF2B5EF4-FFF2-40B4-BE49-F238E27FC236}">
                <a16:creationId xmlns:a16="http://schemas.microsoft.com/office/drawing/2014/main" id="{77D62C3A-45C4-024F-9483-8A1D73A274A3}"/>
              </a:ext>
            </a:extLst>
          </p:cNvPr>
          <p:cNvSpPr txBox="1"/>
          <p:nvPr/>
        </p:nvSpPr>
        <p:spPr>
          <a:xfrm>
            <a:off x="4002009" y="1719004"/>
            <a:ext cx="7015399" cy="64633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 b="1"/>
              <a:t>Relación</a:t>
            </a:r>
            <a:r>
              <a:rPr lang="es-ES" sz="1800"/>
              <a:t> clara Matriz - </a:t>
            </a:r>
            <a:r>
              <a:rPr lang="es-ES" sz="1800" b="1"/>
              <a:t>Filiales</a:t>
            </a:r>
            <a:r>
              <a:rPr lang="es-ES" sz="1800"/>
              <a:t> (Ecopetrol – Cenit y Cenit con sus </a:t>
            </a:r>
            <a:r>
              <a:rPr lang="es-ES" sz="1800" b="1"/>
              <a:t>filiales</a:t>
            </a:r>
            <a:r>
              <a:rPr lang="es-ES" sz="1800"/>
              <a:t>).</a:t>
            </a:r>
          </a:p>
        </p:txBody>
      </p:sp>
      <p:sp>
        <p:nvSpPr>
          <p:cNvPr id="4" name="CuadroTexto 157">
            <a:extLst>
              <a:ext uri="{FF2B5EF4-FFF2-40B4-BE49-F238E27FC236}">
                <a16:creationId xmlns:a16="http://schemas.microsoft.com/office/drawing/2014/main" id="{6A31DB10-96F1-8D45-8D81-CCA502E42C15}"/>
              </a:ext>
            </a:extLst>
          </p:cNvPr>
          <p:cNvSpPr txBox="1"/>
          <p:nvPr/>
        </p:nvSpPr>
        <p:spPr>
          <a:xfrm>
            <a:off x="4002009" y="3100273"/>
            <a:ext cx="7015399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/>
              <a:t>Modelo de Relacionamiento </a:t>
            </a:r>
            <a:r>
              <a:rPr lang="es-ES" sz="1800" b="0"/>
              <a:t>para 11 de 12 macroprocesos.</a:t>
            </a:r>
            <a:endParaRPr lang="es-CO" sz="1800"/>
          </a:p>
        </p:txBody>
      </p:sp>
      <p:pic>
        <p:nvPicPr>
          <p:cNvPr id="5" name="Imagen 161" descr="Imagen que contiene plato, alimentos, dibujo&#10;&#10;Descripción generada automáticamente">
            <a:extLst>
              <a:ext uri="{FF2B5EF4-FFF2-40B4-BE49-F238E27FC236}">
                <a16:creationId xmlns:a16="http://schemas.microsoft.com/office/drawing/2014/main" id="{94885677-7B19-2C48-B6F1-0E1A52DC52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8198" y="4496387"/>
            <a:ext cx="1154528" cy="1154528"/>
          </a:xfrm>
          <a:prstGeom prst="rect">
            <a:avLst/>
          </a:prstGeom>
        </p:spPr>
      </p:pic>
      <p:pic>
        <p:nvPicPr>
          <p:cNvPr id="6" name="Imagen 167" descr="Imagen que contiene dibujo&#10;&#10;Descripción generada automáticamente">
            <a:extLst>
              <a:ext uri="{FF2B5EF4-FFF2-40B4-BE49-F238E27FC236}">
                <a16:creationId xmlns:a16="http://schemas.microsoft.com/office/drawing/2014/main" id="{D6A27ED5-971F-DE4E-8750-72A34AB089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6822" y="4575044"/>
            <a:ext cx="1154528" cy="1154528"/>
          </a:xfrm>
          <a:prstGeom prst="rect">
            <a:avLst/>
          </a:prstGeom>
        </p:spPr>
      </p:pic>
      <p:pic>
        <p:nvPicPr>
          <p:cNvPr id="7" name="Imagen 169" descr="Imagen que contiene reloj, plato, señal&#10;&#10;Descripción generada automáticamente">
            <a:extLst>
              <a:ext uri="{FF2B5EF4-FFF2-40B4-BE49-F238E27FC236}">
                <a16:creationId xmlns:a16="http://schemas.microsoft.com/office/drawing/2014/main" id="{6DE5FCA8-E048-8D4C-8161-943E5E7B4F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1642" y="4466973"/>
            <a:ext cx="1154528" cy="1154528"/>
          </a:xfrm>
          <a:prstGeom prst="rect">
            <a:avLst/>
          </a:prstGeom>
        </p:spPr>
      </p:pic>
      <p:sp>
        <p:nvSpPr>
          <p:cNvPr id="8" name="CuadroTexto 170">
            <a:extLst>
              <a:ext uri="{FF2B5EF4-FFF2-40B4-BE49-F238E27FC236}">
                <a16:creationId xmlns:a16="http://schemas.microsoft.com/office/drawing/2014/main" id="{D2451A65-5C54-7E48-8D52-CB24D8CE93B9}"/>
              </a:ext>
            </a:extLst>
          </p:cNvPr>
          <p:cNvSpPr txBox="1"/>
          <p:nvPr/>
        </p:nvSpPr>
        <p:spPr>
          <a:xfrm>
            <a:off x="1517285" y="4053966"/>
            <a:ext cx="1776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egociación</a:t>
            </a:r>
            <a:endParaRPr lang="es-CO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uadroTexto 171">
            <a:extLst>
              <a:ext uri="{FF2B5EF4-FFF2-40B4-BE49-F238E27FC236}">
                <a16:creationId xmlns:a16="http://schemas.microsoft.com/office/drawing/2014/main" id="{3EA31D6B-43E8-CB47-83EA-4134A270433D}"/>
              </a:ext>
            </a:extLst>
          </p:cNvPr>
          <p:cNvSpPr txBox="1"/>
          <p:nvPr/>
        </p:nvSpPr>
        <p:spPr>
          <a:xfrm>
            <a:off x="5387452" y="4132623"/>
            <a:ext cx="16762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probación</a:t>
            </a:r>
            <a:endParaRPr lang="es-CO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uadroTexto 172">
            <a:extLst>
              <a:ext uri="{FF2B5EF4-FFF2-40B4-BE49-F238E27FC236}">
                <a16:creationId xmlns:a16="http://schemas.microsoft.com/office/drawing/2014/main" id="{2C55E4C0-E506-A544-99EF-1A4FADAE96DE}"/>
              </a:ext>
            </a:extLst>
          </p:cNvPr>
          <p:cNvSpPr txBox="1"/>
          <p:nvPr/>
        </p:nvSpPr>
        <p:spPr>
          <a:xfrm>
            <a:off x="8963355" y="4024552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ES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mplementación</a:t>
            </a:r>
            <a:endParaRPr lang="es-CO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uadroTexto 31">
            <a:extLst>
              <a:ext uri="{FF2B5EF4-FFF2-40B4-BE49-F238E27FC236}">
                <a16:creationId xmlns:a16="http://schemas.microsoft.com/office/drawing/2014/main" id="{CFEF7504-136F-CF4E-BC65-65D7B80E6249}"/>
              </a:ext>
            </a:extLst>
          </p:cNvPr>
          <p:cNvSpPr txBox="1"/>
          <p:nvPr/>
        </p:nvSpPr>
        <p:spPr>
          <a:xfrm>
            <a:off x="9868650" y="636959"/>
            <a:ext cx="1434642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3200" u="sng">
                <a:solidFill>
                  <a:srgbClr val="4A8347"/>
                </a:solidFill>
              </a:rPr>
              <a:t>100%</a:t>
            </a:r>
            <a:endParaRPr lang="es-CO" sz="3200" u="sng">
              <a:solidFill>
                <a:srgbClr val="4A8347"/>
              </a:solidFill>
            </a:endParaRPr>
          </a:p>
        </p:txBody>
      </p:sp>
      <p:sp>
        <p:nvSpPr>
          <p:cNvPr id="18" name="CuadroTexto 47">
            <a:extLst>
              <a:ext uri="{FF2B5EF4-FFF2-40B4-BE49-F238E27FC236}">
                <a16:creationId xmlns:a16="http://schemas.microsoft.com/office/drawing/2014/main" id="{73C77D80-3296-9F46-BA35-4412CBAF9405}"/>
              </a:ext>
            </a:extLst>
          </p:cNvPr>
          <p:cNvSpPr txBox="1"/>
          <p:nvPr/>
        </p:nvSpPr>
        <p:spPr>
          <a:xfrm>
            <a:off x="3841254" y="605209"/>
            <a:ext cx="534453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0E2C602-B151-4A8B-B98B-63ECC8DB5D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886" y="441596"/>
            <a:ext cx="2547279" cy="2554815"/>
          </a:xfrm>
          <a:prstGeom prst="rect">
            <a:avLst/>
          </a:prstGeom>
        </p:spPr>
      </p:pic>
      <p:sp>
        <p:nvSpPr>
          <p:cNvPr id="11" name="Oval 110">
            <a:extLst>
              <a:ext uri="{FF2B5EF4-FFF2-40B4-BE49-F238E27FC236}">
                <a16:creationId xmlns:a16="http://schemas.microsoft.com/office/drawing/2014/main" id="{9EB26948-AEB9-40DC-95A3-307946587810}"/>
              </a:ext>
            </a:extLst>
          </p:cNvPr>
          <p:cNvSpPr/>
          <p:nvPr/>
        </p:nvSpPr>
        <p:spPr>
          <a:xfrm>
            <a:off x="2324299" y="9016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4A83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333308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740088A-8ABF-414B-8746-763C3F660F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740088A-8ABF-414B-8746-763C3F660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42B40C10-F876-4F1B-842D-C3F6355B6C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419" sz="2000" b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A93B487-116E-4767-AA0D-CAE2A460FB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70700" y="6246096"/>
            <a:ext cx="847124" cy="365125"/>
          </a:xfrm>
        </p:spPr>
        <p:txBody>
          <a:bodyPr/>
          <a:lstStyle/>
          <a:p>
            <a:fld id="{02F25750-4209-4357-A72F-45445C8044EF}" type="slidenum">
              <a:rPr lang="es-CO" smtClean="0"/>
              <a:pPr/>
              <a:t>26</a:t>
            </a:fld>
            <a:endParaRPr lang="es-CO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E1D3488A-08B6-49AA-A393-579F2EBB08DA}"/>
              </a:ext>
            </a:extLst>
          </p:cNvPr>
          <p:cNvSpPr/>
          <p:nvPr/>
        </p:nvSpPr>
        <p:spPr>
          <a:xfrm>
            <a:off x="259041" y="947228"/>
            <a:ext cx="4325535" cy="40087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tx2"/>
                </a:solidFill>
              </a:rPr>
              <a:t>Dirección</a:t>
            </a:r>
            <a:endParaRPr lang="es-CO" sz="1200" b="1" dirty="0">
              <a:solidFill>
                <a:schemeClr val="tx2"/>
              </a:solidFill>
            </a:endParaRP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CB6AFB7A-C476-49E9-BE23-34092A48E218}"/>
              </a:ext>
            </a:extLst>
          </p:cNvPr>
          <p:cNvSpPr/>
          <p:nvPr/>
        </p:nvSpPr>
        <p:spPr>
          <a:xfrm>
            <a:off x="4788242" y="947228"/>
            <a:ext cx="3481495" cy="40087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tx2"/>
                </a:solidFill>
              </a:rPr>
              <a:t>Control</a:t>
            </a:r>
            <a:endParaRPr lang="es-CO" sz="1200" b="1" err="1">
              <a:solidFill>
                <a:schemeClr val="tx2"/>
              </a:solidFill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549F76F1-522F-428A-AB55-523D393B185B}"/>
              </a:ext>
            </a:extLst>
          </p:cNvPr>
          <p:cNvSpPr/>
          <p:nvPr/>
        </p:nvSpPr>
        <p:spPr>
          <a:xfrm>
            <a:off x="8453849" y="947228"/>
            <a:ext cx="3273316" cy="40087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tx2"/>
                </a:solidFill>
              </a:rPr>
              <a:t>Servicio</a:t>
            </a:r>
            <a:endParaRPr lang="es-CO" sz="1200" b="1" err="1">
              <a:solidFill>
                <a:schemeClr val="tx2"/>
              </a:solidFill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B16B2FAC-B20E-4A14-9B33-3B759C960A1E}"/>
              </a:ext>
            </a:extLst>
          </p:cNvPr>
          <p:cNvSpPr/>
          <p:nvPr/>
        </p:nvSpPr>
        <p:spPr>
          <a:xfrm>
            <a:off x="259041" y="1484967"/>
            <a:ext cx="4325535" cy="4493538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b="1" dirty="0"/>
              <a:t>Estrategias conjuntas, prácticas y principios de actuación homólogos</a:t>
            </a:r>
            <a:r>
              <a:rPr lang="es-ES" sz="1300" dirty="0"/>
              <a:t>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dirty="0"/>
              <a:t>Reunión de alineación y relacionamiento del segmento para la gestión articulada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b="1" dirty="0"/>
              <a:t>Marco de actuación para inversión socioambiental.*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dirty="0"/>
              <a:t>Escenarios alineados para el diálogo con grupos de interés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dirty="0"/>
              <a:t>Información compartida para monitoreo, análisis y caracterización de los territorios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b="1" dirty="0"/>
              <a:t>Reunión para gestión de riesgos, buenas prácticas HSE y SP*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CO" sz="1300" dirty="0"/>
              <a:t>Transferir conocimiento y experticia*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dirty="0"/>
              <a:t>Meta de los </a:t>
            </a:r>
            <a:r>
              <a:rPr lang="es-ES" sz="1300" dirty="0" err="1"/>
              <a:t>KPI’s</a:t>
            </a:r>
            <a:r>
              <a:rPr lang="es-ES" sz="1300" dirty="0"/>
              <a:t> claves en HSE y SP*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b="1" dirty="0"/>
              <a:t>Plan de ayuda mutua y apoyo frente a emergencias</a:t>
            </a:r>
            <a:r>
              <a:rPr lang="es-ES" sz="1300" dirty="0"/>
              <a:t>.*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CO" sz="1300" dirty="0"/>
              <a:t>Proponer </a:t>
            </a:r>
            <a:r>
              <a:rPr lang="es-CO" sz="1300" b="1" dirty="0"/>
              <a:t>marco metodológico de indemnizacione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CO" sz="1300" dirty="0"/>
              <a:t>Proponer un marco para la publicación de los servicios web geográfico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CO" sz="1300" dirty="0"/>
              <a:t>Reuniones de alineación y entendimiento con filiales para asuntos de interferencias con terceros*  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847A2F3C-9402-4AD0-BF56-28ABDAE59259}"/>
              </a:ext>
            </a:extLst>
          </p:cNvPr>
          <p:cNvSpPr/>
          <p:nvPr/>
        </p:nvSpPr>
        <p:spPr>
          <a:xfrm>
            <a:off x="4781862" y="1499786"/>
            <a:ext cx="3487875" cy="4693593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dirty="0"/>
              <a:t>Realizar seguimiento al desempeño de la gestión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b="1" dirty="0"/>
              <a:t>Realizar seguimiento a la aplicación de estrategias conjuntas, prácticas y principios de actuación  homólogo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dirty="0"/>
              <a:t>Realizar seguimiento y </a:t>
            </a:r>
            <a:r>
              <a:rPr lang="es-ES" sz="1300" b="1" dirty="0"/>
              <a:t>control a metas e indicadores claves de HSE y SP</a:t>
            </a:r>
            <a:r>
              <a:rPr lang="es-ES" sz="1300" dirty="0"/>
              <a:t>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dirty="0"/>
              <a:t>Realizar seguimiento  a los reportes y resultados de investigaciones</a:t>
            </a:r>
            <a:r>
              <a:rPr lang="es-ES" sz="1300" b="1" dirty="0">
                <a:solidFill>
                  <a:schemeClr val="tx2"/>
                </a:solidFill>
              </a:rPr>
              <a:t>**</a:t>
            </a:r>
            <a:r>
              <a:rPr lang="es-ES" sz="1300" dirty="0"/>
              <a:t> de incidentes alta severidad /potencialidad segmento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dirty="0"/>
              <a:t>Realizar </a:t>
            </a:r>
            <a:r>
              <a:rPr lang="es-ES" sz="1300" b="1" dirty="0"/>
              <a:t>seguimiento a la alineación y coherencia de los planes para la gestión de HSE, Entorno, Seguridad Física y Seguridad de Procesos incluyendo PRE con las prioridades y marco de actuación para líneas de inversión socio ambiental</a:t>
            </a:r>
            <a:r>
              <a:rPr lang="es-ES" sz="1300" dirty="0"/>
              <a:t>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dirty="0"/>
              <a:t>Realizar seguimiento a la respuesta a emergencias y crisis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dirty="0"/>
              <a:t>Seguimiento a implementación de gestión, riesgos operacionales.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s-CO" sz="1300" dirty="0"/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DAC27579-E9C2-4134-9476-72F607D7F944}"/>
              </a:ext>
            </a:extLst>
          </p:cNvPr>
          <p:cNvSpPr/>
          <p:nvPr/>
        </p:nvSpPr>
        <p:spPr>
          <a:xfrm>
            <a:off x="8453849" y="1499786"/>
            <a:ext cx="3273316" cy="2292935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dirty="0"/>
              <a:t>Compartir gestión y análisis de la información integrada del segmento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300" b="1" dirty="0"/>
              <a:t>Gestionar alianzas conjuntas del segmento y establecer contratos de servicios que generen económicas de escala para el segmento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300" dirty="0"/>
              <a:t>Servicios para gestión HSE, S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3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300" dirty="0"/>
          </a:p>
          <a:p>
            <a:r>
              <a:rPr lang="es-CO" sz="1200" dirty="0">
                <a:solidFill>
                  <a:schemeClr val="tx2"/>
                </a:solidFill>
              </a:rPr>
              <a:t>* Estas son actividades que hoy ejecuta la casa matriz para CENIT. 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587AC57D-85D0-456B-894A-BDBA6A046E6B}"/>
              </a:ext>
            </a:extLst>
          </p:cNvPr>
          <p:cNvSpPr/>
          <p:nvPr/>
        </p:nvSpPr>
        <p:spPr>
          <a:xfrm>
            <a:off x="5012186" y="3235946"/>
            <a:ext cx="33527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s-ES" sz="1200"/>
          </a:p>
          <a:p>
            <a:endParaRPr lang="es-ES" sz="1200"/>
          </a:p>
          <a:p>
            <a:endParaRPr lang="es-ES" sz="1200">
              <a:latin typeface="Segoe UI" panose="020B0502040204020203" pitchFamily="34" charset="0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5E8189E1-D7BC-4F4A-993D-EDC8B0EBCF1A}"/>
              </a:ext>
            </a:extLst>
          </p:cNvPr>
          <p:cNvSpPr txBox="1"/>
          <p:nvPr/>
        </p:nvSpPr>
        <p:spPr>
          <a:xfrm>
            <a:off x="117933" y="6465027"/>
            <a:ext cx="7707086" cy="29238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300" dirty="0">
                <a:solidFill>
                  <a:schemeClr val="tx2"/>
                </a:solidFill>
              </a:rPr>
              <a:t>El modelo de relacionamiento de la Gerencia de Cumplimiento se ejecuta desde la casa matriz</a:t>
            </a:r>
            <a:endParaRPr lang="es-CO" sz="1300" dirty="0">
              <a:solidFill>
                <a:schemeClr val="tx2"/>
              </a:solidFill>
            </a:endParaRPr>
          </a:p>
        </p:txBody>
      </p:sp>
      <p:sp>
        <p:nvSpPr>
          <p:cNvPr id="34" name="Título 1">
            <a:extLst>
              <a:ext uri="{FF2B5EF4-FFF2-40B4-BE49-F238E27FC236}">
                <a16:creationId xmlns:a16="http://schemas.microsoft.com/office/drawing/2014/main" id="{92FA6482-0966-4D47-9FC9-EBCEEEA2119B}"/>
              </a:ext>
            </a:extLst>
          </p:cNvPr>
          <p:cNvSpPr txBox="1">
            <a:spLocks/>
          </p:cNvSpPr>
          <p:nvPr/>
        </p:nvSpPr>
        <p:spPr>
          <a:xfrm>
            <a:off x="117933" y="522278"/>
            <a:ext cx="6570118" cy="43436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2F655C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es-ES" sz="1800" u="sng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mos nuestro relacionamiento a las filiales en…</a:t>
            </a:r>
          </a:p>
        </p:txBody>
      </p:sp>
      <p:sp>
        <p:nvSpPr>
          <p:cNvPr id="15" name="CustomIcon">
            <a:extLst>
              <a:ext uri="{FF2B5EF4-FFF2-40B4-BE49-F238E27FC236}">
                <a16:creationId xmlns:a16="http://schemas.microsoft.com/office/drawing/2014/main" id="{59AA0F43-31F0-4E03-B7EA-E108DEA265BA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9435381" y="1022588"/>
            <a:ext cx="235982" cy="241422"/>
          </a:xfrm>
          <a:custGeom>
            <a:avLst/>
            <a:gdLst>
              <a:gd name="T0" fmla="*/ 1162 w 3202"/>
              <a:gd name="T1" fmla="*/ 0 h 2668"/>
              <a:gd name="T2" fmla="*/ 1091 w 3202"/>
              <a:gd name="T3" fmla="*/ 626 h 2668"/>
              <a:gd name="T4" fmla="*/ 127 w 3202"/>
              <a:gd name="T5" fmla="*/ 697 h 2668"/>
              <a:gd name="T6" fmla="*/ 71 w 3202"/>
              <a:gd name="T7" fmla="*/ 2146 h 2668"/>
              <a:gd name="T8" fmla="*/ 0 w 3202"/>
              <a:gd name="T9" fmla="*/ 2597 h 2668"/>
              <a:gd name="T10" fmla="*/ 2730 w 3202"/>
              <a:gd name="T11" fmla="*/ 2668 h 2668"/>
              <a:gd name="T12" fmla="*/ 2801 w 3202"/>
              <a:gd name="T13" fmla="*/ 2217 h 2668"/>
              <a:gd name="T14" fmla="*/ 2674 w 3202"/>
              <a:gd name="T15" fmla="*/ 2146 h 2668"/>
              <a:gd name="T16" fmla="*/ 3131 w 3202"/>
              <a:gd name="T17" fmla="*/ 1127 h 2668"/>
              <a:gd name="T18" fmla="*/ 3202 w 3202"/>
              <a:gd name="T19" fmla="*/ 71 h 2668"/>
              <a:gd name="T20" fmla="*/ 2659 w 3202"/>
              <a:gd name="T21" fmla="*/ 2526 h 2668"/>
              <a:gd name="T22" fmla="*/ 142 w 3202"/>
              <a:gd name="T23" fmla="*/ 2288 h 2668"/>
              <a:gd name="T24" fmla="*/ 950 w 3202"/>
              <a:gd name="T25" fmla="*/ 2288 h 2668"/>
              <a:gd name="T26" fmla="*/ 1021 w 3202"/>
              <a:gd name="T27" fmla="*/ 2414 h 2668"/>
              <a:gd name="T28" fmla="*/ 1851 w 3202"/>
              <a:gd name="T29" fmla="*/ 2343 h 2668"/>
              <a:gd name="T30" fmla="*/ 2603 w 3202"/>
              <a:gd name="T31" fmla="*/ 2288 h 2668"/>
              <a:gd name="T32" fmla="*/ 2659 w 3202"/>
              <a:gd name="T33" fmla="*/ 2526 h 2668"/>
              <a:gd name="T34" fmla="*/ 1780 w 3202"/>
              <a:gd name="T35" fmla="*/ 2146 h 2668"/>
              <a:gd name="T36" fmla="*/ 268 w 3202"/>
              <a:gd name="T37" fmla="*/ 2146 h 2668"/>
              <a:gd name="T38" fmla="*/ 1091 w 3202"/>
              <a:gd name="T39" fmla="*/ 768 h 2668"/>
              <a:gd name="T40" fmla="*/ 1162 w 3202"/>
              <a:gd name="T41" fmla="*/ 1127 h 2668"/>
              <a:gd name="T42" fmla="*/ 1419 w 3202"/>
              <a:gd name="T43" fmla="*/ 1466 h 2668"/>
              <a:gd name="T44" fmla="*/ 1466 w 3202"/>
              <a:gd name="T45" fmla="*/ 1533 h 2668"/>
              <a:gd name="T46" fmla="*/ 1475 w 3202"/>
              <a:gd name="T47" fmla="*/ 1535 h 2668"/>
              <a:gd name="T48" fmla="*/ 1482 w 3202"/>
              <a:gd name="T49" fmla="*/ 1537 h 2668"/>
              <a:gd name="T50" fmla="*/ 1490 w 3202"/>
              <a:gd name="T51" fmla="*/ 1537 h 2668"/>
              <a:gd name="T52" fmla="*/ 1491 w 3202"/>
              <a:gd name="T53" fmla="*/ 1537 h 2668"/>
              <a:gd name="T54" fmla="*/ 1497 w 3202"/>
              <a:gd name="T55" fmla="*/ 1537 h 2668"/>
              <a:gd name="T56" fmla="*/ 1503 w 3202"/>
              <a:gd name="T57" fmla="*/ 1536 h 2668"/>
              <a:gd name="T58" fmla="*/ 1508 w 3202"/>
              <a:gd name="T59" fmla="*/ 1535 h 2668"/>
              <a:gd name="T60" fmla="*/ 1515 w 3202"/>
              <a:gd name="T61" fmla="*/ 1533 h 2668"/>
              <a:gd name="T62" fmla="*/ 1521 w 3202"/>
              <a:gd name="T63" fmla="*/ 1530 h 2668"/>
              <a:gd name="T64" fmla="*/ 1526 w 3202"/>
              <a:gd name="T65" fmla="*/ 1527 h 2668"/>
              <a:gd name="T66" fmla="*/ 1531 w 3202"/>
              <a:gd name="T67" fmla="*/ 1524 h 2668"/>
              <a:gd name="T68" fmla="*/ 2008 w 3202"/>
              <a:gd name="T69" fmla="*/ 1127 h 2668"/>
              <a:gd name="T70" fmla="*/ 2532 w 3202"/>
              <a:gd name="T71" fmla="*/ 2146 h 2668"/>
              <a:gd name="T72" fmla="*/ 2603 w 3202"/>
              <a:gd name="T73" fmla="*/ 985 h 2668"/>
              <a:gd name="T74" fmla="*/ 1937 w 3202"/>
              <a:gd name="T75" fmla="*/ 1001 h 2668"/>
              <a:gd name="T76" fmla="*/ 1561 w 3202"/>
              <a:gd name="T77" fmla="*/ 1056 h 2668"/>
              <a:gd name="T78" fmla="*/ 1233 w 3202"/>
              <a:gd name="T79" fmla="*/ 985 h 2668"/>
              <a:gd name="T80" fmla="*/ 1233 w 3202"/>
              <a:gd name="T81" fmla="*/ 142 h 2668"/>
              <a:gd name="T82" fmla="*/ 3060 w 3202"/>
              <a:gd name="T83" fmla="*/ 985 h 2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202" h="2668">
                <a:moveTo>
                  <a:pt x="3131" y="0"/>
                </a:moveTo>
                <a:cubicBezTo>
                  <a:pt x="1162" y="0"/>
                  <a:pt x="1162" y="0"/>
                  <a:pt x="1162" y="0"/>
                </a:cubicBezTo>
                <a:cubicBezTo>
                  <a:pt x="1123" y="0"/>
                  <a:pt x="1091" y="32"/>
                  <a:pt x="1091" y="71"/>
                </a:cubicBezTo>
                <a:cubicBezTo>
                  <a:pt x="1091" y="626"/>
                  <a:pt x="1091" y="626"/>
                  <a:pt x="1091" y="626"/>
                </a:cubicBezTo>
                <a:cubicBezTo>
                  <a:pt x="198" y="626"/>
                  <a:pt x="198" y="626"/>
                  <a:pt x="198" y="626"/>
                </a:cubicBezTo>
                <a:cubicBezTo>
                  <a:pt x="158" y="626"/>
                  <a:pt x="127" y="658"/>
                  <a:pt x="127" y="697"/>
                </a:cubicBezTo>
                <a:cubicBezTo>
                  <a:pt x="127" y="2146"/>
                  <a:pt x="127" y="2146"/>
                  <a:pt x="127" y="2146"/>
                </a:cubicBezTo>
                <a:cubicBezTo>
                  <a:pt x="71" y="2146"/>
                  <a:pt x="71" y="2146"/>
                  <a:pt x="71" y="2146"/>
                </a:cubicBezTo>
                <a:cubicBezTo>
                  <a:pt x="32" y="2146"/>
                  <a:pt x="0" y="2178"/>
                  <a:pt x="0" y="2217"/>
                </a:cubicBezTo>
                <a:cubicBezTo>
                  <a:pt x="0" y="2597"/>
                  <a:pt x="0" y="2597"/>
                  <a:pt x="0" y="2597"/>
                </a:cubicBezTo>
                <a:cubicBezTo>
                  <a:pt x="0" y="2636"/>
                  <a:pt x="32" y="2668"/>
                  <a:pt x="71" y="2668"/>
                </a:cubicBezTo>
                <a:cubicBezTo>
                  <a:pt x="2730" y="2668"/>
                  <a:pt x="2730" y="2668"/>
                  <a:pt x="2730" y="2668"/>
                </a:cubicBezTo>
                <a:cubicBezTo>
                  <a:pt x="2769" y="2668"/>
                  <a:pt x="2801" y="2636"/>
                  <a:pt x="2801" y="2597"/>
                </a:cubicBezTo>
                <a:cubicBezTo>
                  <a:pt x="2801" y="2217"/>
                  <a:pt x="2801" y="2217"/>
                  <a:pt x="2801" y="2217"/>
                </a:cubicBezTo>
                <a:cubicBezTo>
                  <a:pt x="2801" y="2178"/>
                  <a:pt x="2769" y="2146"/>
                  <a:pt x="2730" y="2146"/>
                </a:cubicBezTo>
                <a:cubicBezTo>
                  <a:pt x="2674" y="2146"/>
                  <a:pt x="2674" y="2146"/>
                  <a:pt x="2674" y="2146"/>
                </a:cubicBezTo>
                <a:cubicBezTo>
                  <a:pt x="2674" y="1127"/>
                  <a:pt x="2674" y="1127"/>
                  <a:pt x="2674" y="1127"/>
                </a:cubicBezTo>
                <a:cubicBezTo>
                  <a:pt x="3131" y="1127"/>
                  <a:pt x="3131" y="1127"/>
                  <a:pt x="3131" y="1127"/>
                </a:cubicBezTo>
                <a:cubicBezTo>
                  <a:pt x="3170" y="1127"/>
                  <a:pt x="3202" y="1095"/>
                  <a:pt x="3202" y="1056"/>
                </a:cubicBezTo>
                <a:cubicBezTo>
                  <a:pt x="3202" y="71"/>
                  <a:pt x="3202" y="71"/>
                  <a:pt x="3202" y="71"/>
                </a:cubicBezTo>
                <a:cubicBezTo>
                  <a:pt x="3202" y="32"/>
                  <a:pt x="3170" y="0"/>
                  <a:pt x="3131" y="0"/>
                </a:cubicBezTo>
                <a:close/>
                <a:moveTo>
                  <a:pt x="2659" y="2526"/>
                </a:moveTo>
                <a:cubicBezTo>
                  <a:pt x="142" y="2526"/>
                  <a:pt x="142" y="2526"/>
                  <a:pt x="142" y="2526"/>
                </a:cubicBezTo>
                <a:cubicBezTo>
                  <a:pt x="142" y="2288"/>
                  <a:pt x="142" y="2288"/>
                  <a:pt x="142" y="2288"/>
                </a:cubicBezTo>
                <a:cubicBezTo>
                  <a:pt x="198" y="2288"/>
                  <a:pt x="198" y="2288"/>
                  <a:pt x="198" y="2288"/>
                </a:cubicBezTo>
                <a:cubicBezTo>
                  <a:pt x="950" y="2288"/>
                  <a:pt x="950" y="2288"/>
                  <a:pt x="950" y="2288"/>
                </a:cubicBezTo>
                <a:cubicBezTo>
                  <a:pt x="950" y="2343"/>
                  <a:pt x="950" y="2343"/>
                  <a:pt x="950" y="2343"/>
                </a:cubicBezTo>
                <a:cubicBezTo>
                  <a:pt x="950" y="2383"/>
                  <a:pt x="981" y="2414"/>
                  <a:pt x="1021" y="2414"/>
                </a:cubicBezTo>
                <a:cubicBezTo>
                  <a:pt x="1780" y="2414"/>
                  <a:pt x="1780" y="2414"/>
                  <a:pt x="1780" y="2414"/>
                </a:cubicBezTo>
                <a:cubicBezTo>
                  <a:pt x="1819" y="2414"/>
                  <a:pt x="1851" y="2383"/>
                  <a:pt x="1851" y="2343"/>
                </a:cubicBezTo>
                <a:cubicBezTo>
                  <a:pt x="1851" y="2288"/>
                  <a:pt x="1851" y="2288"/>
                  <a:pt x="1851" y="2288"/>
                </a:cubicBezTo>
                <a:cubicBezTo>
                  <a:pt x="2603" y="2288"/>
                  <a:pt x="2603" y="2288"/>
                  <a:pt x="2603" y="2288"/>
                </a:cubicBezTo>
                <a:cubicBezTo>
                  <a:pt x="2659" y="2288"/>
                  <a:pt x="2659" y="2288"/>
                  <a:pt x="2659" y="2288"/>
                </a:cubicBezTo>
                <a:lnTo>
                  <a:pt x="2659" y="2526"/>
                </a:lnTo>
                <a:close/>
                <a:moveTo>
                  <a:pt x="2532" y="2146"/>
                </a:moveTo>
                <a:cubicBezTo>
                  <a:pt x="1780" y="2146"/>
                  <a:pt x="1780" y="2146"/>
                  <a:pt x="1780" y="2146"/>
                </a:cubicBezTo>
                <a:cubicBezTo>
                  <a:pt x="1021" y="2146"/>
                  <a:pt x="1021" y="2146"/>
                  <a:pt x="1021" y="2146"/>
                </a:cubicBezTo>
                <a:cubicBezTo>
                  <a:pt x="268" y="2146"/>
                  <a:pt x="268" y="2146"/>
                  <a:pt x="268" y="2146"/>
                </a:cubicBezTo>
                <a:cubicBezTo>
                  <a:pt x="268" y="768"/>
                  <a:pt x="268" y="768"/>
                  <a:pt x="268" y="768"/>
                </a:cubicBezTo>
                <a:cubicBezTo>
                  <a:pt x="1091" y="768"/>
                  <a:pt x="1091" y="768"/>
                  <a:pt x="1091" y="768"/>
                </a:cubicBezTo>
                <a:cubicBezTo>
                  <a:pt x="1091" y="1056"/>
                  <a:pt x="1091" y="1056"/>
                  <a:pt x="1091" y="1056"/>
                </a:cubicBezTo>
                <a:cubicBezTo>
                  <a:pt x="1091" y="1095"/>
                  <a:pt x="1123" y="1127"/>
                  <a:pt x="1162" y="1127"/>
                </a:cubicBezTo>
                <a:cubicBezTo>
                  <a:pt x="1419" y="1127"/>
                  <a:pt x="1419" y="1127"/>
                  <a:pt x="1419" y="1127"/>
                </a:cubicBezTo>
                <a:cubicBezTo>
                  <a:pt x="1419" y="1466"/>
                  <a:pt x="1419" y="1466"/>
                  <a:pt x="1419" y="1466"/>
                </a:cubicBezTo>
                <a:cubicBezTo>
                  <a:pt x="1419" y="1494"/>
                  <a:pt x="1435" y="1519"/>
                  <a:pt x="1460" y="1530"/>
                </a:cubicBezTo>
                <a:cubicBezTo>
                  <a:pt x="1462" y="1531"/>
                  <a:pt x="1464" y="1532"/>
                  <a:pt x="1466" y="1533"/>
                </a:cubicBezTo>
                <a:cubicBezTo>
                  <a:pt x="1467" y="1533"/>
                  <a:pt x="1468" y="1533"/>
                  <a:pt x="1468" y="1534"/>
                </a:cubicBezTo>
                <a:cubicBezTo>
                  <a:pt x="1470" y="1534"/>
                  <a:pt x="1472" y="1535"/>
                  <a:pt x="1475" y="1535"/>
                </a:cubicBezTo>
                <a:cubicBezTo>
                  <a:pt x="1475" y="1535"/>
                  <a:pt x="1475" y="1535"/>
                  <a:pt x="1475" y="1536"/>
                </a:cubicBezTo>
                <a:cubicBezTo>
                  <a:pt x="1477" y="1536"/>
                  <a:pt x="1479" y="1536"/>
                  <a:pt x="1482" y="1537"/>
                </a:cubicBezTo>
                <a:cubicBezTo>
                  <a:pt x="1482" y="1537"/>
                  <a:pt x="1483" y="1537"/>
                  <a:pt x="1483" y="1537"/>
                </a:cubicBezTo>
                <a:cubicBezTo>
                  <a:pt x="1485" y="1537"/>
                  <a:pt x="1488" y="1537"/>
                  <a:pt x="1490" y="1537"/>
                </a:cubicBezTo>
                <a:cubicBezTo>
                  <a:pt x="1490" y="1537"/>
                  <a:pt x="1490" y="1537"/>
                  <a:pt x="1490" y="1537"/>
                </a:cubicBezTo>
                <a:cubicBezTo>
                  <a:pt x="1490" y="1537"/>
                  <a:pt x="1491" y="1537"/>
                  <a:pt x="1491" y="1537"/>
                </a:cubicBezTo>
                <a:cubicBezTo>
                  <a:pt x="1493" y="1537"/>
                  <a:pt x="1494" y="1537"/>
                  <a:pt x="1495" y="1537"/>
                </a:cubicBezTo>
                <a:cubicBezTo>
                  <a:pt x="1496" y="1537"/>
                  <a:pt x="1497" y="1537"/>
                  <a:pt x="1497" y="1537"/>
                </a:cubicBezTo>
                <a:cubicBezTo>
                  <a:pt x="1499" y="1537"/>
                  <a:pt x="1500" y="1536"/>
                  <a:pt x="1501" y="1536"/>
                </a:cubicBezTo>
                <a:cubicBezTo>
                  <a:pt x="1502" y="1536"/>
                  <a:pt x="1502" y="1536"/>
                  <a:pt x="1503" y="1536"/>
                </a:cubicBezTo>
                <a:cubicBezTo>
                  <a:pt x="1504" y="1536"/>
                  <a:pt x="1506" y="1535"/>
                  <a:pt x="1507" y="1535"/>
                </a:cubicBezTo>
                <a:cubicBezTo>
                  <a:pt x="1507" y="1535"/>
                  <a:pt x="1508" y="1535"/>
                  <a:pt x="1508" y="1535"/>
                </a:cubicBezTo>
                <a:cubicBezTo>
                  <a:pt x="1510" y="1534"/>
                  <a:pt x="1512" y="1534"/>
                  <a:pt x="1514" y="1533"/>
                </a:cubicBezTo>
                <a:cubicBezTo>
                  <a:pt x="1514" y="1533"/>
                  <a:pt x="1514" y="1533"/>
                  <a:pt x="1515" y="1533"/>
                </a:cubicBezTo>
                <a:cubicBezTo>
                  <a:pt x="1516" y="1532"/>
                  <a:pt x="1518" y="1532"/>
                  <a:pt x="1519" y="1531"/>
                </a:cubicBezTo>
                <a:cubicBezTo>
                  <a:pt x="1520" y="1531"/>
                  <a:pt x="1520" y="1530"/>
                  <a:pt x="1521" y="1530"/>
                </a:cubicBezTo>
                <a:cubicBezTo>
                  <a:pt x="1522" y="1530"/>
                  <a:pt x="1523" y="1529"/>
                  <a:pt x="1524" y="1528"/>
                </a:cubicBezTo>
                <a:cubicBezTo>
                  <a:pt x="1525" y="1528"/>
                  <a:pt x="1525" y="1528"/>
                  <a:pt x="1526" y="1527"/>
                </a:cubicBezTo>
                <a:cubicBezTo>
                  <a:pt x="1527" y="1527"/>
                  <a:pt x="1528" y="1526"/>
                  <a:pt x="1529" y="1525"/>
                </a:cubicBezTo>
                <a:cubicBezTo>
                  <a:pt x="1530" y="1525"/>
                  <a:pt x="1530" y="1525"/>
                  <a:pt x="1531" y="1524"/>
                </a:cubicBezTo>
                <a:cubicBezTo>
                  <a:pt x="1532" y="1523"/>
                  <a:pt x="1534" y="1522"/>
                  <a:pt x="1535" y="1521"/>
                </a:cubicBezTo>
                <a:cubicBezTo>
                  <a:pt x="2008" y="1127"/>
                  <a:pt x="2008" y="1127"/>
                  <a:pt x="2008" y="1127"/>
                </a:cubicBezTo>
                <a:cubicBezTo>
                  <a:pt x="2532" y="1127"/>
                  <a:pt x="2532" y="1127"/>
                  <a:pt x="2532" y="1127"/>
                </a:cubicBezTo>
                <a:lnTo>
                  <a:pt x="2532" y="2146"/>
                </a:lnTo>
                <a:close/>
                <a:moveTo>
                  <a:pt x="3060" y="985"/>
                </a:moveTo>
                <a:cubicBezTo>
                  <a:pt x="2603" y="985"/>
                  <a:pt x="2603" y="985"/>
                  <a:pt x="2603" y="985"/>
                </a:cubicBezTo>
                <a:cubicBezTo>
                  <a:pt x="1982" y="985"/>
                  <a:pt x="1982" y="985"/>
                  <a:pt x="1982" y="985"/>
                </a:cubicBezTo>
                <a:cubicBezTo>
                  <a:pt x="1966" y="985"/>
                  <a:pt x="1950" y="991"/>
                  <a:pt x="1937" y="1001"/>
                </a:cubicBezTo>
                <a:cubicBezTo>
                  <a:pt x="1561" y="1315"/>
                  <a:pt x="1561" y="1315"/>
                  <a:pt x="1561" y="1315"/>
                </a:cubicBezTo>
                <a:cubicBezTo>
                  <a:pt x="1561" y="1056"/>
                  <a:pt x="1561" y="1056"/>
                  <a:pt x="1561" y="1056"/>
                </a:cubicBezTo>
                <a:cubicBezTo>
                  <a:pt x="1561" y="1017"/>
                  <a:pt x="1529" y="985"/>
                  <a:pt x="1490" y="985"/>
                </a:cubicBezTo>
                <a:cubicBezTo>
                  <a:pt x="1233" y="985"/>
                  <a:pt x="1233" y="985"/>
                  <a:pt x="1233" y="985"/>
                </a:cubicBezTo>
                <a:cubicBezTo>
                  <a:pt x="1233" y="697"/>
                  <a:pt x="1233" y="697"/>
                  <a:pt x="1233" y="697"/>
                </a:cubicBezTo>
                <a:cubicBezTo>
                  <a:pt x="1233" y="142"/>
                  <a:pt x="1233" y="142"/>
                  <a:pt x="1233" y="142"/>
                </a:cubicBezTo>
                <a:cubicBezTo>
                  <a:pt x="3060" y="142"/>
                  <a:pt x="3060" y="142"/>
                  <a:pt x="3060" y="142"/>
                </a:cubicBezTo>
                <a:lnTo>
                  <a:pt x="3060" y="985"/>
                </a:lnTo>
                <a:close/>
              </a:path>
            </a:pathLst>
          </a:custGeom>
          <a:solidFill>
            <a:srgbClr val="004236">
              <a:lumMod val="90000"/>
              <a:lumOff val="1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CO" sz="1200" kern="0">
              <a:solidFill>
                <a:schemeClr val="tx2"/>
              </a:solidFill>
            </a:endParaRPr>
          </a:p>
        </p:txBody>
      </p:sp>
      <p:pic>
        <p:nvPicPr>
          <p:cNvPr id="17" name="Graphic 47">
            <a:extLst>
              <a:ext uri="{FF2B5EF4-FFF2-40B4-BE49-F238E27FC236}">
                <a16:creationId xmlns:a16="http://schemas.microsoft.com/office/drawing/2014/main" id="{53408C8D-C286-4C5B-8116-FF2B292DBE06}"/>
              </a:ext>
            </a:extLst>
          </p:cNvPr>
          <p:cNvPicPr preferRelativeResize="0"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63185" y="1022483"/>
            <a:ext cx="246528" cy="257703"/>
          </a:xfrm>
          <a:prstGeom prst="rect">
            <a:avLst/>
          </a:prstGeom>
        </p:spPr>
      </p:pic>
      <p:pic>
        <p:nvPicPr>
          <p:cNvPr id="18" name="Gráfico 17" descr="Flecha circular">
            <a:extLst>
              <a:ext uri="{FF2B5EF4-FFF2-40B4-BE49-F238E27FC236}">
                <a16:creationId xmlns:a16="http://schemas.microsoft.com/office/drawing/2014/main" id="{CFB0A51A-883E-4269-9A8D-DD4D063D87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97221" y="965183"/>
            <a:ext cx="398779" cy="398779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E0EBDA24-5DF4-4E0C-BF25-069E22B9B239}"/>
              </a:ext>
            </a:extLst>
          </p:cNvPr>
          <p:cNvSpPr/>
          <p:nvPr/>
        </p:nvSpPr>
        <p:spPr>
          <a:xfrm>
            <a:off x="4835865" y="5858129"/>
            <a:ext cx="348149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50" dirty="0">
                <a:solidFill>
                  <a:schemeClr val="tx2"/>
                </a:solidFill>
              </a:rPr>
              <a:t>**No contempla la implementación de las acciones correctivas derivadas de la investigación</a:t>
            </a:r>
            <a:endParaRPr lang="es-CO" sz="1050" dirty="0">
              <a:solidFill>
                <a:schemeClr val="tx2"/>
              </a:solidFill>
            </a:endParaRPr>
          </a:p>
        </p:txBody>
      </p:sp>
      <p:sp>
        <p:nvSpPr>
          <p:cNvPr id="6" name="CuadroTexto 47">
            <a:extLst>
              <a:ext uri="{FF2B5EF4-FFF2-40B4-BE49-F238E27FC236}">
                <a16:creationId xmlns:a16="http://schemas.microsoft.com/office/drawing/2014/main" id="{76750B43-B56D-4350-8519-11EF5FE0EE13}"/>
              </a:ext>
            </a:extLst>
          </p:cNvPr>
          <p:cNvSpPr txBox="1"/>
          <p:nvPr/>
        </p:nvSpPr>
        <p:spPr>
          <a:xfrm>
            <a:off x="36044" y="44829"/>
            <a:ext cx="121026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4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 – HSE y Sostenibilidad</a:t>
            </a:r>
            <a:endParaRPr lang="es-CO" sz="24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13086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301F4E9D-AF80-407A-857F-32DDC94021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334"/>
          <a:stretch/>
        </p:blipFill>
        <p:spPr>
          <a:xfrm>
            <a:off x="0" y="1674"/>
            <a:ext cx="12192000" cy="6856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8312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01635120-EA93-4C06-A497-18CC51F077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61" t="4484" r="1517" b="5553"/>
          <a:stretch/>
        </p:blipFill>
        <p:spPr>
          <a:xfrm>
            <a:off x="0" y="0"/>
            <a:ext cx="1220759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3538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957EAA4A-611C-4244-89F5-F39EF823DE08}"/>
              </a:ext>
            </a:extLst>
          </p:cNvPr>
          <p:cNvSpPr txBox="1"/>
          <p:nvPr/>
        </p:nvSpPr>
        <p:spPr>
          <a:xfrm>
            <a:off x="4823857" y="3055920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>
                <a:highlight>
                  <a:srgbClr val="FFFF00"/>
                </a:highlight>
              </a:rPr>
              <a:t>Vídeo Comité Directivo</a:t>
            </a:r>
            <a:endParaRPr lang="es-CO">
              <a:highlight>
                <a:srgbClr val="FFFF00"/>
              </a:highlight>
            </a:endParaRPr>
          </a:p>
        </p:txBody>
      </p:sp>
      <p:pic>
        <p:nvPicPr>
          <p:cNvPr id="4" name="Vídeo Cierre PGC">
            <a:hlinkClick r:id="" action="ppaction://media"/>
            <a:extLst>
              <a:ext uri="{FF2B5EF4-FFF2-40B4-BE49-F238E27FC236}">
                <a16:creationId xmlns:a16="http://schemas.microsoft.com/office/drawing/2014/main" id="{70371C8E-53B3-426B-95BC-2A4DC84527D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037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831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A678B5A7-CC3B-467E-B710-A589880617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3</a:t>
            </a:fld>
            <a:endParaRPr lang="es-CO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CAAFEDC1-4B58-4913-A2A5-D711039A33B5}"/>
              </a:ext>
            </a:extLst>
          </p:cNvPr>
          <p:cNvSpPr txBox="1">
            <a:spLocks/>
          </p:cNvSpPr>
          <p:nvPr/>
        </p:nvSpPr>
        <p:spPr>
          <a:xfrm>
            <a:off x="2423410" y="132076"/>
            <a:ext cx="7345180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dirty="0"/>
              <a:t>Aspectos a tener en cuenta</a:t>
            </a:r>
          </a:p>
        </p:txBody>
      </p:sp>
      <p:sp>
        <p:nvSpPr>
          <p:cNvPr id="6" name="Diagrama de flujo: proceso alternativo 5">
            <a:extLst>
              <a:ext uri="{FF2B5EF4-FFF2-40B4-BE49-F238E27FC236}">
                <a16:creationId xmlns:a16="http://schemas.microsoft.com/office/drawing/2014/main" id="{58799CC0-6873-4D0B-983C-048852038A37}"/>
              </a:ext>
            </a:extLst>
          </p:cNvPr>
          <p:cNvSpPr/>
          <p:nvPr/>
        </p:nvSpPr>
        <p:spPr>
          <a:xfrm>
            <a:off x="3042531" y="943796"/>
            <a:ext cx="7788639" cy="1127465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s un taller que se lleva a cabo con cada Vicepresidencia, no obstante, los entregables se han construido por macroprocesos. Es posible que haya temas de la Vicepresidencia que no se vean reflejados.</a:t>
            </a:r>
          </a:p>
        </p:txBody>
      </p:sp>
      <p:sp>
        <p:nvSpPr>
          <p:cNvPr id="8" name="Diagrama de flujo: proceso alternativo 7">
            <a:extLst>
              <a:ext uri="{FF2B5EF4-FFF2-40B4-BE49-F238E27FC236}">
                <a16:creationId xmlns:a16="http://schemas.microsoft.com/office/drawing/2014/main" id="{6265FC2E-2616-458D-8F45-C7281CBBB60B}"/>
              </a:ext>
            </a:extLst>
          </p:cNvPr>
          <p:cNvSpPr/>
          <p:nvPr/>
        </p:nvSpPr>
        <p:spPr>
          <a:xfrm>
            <a:off x="3042531" y="2492591"/>
            <a:ext cx="7788639" cy="898319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sta sesión es grabada y el vídeo (junto con la presentación) será enviado a los asistentes para posterior consulta.</a:t>
            </a:r>
          </a:p>
        </p:txBody>
      </p:sp>
      <p:sp>
        <p:nvSpPr>
          <p:cNvPr id="10" name="Diagrama de flujo: proceso alternativo 9">
            <a:extLst>
              <a:ext uri="{FF2B5EF4-FFF2-40B4-BE49-F238E27FC236}">
                <a16:creationId xmlns:a16="http://schemas.microsoft.com/office/drawing/2014/main" id="{9E8D26C4-10B6-4A63-81EA-2EC8E1697D7A}"/>
              </a:ext>
            </a:extLst>
          </p:cNvPr>
          <p:cNvSpPr/>
          <p:nvPr/>
        </p:nvSpPr>
        <p:spPr>
          <a:xfrm>
            <a:off x="3042531" y="5017337"/>
            <a:ext cx="7788639" cy="898319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n caso de preguntas, les pedimos anotarlas en el chat de la reunión. Al final de la sesión se dará respuesta.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CF63326B-3540-4D2D-BAC8-E76D4EDF8B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967528"/>
            <a:ext cx="1080000" cy="108000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4B2B16C1-B03A-447A-B036-46010E4CBF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2351972"/>
            <a:ext cx="1080000" cy="108000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5A9EC01C-8F83-427F-91E3-7B8D339949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4926496"/>
            <a:ext cx="1080000" cy="1080000"/>
          </a:xfrm>
          <a:prstGeom prst="rect">
            <a:avLst/>
          </a:prstGeom>
        </p:spPr>
      </p:pic>
      <p:sp>
        <p:nvSpPr>
          <p:cNvPr id="3" name="Diagrama de flujo: proceso alternativo 2">
            <a:extLst>
              <a:ext uri="{FF2B5EF4-FFF2-40B4-BE49-F238E27FC236}">
                <a16:creationId xmlns:a16="http://schemas.microsoft.com/office/drawing/2014/main" id="{00670338-F389-4E18-AB5A-894D7F0665BB}"/>
              </a:ext>
            </a:extLst>
          </p:cNvPr>
          <p:cNvSpPr/>
          <p:nvPr/>
        </p:nvSpPr>
        <p:spPr>
          <a:xfrm>
            <a:off x="3042530" y="3754964"/>
            <a:ext cx="7788639" cy="898319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A lo largo del taller habrá actividades lúdicas, por lo que esperamos contar con su activa participación</a:t>
            </a:r>
          </a:p>
        </p:txBody>
      </p:sp>
      <p:pic>
        <p:nvPicPr>
          <p:cNvPr id="7" name="Imagen 6" descr="Icono&#10;&#10;Descripción generada automáticamente">
            <a:extLst>
              <a:ext uri="{FF2B5EF4-FFF2-40B4-BE49-F238E27FC236}">
                <a16:creationId xmlns:a16="http://schemas.microsoft.com/office/drawing/2014/main" id="{6C1F68B0-0CBD-4E2B-A2F0-2ECF985E37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3664123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7128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5A2E55E-1082-4EBF-B81F-F2C9A9EC7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4</a:t>
            </a:fld>
            <a:endParaRPr lang="es-CO"/>
          </a:p>
        </p:txBody>
      </p:sp>
      <p:pic>
        <p:nvPicPr>
          <p:cNvPr id="3" name="Gobierno Corporativo">
            <a:hlinkClick r:id="" action="ppaction://media"/>
            <a:extLst>
              <a:ext uri="{FF2B5EF4-FFF2-40B4-BE49-F238E27FC236}">
                <a16:creationId xmlns:a16="http://schemas.microsoft.com/office/drawing/2014/main" id="{C4A8EB8B-7E0F-4094-9A33-123F6F27F69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51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35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91FAB4A-142A-434B-BB3E-E6440A7673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5</a:t>
            </a:fld>
            <a:endParaRPr lang="es-CO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B98BFC37-647B-418B-BCC1-75FEE0AF5DD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O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E0DC0D8-EE90-46CF-B1EB-A222BC48C7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6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3682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D05F3256-18DF-4D2F-A3BD-25B28D8DE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855" y="1053146"/>
            <a:ext cx="10529456" cy="5121152"/>
          </a:xfrm>
          <a:prstGeom prst="rect">
            <a:avLst/>
          </a:prstGeom>
        </p:spPr>
      </p:pic>
      <p:sp>
        <p:nvSpPr>
          <p:cNvPr id="11" name="Rectángulo 10"/>
          <p:cNvSpPr/>
          <p:nvPr/>
        </p:nvSpPr>
        <p:spPr>
          <a:xfrm>
            <a:off x="8" y="952109"/>
            <a:ext cx="5995350" cy="45719"/>
          </a:xfrm>
          <a:prstGeom prst="rect">
            <a:avLst/>
          </a:prstGeom>
          <a:solidFill>
            <a:srgbClr val="0E36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grpSp>
        <p:nvGrpSpPr>
          <p:cNvPr id="9" name="Agrupar 8"/>
          <p:cNvGrpSpPr/>
          <p:nvPr/>
        </p:nvGrpSpPr>
        <p:grpSpPr>
          <a:xfrm>
            <a:off x="-4" y="4856158"/>
            <a:ext cx="3186917" cy="2001842"/>
            <a:chOff x="-4" y="4856158"/>
            <a:chExt cx="3186917" cy="2001842"/>
          </a:xfrm>
        </p:grpSpPr>
        <p:sp>
          <p:nvSpPr>
            <p:cNvPr id="10" name="Triángulo rectángulo 9"/>
            <p:cNvSpPr/>
            <p:nvPr/>
          </p:nvSpPr>
          <p:spPr>
            <a:xfrm>
              <a:off x="576231" y="6102532"/>
              <a:ext cx="2610682" cy="755468"/>
            </a:xfrm>
            <a:prstGeom prst="rtTriangle">
              <a:avLst/>
            </a:prstGeom>
            <a:solidFill>
              <a:srgbClr val="F4981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Triángulo isósceles 11"/>
            <p:cNvSpPr/>
            <p:nvPr/>
          </p:nvSpPr>
          <p:spPr>
            <a:xfrm flipH="1">
              <a:off x="-4" y="4856158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Triángulo isósceles 12"/>
            <p:cNvSpPr/>
            <p:nvPr/>
          </p:nvSpPr>
          <p:spPr>
            <a:xfrm>
              <a:off x="0" y="6126049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" name="Agrupar 13"/>
          <p:cNvGrpSpPr/>
          <p:nvPr/>
        </p:nvGrpSpPr>
        <p:grpSpPr>
          <a:xfrm flipH="1" flipV="1">
            <a:off x="9005083" y="0"/>
            <a:ext cx="3186917" cy="2001842"/>
            <a:chOff x="6690860" y="2598117"/>
            <a:chExt cx="3186917" cy="2001842"/>
          </a:xfrm>
        </p:grpSpPr>
        <p:sp>
          <p:nvSpPr>
            <p:cNvPr id="15" name="Triángulo rectángulo 14"/>
            <p:cNvSpPr/>
            <p:nvPr/>
          </p:nvSpPr>
          <p:spPr>
            <a:xfrm>
              <a:off x="7267095" y="3844491"/>
              <a:ext cx="2610682" cy="755468"/>
            </a:xfrm>
            <a:prstGeom prst="rtTriangle">
              <a:avLst/>
            </a:prstGeom>
            <a:solidFill>
              <a:srgbClr val="CCD63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Triángulo isósceles 15"/>
            <p:cNvSpPr/>
            <p:nvPr/>
          </p:nvSpPr>
          <p:spPr>
            <a:xfrm flipH="1">
              <a:off x="6690860" y="2598117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Triángulo isósceles 16"/>
            <p:cNvSpPr/>
            <p:nvPr/>
          </p:nvSpPr>
          <p:spPr>
            <a:xfrm>
              <a:off x="6690864" y="3868008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9" name="Imagen 18" descr="Cenit_Whit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00" y="6338602"/>
            <a:ext cx="694888" cy="519398"/>
          </a:xfrm>
          <a:prstGeom prst="rect">
            <a:avLst/>
          </a:prstGeom>
        </p:spPr>
      </p:pic>
      <p:sp>
        <p:nvSpPr>
          <p:cNvPr id="20" name="Recortar rectángulo de esquina diagonal 19"/>
          <p:cNvSpPr/>
          <p:nvPr/>
        </p:nvSpPr>
        <p:spPr>
          <a:xfrm flipH="1">
            <a:off x="10047202" y="6065868"/>
            <a:ext cx="2144798" cy="569334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10649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CuadroTexto 22"/>
          <p:cNvSpPr txBox="1"/>
          <p:nvPr/>
        </p:nvSpPr>
        <p:spPr>
          <a:xfrm>
            <a:off x="9730172" y="6042511"/>
            <a:ext cx="2305859" cy="53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Implementación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de Procesos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C49F24FC-F98D-487C-B498-814F5ABEB0BF}"/>
              </a:ext>
            </a:extLst>
          </p:cNvPr>
          <p:cNvSpPr txBox="1"/>
          <p:nvPr/>
        </p:nvSpPr>
        <p:spPr>
          <a:xfrm>
            <a:off x="62679" y="362503"/>
            <a:ext cx="974802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srgbClr val="0E3658"/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Modelo de Procesos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200" b="1" i="0" u="none" strike="noStrike" kern="1200" cap="none" spc="0" normalizeH="0" baseline="0" noProof="0">
              <a:ln>
                <a:noFill/>
              </a:ln>
              <a:solidFill>
                <a:srgbClr val="0E3658"/>
              </a:solidFill>
              <a:effectLst/>
              <a:uLnTx/>
              <a:uFillTx/>
              <a:latin typeface="Calibri light titulos"/>
              <a:ea typeface="+mn-ea"/>
              <a:cs typeface="Calibri light titulos"/>
            </a:endParaRP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C4A9CCEF-9CA8-4E63-BD72-A70A516A49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10" y="2116972"/>
            <a:ext cx="2478157" cy="2657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5978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/>
          <p:cNvSpPr/>
          <p:nvPr/>
        </p:nvSpPr>
        <p:spPr>
          <a:xfrm>
            <a:off x="8" y="952109"/>
            <a:ext cx="5995350" cy="45719"/>
          </a:xfrm>
          <a:prstGeom prst="rect">
            <a:avLst/>
          </a:prstGeom>
          <a:solidFill>
            <a:srgbClr val="0E36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grpSp>
        <p:nvGrpSpPr>
          <p:cNvPr id="11" name="Agrupar 10"/>
          <p:cNvGrpSpPr/>
          <p:nvPr/>
        </p:nvGrpSpPr>
        <p:grpSpPr>
          <a:xfrm>
            <a:off x="-4" y="4856158"/>
            <a:ext cx="3186917" cy="2001842"/>
            <a:chOff x="-4" y="4856158"/>
            <a:chExt cx="3186917" cy="2001842"/>
          </a:xfrm>
        </p:grpSpPr>
        <p:sp>
          <p:nvSpPr>
            <p:cNvPr id="12" name="Triángulo rectángulo 11"/>
            <p:cNvSpPr/>
            <p:nvPr/>
          </p:nvSpPr>
          <p:spPr>
            <a:xfrm>
              <a:off x="576231" y="6102532"/>
              <a:ext cx="2610682" cy="755468"/>
            </a:xfrm>
            <a:prstGeom prst="rtTriangle">
              <a:avLst/>
            </a:prstGeom>
            <a:solidFill>
              <a:srgbClr val="F4981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Triángulo isósceles 12"/>
            <p:cNvSpPr/>
            <p:nvPr/>
          </p:nvSpPr>
          <p:spPr>
            <a:xfrm flipH="1">
              <a:off x="-4" y="4856158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Triángulo isósceles 13"/>
            <p:cNvSpPr/>
            <p:nvPr/>
          </p:nvSpPr>
          <p:spPr>
            <a:xfrm>
              <a:off x="0" y="6126049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9" name="Agrupar 18"/>
          <p:cNvGrpSpPr/>
          <p:nvPr/>
        </p:nvGrpSpPr>
        <p:grpSpPr>
          <a:xfrm flipH="1" flipV="1">
            <a:off x="9005083" y="0"/>
            <a:ext cx="3186917" cy="2001842"/>
            <a:chOff x="6690860" y="2598117"/>
            <a:chExt cx="3186917" cy="2001842"/>
          </a:xfrm>
        </p:grpSpPr>
        <p:sp>
          <p:nvSpPr>
            <p:cNvPr id="20" name="Triángulo rectángulo 19"/>
            <p:cNvSpPr/>
            <p:nvPr/>
          </p:nvSpPr>
          <p:spPr>
            <a:xfrm>
              <a:off x="7267095" y="3844491"/>
              <a:ext cx="2610682" cy="755468"/>
            </a:xfrm>
            <a:prstGeom prst="rtTriangle">
              <a:avLst/>
            </a:prstGeom>
            <a:solidFill>
              <a:srgbClr val="CCD63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Triángulo isósceles 20"/>
            <p:cNvSpPr/>
            <p:nvPr/>
          </p:nvSpPr>
          <p:spPr>
            <a:xfrm flipH="1">
              <a:off x="6690860" y="2598117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Triángulo isósceles 21"/>
            <p:cNvSpPr/>
            <p:nvPr/>
          </p:nvSpPr>
          <p:spPr>
            <a:xfrm>
              <a:off x="6690864" y="3868008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6" name="Imagen 15" descr="Cenit_Whit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00" y="6338602"/>
            <a:ext cx="694888" cy="519398"/>
          </a:xfrm>
          <a:prstGeom prst="rect">
            <a:avLst/>
          </a:prstGeom>
        </p:spPr>
      </p:pic>
      <p:sp>
        <p:nvSpPr>
          <p:cNvPr id="17" name="Recortar rectángulo de esquina diagonal 16"/>
          <p:cNvSpPr/>
          <p:nvPr/>
        </p:nvSpPr>
        <p:spPr>
          <a:xfrm flipH="1">
            <a:off x="10047202" y="6065868"/>
            <a:ext cx="2144798" cy="569334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10649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9730172" y="6042511"/>
            <a:ext cx="2305859" cy="53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Implementación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de Procesos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F8F01AF4-864E-4177-9256-C4F8CB5AAC1F}"/>
              </a:ext>
            </a:extLst>
          </p:cNvPr>
          <p:cNvSpPr txBox="1"/>
          <p:nvPr/>
        </p:nvSpPr>
        <p:spPr>
          <a:xfrm>
            <a:off x="67737" y="228618"/>
            <a:ext cx="107676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srgbClr val="0E3658"/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Lideres de Macroprocesos - Modelo de Procesos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3200" b="1" i="0" u="none" strike="noStrike" kern="1200" cap="none" spc="0" normalizeH="0" baseline="0" noProof="0">
              <a:ln>
                <a:noFill/>
              </a:ln>
              <a:solidFill>
                <a:srgbClr val="0E3658"/>
              </a:solidFill>
              <a:effectLst/>
              <a:uLnTx/>
              <a:uFillTx/>
              <a:latin typeface="Calibri light titulos"/>
              <a:ea typeface="+mn-ea"/>
              <a:cs typeface="Calibri light titulos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2FBD9B2-B889-44B6-84F6-7594AEE469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545" y="1064691"/>
            <a:ext cx="9986586" cy="5285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7295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/>
          <p:cNvSpPr/>
          <p:nvPr/>
        </p:nvSpPr>
        <p:spPr>
          <a:xfrm>
            <a:off x="8" y="1034423"/>
            <a:ext cx="5995350" cy="45719"/>
          </a:xfrm>
          <a:prstGeom prst="rect">
            <a:avLst/>
          </a:prstGeom>
          <a:solidFill>
            <a:srgbClr val="0E36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grpSp>
        <p:nvGrpSpPr>
          <p:cNvPr id="23" name="Agrupar 22"/>
          <p:cNvGrpSpPr/>
          <p:nvPr/>
        </p:nvGrpSpPr>
        <p:grpSpPr>
          <a:xfrm flipH="1" flipV="1">
            <a:off x="9005083" y="0"/>
            <a:ext cx="3186917" cy="2001842"/>
            <a:chOff x="6690860" y="2598117"/>
            <a:chExt cx="3186917" cy="2001842"/>
          </a:xfrm>
        </p:grpSpPr>
        <p:sp>
          <p:nvSpPr>
            <p:cNvPr id="24" name="Triángulo rectángulo 23"/>
            <p:cNvSpPr/>
            <p:nvPr/>
          </p:nvSpPr>
          <p:spPr>
            <a:xfrm>
              <a:off x="7267095" y="3844491"/>
              <a:ext cx="2610682" cy="755468"/>
            </a:xfrm>
            <a:prstGeom prst="rtTriangle">
              <a:avLst/>
            </a:prstGeom>
            <a:solidFill>
              <a:srgbClr val="CCD63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riángulo isósceles 24"/>
            <p:cNvSpPr/>
            <p:nvPr/>
          </p:nvSpPr>
          <p:spPr>
            <a:xfrm flipH="1">
              <a:off x="6690860" y="2598117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Triángulo isósceles 25"/>
            <p:cNvSpPr/>
            <p:nvPr/>
          </p:nvSpPr>
          <p:spPr>
            <a:xfrm>
              <a:off x="6690864" y="3868008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8" name="Recortar rectángulo de esquina diagonal 27"/>
          <p:cNvSpPr/>
          <p:nvPr/>
        </p:nvSpPr>
        <p:spPr>
          <a:xfrm flipH="1">
            <a:off x="10047202" y="6065868"/>
            <a:ext cx="2144798" cy="569334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10649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CuadroTexto 30"/>
          <p:cNvSpPr txBox="1"/>
          <p:nvPr/>
        </p:nvSpPr>
        <p:spPr>
          <a:xfrm>
            <a:off x="9730172" y="6042511"/>
            <a:ext cx="2305859" cy="53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Implementación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de Procesos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12B1C783-BCBA-4E8F-9178-D33D5C515EFC}"/>
              </a:ext>
            </a:extLst>
          </p:cNvPr>
          <p:cNvSpPr txBox="1"/>
          <p:nvPr/>
        </p:nvSpPr>
        <p:spPr>
          <a:xfrm>
            <a:off x="155968" y="338507"/>
            <a:ext cx="90797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 dirty="0">
                <a:ln>
                  <a:noFill/>
                </a:ln>
                <a:solidFill>
                  <a:srgbClr val="0E3658"/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Metodología Diseño de Procesos</a:t>
            </a:r>
          </a:p>
        </p:txBody>
      </p:sp>
      <p:sp>
        <p:nvSpPr>
          <p:cNvPr id="48" name="10 Cheurón">
            <a:extLst>
              <a:ext uri="{FF2B5EF4-FFF2-40B4-BE49-F238E27FC236}">
                <a16:creationId xmlns:a16="http://schemas.microsoft.com/office/drawing/2014/main" id="{C2B9C1FB-B696-4113-AE82-70C16D13390B}"/>
              </a:ext>
            </a:extLst>
          </p:cNvPr>
          <p:cNvSpPr/>
          <p:nvPr/>
        </p:nvSpPr>
        <p:spPr>
          <a:xfrm>
            <a:off x="1943144" y="1277700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Macro proceso)</a:t>
            </a:r>
          </a:p>
        </p:txBody>
      </p:sp>
      <p:sp>
        <p:nvSpPr>
          <p:cNvPr id="49" name="11 Cheurón">
            <a:extLst>
              <a:ext uri="{FF2B5EF4-FFF2-40B4-BE49-F238E27FC236}">
                <a16:creationId xmlns:a16="http://schemas.microsoft.com/office/drawing/2014/main" id="{D2121297-E51B-4399-8F07-883520E6F03F}"/>
              </a:ext>
            </a:extLst>
          </p:cNvPr>
          <p:cNvSpPr/>
          <p:nvPr/>
        </p:nvSpPr>
        <p:spPr>
          <a:xfrm>
            <a:off x="4348712" y="1277700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Proceso)</a:t>
            </a:r>
          </a:p>
        </p:txBody>
      </p:sp>
      <p:sp>
        <p:nvSpPr>
          <p:cNvPr id="50" name="12 Cheurón">
            <a:extLst>
              <a:ext uri="{FF2B5EF4-FFF2-40B4-BE49-F238E27FC236}">
                <a16:creationId xmlns:a16="http://schemas.microsoft.com/office/drawing/2014/main" id="{42D04F8F-093C-4746-9839-1591CB7E2758}"/>
              </a:ext>
            </a:extLst>
          </p:cNvPr>
          <p:cNvSpPr/>
          <p:nvPr/>
        </p:nvSpPr>
        <p:spPr>
          <a:xfrm>
            <a:off x="6415397" y="1277622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Subproceso)</a:t>
            </a:r>
          </a:p>
        </p:txBody>
      </p:sp>
      <p:sp>
        <p:nvSpPr>
          <p:cNvPr id="51" name="14 CuadroTexto">
            <a:extLst>
              <a:ext uri="{FF2B5EF4-FFF2-40B4-BE49-F238E27FC236}">
                <a16:creationId xmlns:a16="http://schemas.microsoft.com/office/drawing/2014/main" id="{64EF63F0-478F-46E8-9E07-3A3B1EFF9003}"/>
              </a:ext>
            </a:extLst>
          </p:cNvPr>
          <p:cNvSpPr txBox="1"/>
          <p:nvPr/>
        </p:nvSpPr>
        <p:spPr>
          <a:xfrm>
            <a:off x="362427" y="3587837"/>
            <a:ext cx="14820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ño</a:t>
            </a:r>
          </a:p>
        </p:txBody>
      </p:sp>
      <p:sp>
        <p:nvSpPr>
          <p:cNvPr id="52" name="15 CuadroTexto">
            <a:extLst>
              <a:ext uri="{FF2B5EF4-FFF2-40B4-BE49-F238E27FC236}">
                <a16:creationId xmlns:a16="http://schemas.microsoft.com/office/drawing/2014/main" id="{873AEF9B-8C55-4B78-8D0F-A313E197D685}"/>
              </a:ext>
            </a:extLst>
          </p:cNvPr>
          <p:cNvSpPr txBox="1"/>
          <p:nvPr/>
        </p:nvSpPr>
        <p:spPr>
          <a:xfrm>
            <a:off x="362427" y="4328023"/>
            <a:ext cx="1482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bierno y Control</a:t>
            </a:r>
          </a:p>
        </p:txBody>
      </p:sp>
      <p:sp>
        <p:nvSpPr>
          <p:cNvPr id="53" name="16 CuadroTexto">
            <a:extLst>
              <a:ext uri="{FF2B5EF4-FFF2-40B4-BE49-F238E27FC236}">
                <a16:creationId xmlns:a16="http://schemas.microsoft.com/office/drawing/2014/main" id="{A27A6107-78A3-4260-801B-88F51CAA0D7B}"/>
              </a:ext>
            </a:extLst>
          </p:cNvPr>
          <p:cNvSpPr txBox="1"/>
          <p:nvPr/>
        </p:nvSpPr>
        <p:spPr>
          <a:xfrm>
            <a:off x="360839" y="5444053"/>
            <a:ext cx="1482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lento Humano</a:t>
            </a:r>
          </a:p>
        </p:txBody>
      </p:sp>
      <p:cxnSp>
        <p:nvCxnSpPr>
          <p:cNvPr id="54" name="18 Conector recto">
            <a:extLst>
              <a:ext uri="{FF2B5EF4-FFF2-40B4-BE49-F238E27FC236}">
                <a16:creationId xmlns:a16="http://schemas.microsoft.com/office/drawing/2014/main" id="{2DA48FF2-B61C-4676-98BF-53816E8FBADB}"/>
              </a:ext>
            </a:extLst>
          </p:cNvPr>
          <p:cNvCxnSpPr>
            <a:cxnSpLocks/>
          </p:cNvCxnSpPr>
          <p:nvPr/>
        </p:nvCxnSpPr>
        <p:spPr>
          <a:xfrm>
            <a:off x="362427" y="4061947"/>
            <a:ext cx="11245059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19 Conector recto">
            <a:extLst>
              <a:ext uri="{FF2B5EF4-FFF2-40B4-BE49-F238E27FC236}">
                <a16:creationId xmlns:a16="http://schemas.microsoft.com/office/drawing/2014/main" id="{4C77E6DC-3585-4FC1-BEC6-048A35EFAE70}"/>
              </a:ext>
            </a:extLst>
          </p:cNvPr>
          <p:cNvCxnSpPr>
            <a:cxnSpLocks/>
          </p:cNvCxnSpPr>
          <p:nvPr/>
        </p:nvCxnSpPr>
        <p:spPr>
          <a:xfrm>
            <a:off x="362427" y="5211539"/>
            <a:ext cx="11245059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21 Conector recto">
            <a:extLst>
              <a:ext uri="{FF2B5EF4-FFF2-40B4-BE49-F238E27FC236}">
                <a16:creationId xmlns:a16="http://schemas.microsoft.com/office/drawing/2014/main" id="{2F429F4E-6C16-4D84-A6CB-F85C75A6067E}"/>
              </a:ext>
            </a:extLst>
          </p:cNvPr>
          <p:cNvCxnSpPr>
            <a:cxnSpLocks/>
          </p:cNvCxnSpPr>
          <p:nvPr/>
        </p:nvCxnSpPr>
        <p:spPr>
          <a:xfrm>
            <a:off x="3902915" y="4061949"/>
            <a:ext cx="0" cy="2808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22 Conector recto">
            <a:extLst>
              <a:ext uri="{FF2B5EF4-FFF2-40B4-BE49-F238E27FC236}">
                <a16:creationId xmlns:a16="http://schemas.microsoft.com/office/drawing/2014/main" id="{2EC31B02-586F-446F-94DA-81550A2507ED}"/>
              </a:ext>
            </a:extLst>
          </p:cNvPr>
          <p:cNvCxnSpPr>
            <a:cxnSpLocks/>
          </p:cNvCxnSpPr>
          <p:nvPr/>
        </p:nvCxnSpPr>
        <p:spPr>
          <a:xfrm>
            <a:off x="6162725" y="3002663"/>
            <a:ext cx="0" cy="3888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2 Marcador de contenido">
            <a:extLst>
              <a:ext uri="{FF2B5EF4-FFF2-40B4-BE49-F238E27FC236}">
                <a16:creationId xmlns:a16="http://schemas.microsoft.com/office/drawing/2014/main" id="{C03389A6-F5F9-4B22-B110-694CB01D1687}"/>
              </a:ext>
            </a:extLst>
          </p:cNvPr>
          <p:cNvSpPr txBox="1">
            <a:spLocks/>
          </p:cNvSpPr>
          <p:nvPr/>
        </p:nvSpPr>
        <p:spPr>
          <a:xfrm>
            <a:off x="2317048" y="3184113"/>
            <a:ext cx="2328666" cy="784458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Objetivo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lcance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Normatividad y/o referentes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Manual de Macroproceso</a:t>
            </a:r>
          </a:p>
        </p:txBody>
      </p:sp>
      <p:sp>
        <p:nvSpPr>
          <p:cNvPr id="59" name="2 Marcador de contenido">
            <a:extLst>
              <a:ext uri="{FF2B5EF4-FFF2-40B4-BE49-F238E27FC236}">
                <a16:creationId xmlns:a16="http://schemas.microsoft.com/office/drawing/2014/main" id="{8FB11EB3-2921-4554-A0E5-048EF9AE7B51}"/>
              </a:ext>
            </a:extLst>
          </p:cNvPr>
          <p:cNvSpPr txBox="1">
            <a:spLocks/>
          </p:cNvSpPr>
          <p:nvPr/>
        </p:nvSpPr>
        <p:spPr>
          <a:xfrm>
            <a:off x="3719998" y="4059991"/>
            <a:ext cx="2108148" cy="1105208"/>
          </a:xfrm>
          <a:prstGeom prst="rect">
            <a:avLst/>
          </a:prstGeom>
        </p:spPr>
        <p:txBody>
          <a:bodyPr lIns="70566" rIns="70566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iesgos y controles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KPI´S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/>
              </a:rPr>
              <a:t>Instancias clave de toma de decisiones (Comités)</a:t>
            </a:r>
          </a:p>
        </p:txBody>
      </p:sp>
      <p:sp>
        <p:nvSpPr>
          <p:cNvPr id="91" name="2 Marcador de contenido">
            <a:extLst>
              <a:ext uri="{FF2B5EF4-FFF2-40B4-BE49-F238E27FC236}">
                <a16:creationId xmlns:a16="http://schemas.microsoft.com/office/drawing/2014/main" id="{041C35E3-7C7A-423A-BE0C-2FE9E8D4ADEB}"/>
              </a:ext>
            </a:extLst>
          </p:cNvPr>
          <p:cNvSpPr txBox="1">
            <a:spLocks/>
          </p:cNvSpPr>
          <p:nvPr/>
        </p:nvSpPr>
        <p:spPr>
          <a:xfrm>
            <a:off x="6057036" y="3182100"/>
            <a:ext cx="1975343" cy="680815"/>
          </a:xfrm>
          <a:prstGeom prst="rect">
            <a:avLst/>
          </a:prstGeom>
        </p:spPr>
        <p:txBody>
          <a:bodyPr lIns="70566" tIns="35283" rIns="70566" bIns="35283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Diagrama de flujo (Bizagi)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Manual subproceso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Interrelaciones claves</a:t>
            </a:r>
          </a:p>
        </p:txBody>
      </p:sp>
      <p:sp>
        <p:nvSpPr>
          <p:cNvPr id="92" name="16 CuadroTexto">
            <a:extLst>
              <a:ext uri="{FF2B5EF4-FFF2-40B4-BE49-F238E27FC236}">
                <a16:creationId xmlns:a16="http://schemas.microsoft.com/office/drawing/2014/main" id="{A2C1409D-8312-464B-9A9B-97F6D5A5915B}"/>
              </a:ext>
            </a:extLst>
          </p:cNvPr>
          <p:cNvSpPr txBox="1"/>
          <p:nvPr/>
        </p:nvSpPr>
        <p:spPr>
          <a:xfrm>
            <a:off x="346473" y="6357492"/>
            <a:ext cx="14820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</a:t>
            </a:r>
          </a:p>
        </p:txBody>
      </p:sp>
      <p:sp>
        <p:nvSpPr>
          <p:cNvPr id="97" name="2 Marcador de contenido">
            <a:extLst>
              <a:ext uri="{FF2B5EF4-FFF2-40B4-BE49-F238E27FC236}">
                <a16:creationId xmlns:a16="http://schemas.microsoft.com/office/drawing/2014/main" id="{203C448F-A951-4268-AFB9-D29BE3603725}"/>
              </a:ext>
            </a:extLst>
          </p:cNvPr>
          <p:cNvSpPr txBox="1">
            <a:spLocks/>
          </p:cNvSpPr>
          <p:nvPr/>
        </p:nvSpPr>
        <p:spPr>
          <a:xfrm>
            <a:off x="1677270" y="5248193"/>
            <a:ext cx="1873080" cy="509464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/>
              </a:rPr>
              <a:t>Manual de Roles y responsabilidades de VP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Mapa de Cargos</a:t>
            </a:r>
          </a:p>
        </p:txBody>
      </p:sp>
      <p:cxnSp>
        <p:nvCxnSpPr>
          <p:cNvPr id="98" name="18 Conector recto">
            <a:extLst>
              <a:ext uri="{FF2B5EF4-FFF2-40B4-BE49-F238E27FC236}">
                <a16:creationId xmlns:a16="http://schemas.microsoft.com/office/drawing/2014/main" id="{2381C50E-02BC-4F58-8D75-19140F9C9C66}"/>
              </a:ext>
            </a:extLst>
          </p:cNvPr>
          <p:cNvCxnSpPr>
            <a:cxnSpLocks/>
          </p:cNvCxnSpPr>
          <p:nvPr/>
        </p:nvCxnSpPr>
        <p:spPr>
          <a:xfrm>
            <a:off x="346473" y="6160270"/>
            <a:ext cx="11261013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2 Marcador de contenido">
            <a:extLst>
              <a:ext uri="{FF2B5EF4-FFF2-40B4-BE49-F238E27FC236}">
                <a16:creationId xmlns:a16="http://schemas.microsoft.com/office/drawing/2014/main" id="{4173B3D6-8300-44D3-A820-A6BF35CB1951}"/>
              </a:ext>
            </a:extLst>
          </p:cNvPr>
          <p:cNvSpPr txBox="1">
            <a:spLocks/>
          </p:cNvSpPr>
          <p:nvPr/>
        </p:nvSpPr>
        <p:spPr>
          <a:xfrm>
            <a:off x="6186316" y="6456273"/>
            <a:ext cx="2072783" cy="37425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Sistemas de información y herramientas utilizados</a:t>
            </a:r>
          </a:p>
        </p:txBody>
      </p:sp>
      <p:sp>
        <p:nvSpPr>
          <p:cNvPr id="100" name="14 CuadroTexto">
            <a:extLst>
              <a:ext uri="{FF2B5EF4-FFF2-40B4-BE49-F238E27FC236}">
                <a16:creationId xmlns:a16="http://schemas.microsoft.com/office/drawing/2014/main" id="{B006BFC4-89EF-4DE6-A011-1DA835B7D2F9}"/>
              </a:ext>
            </a:extLst>
          </p:cNvPr>
          <p:cNvSpPr txBox="1"/>
          <p:nvPr/>
        </p:nvSpPr>
        <p:spPr>
          <a:xfrm>
            <a:off x="251787" y="1582245"/>
            <a:ext cx="1482043" cy="331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568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ensión</a:t>
            </a:r>
          </a:p>
        </p:txBody>
      </p:sp>
      <p:sp>
        <p:nvSpPr>
          <p:cNvPr id="101" name="14 CuadroTexto">
            <a:extLst>
              <a:ext uri="{FF2B5EF4-FFF2-40B4-BE49-F238E27FC236}">
                <a16:creationId xmlns:a16="http://schemas.microsoft.com/office/drawing/2014/main" id="{805973EC-9B60-428B-8D15-0F53AE40DB4E}"/>
              </a:ext>
            </a:extLst>
          </p:cNvPr>
          <p:cNvSpPr txBox="1"/>
          <p:nvPr/>
        </p:nvSpPr>
        <p:spPr>
          <a:xfrm>
            <a:off x="959313" y="1118596"/>
            <a:ext cx="1522939" cy="574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568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de Proceso</a:t>
            </a:r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5B36BA74-D718-4B84-8D5D-61AD5502EB66}"/>
              </a:ext>
            </a:extLst>
          </p:cNvPr>
          <p:cNvCxnSpPr>
            <a:cxnSpLocks/>
          </p:cNvCxnSpPr>
          <p:nvPr/>
        </p:nvCxnSpPr>
        <p:spPr>
          <a:xfrm>
            <a:off x="392064" y="1310291"/>
            <a:ext cx="1399645" cy="53943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3" name="Conector recto 102">
            <a:extLst>
              <a:ext uri="{FF2B5EF4-FFF2-40B4-BE49-F238E27FC236}">
                <a16:creationId xmlns:a16="http://schemas.microsoft.com/office/drawing/2014/main" id="{E0237C54-5ED6-42B1-AE26-1F2CA52710C8}"/>
              </a:ext>
            </a:extLst>
          </p:cNvPr>
          <p:cNvCxnSpPr>
            <a:cxnSpLocks/>
          </p:cNvCxnSpPr>
          <p:nvPr/>
        </p:nvCxnSpPr>
        <p:spPr>
          <a:xfrm>
            <a:off x="1777388" y="1953559"/>
            <a:ext cx="0" cy="4824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4" name="Conector recto 103">
            <a:extLst>
              <a:ext uri="{FF2B5EF4-FFF2-40B4-BE49-F238E27FC236}">
                <a16:creationId xmlns:a16="http://schemas.microsoft.com/office/drawing/2014/main" id="{72602E84-B811-4783-A23E-4C69522530ED}"/>
              </a:ext>
            </a:extLst>
          </p:cNvPr>
          <p:cNvCxnSpPr>
            <a:cxnSpLocks/>
          </p:cNvCxnSpPr>
          <p:nvPr/>
        </p:nvCxnSpPr>
        <p:spPr>
          <a:xfrm>
            <a:off x="203400" y="1875939"/>
            <a:ext cx="159640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05" name="2 Marcador de contenido">
            <a:extLst>
              <a:ext uri="{FF2B5EF4-FFF2-40B4-BE49-F238E27FC236}">
                <a16:creationId xmlns:a16="http://schemas.microsoft.com/office/drawing/2014/main" id="{09CACBDF-8E06-460A-BE52-23AA77AC9025}"/>
              </a:ext>
            </a:extLst>
          </p:cNvPr>
          <p:cNvSpPr txBox="1">
            <a:spLocks/>
          </p:cNvSpPr>
          <p:nvPr/>
        </p:nvSpPr>
        <p:spPr>
          <a:xfrm>
            <a:off x="6127794" y="4048417"/>
            <a:ext cx="2257288" cy="46664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ACI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Identificación de decisiones críticas (modelo de gobierno) mapeadas en los subprocesos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06" name="12 Cheurón">
            <a:extLst>
              <a:ext uri="{FF2B5EF4-FFF2-40B4-BE49-F238E27FC236}">
                <a16:creationId xmlns:a16="http://schemas.microsoft.com/office/drawing/2014/main" id="{9D6AE471-2961-44FB-BD6E-B423637AE0DC}"/>
              </a:ext>
            </a:extLst>
          </p:cNvPr>
          <p:cNvSpPr/>
          <p:nvPr/>
        </p:nvSpPr>
        <p:spPr>
          <a:xfrm>
            <a:off x="8227447" y="1288684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Actividad)</a:t>
            </a:r>
          </a:p>
        </p:txBody>
      </p:sp>
      <p:sp>
        <p:nvSpPr>
          <p:cNvPr id="107" name="12 Cheurón">
            <a:extLst>
              <a:ext uri="{FF2B5EF4-FFF2-40B4-BE49-F238E27FC236}">
                <a16:creationId xmlns:a16="http://schemas.microsoft.com/office/drawing/2014/main" id="{CFC07269-C21A-4081-A320-A855BB007BE8}"/>
              </a:ext>
            </a:extLst>
          </p:cNvPr>
          <p:cNvSpPr/>
          <p:nvPr/>
        </p:nvSpPr>
        <p:spPr>
          <a:xfrm>
            <a:off x="9797232" y="1288684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Tarea)</a:t>
            </a:r>
          </a:p>
        </p:txBody>
      </p:sp>
      <p:cxnSp>
        <p:nvCxnSpPr>
          <p:cNvPr id="108" name="22 Conector recto">
            <a:extLst>
              <a:ext uri="{FF2B5EF4-FFF2-40B4-BE49-F238E27FC236}">
                <a16:creationId xmlns:a16="http://schemas.microsoft.com/office/drawing/2014/main" id="{DDF7CB1D-D19E-4D80-B853-91A7676959AD}"/>
              </a:ext>
            </a:extLst>
          </p:cNvPr>
          <p:cNvCxnSpPr>
            <a:cxnSpLocks/>
          </p:cNvCxnSpPr>
          <p:nvPr/>
        </p:nvCxnSpPr>
        <p:spPr>
          <a:xfrm>
            <a:off x="8271096" y="2977678"/>
            <a:ext cx="0" cy="3182592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2 Marcador de contenido">
            <a:extLst>
              <a:ext uri="{FF2B5EF4-FFF2-40B4-BE49-F238E27FC236}">
                <a16:creationId xmlns:a16="http://schemas.microsoft.com/office/drawing/2014/main" id="{84A7833D-47CD-4C98-9A53-E13C1D6CFA70}"/>
              </a:ext>
            </a:extLst>
          </p:cNvPr>
          <p:cNvSpPr txBox="1">
            <a:spLocks/>
          </p:cNvSpPr>
          <p:nvPr/>
        </p:nvSpPr>
        <p:spPr>
          <a:xfrm>
            <a:off x="8167116" y="3271845"/>
            <a:ext cx="3110484" cy="728209"/>
          </a:xfrm>
          <a:prstGeom prst="rect">
            <a:avLst/>
          </a:prstGeom>
        </p:spPr>
        <p:txBody>
          <a:bodyPr lIns="70566" tIns="35283" rIns="70566" bIns="35283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Identificación de Activos de conocimiento: Estándares, Procedimientos, Instructivos, formatos (Insumo para la Hoja de Ruta de activos de conocimiento)</a:t>
            </a:r>
          </a:p>
        </p:txBody>
      </p:sp>
      <p:sp>
        <p:nvSpPr>
          <p:cNvPr id="110" name="2 Marcador de contenido">
            <a:extLst>
              <a:ext uri="{FF2B5EF4-FFF2-40B4-BE49-F238E27FC236}">
                <a16:creationId xmlns:a16="http://schemas.microsoft.com/office/drawing/2014/main" id="{856AE0BC-9BA0-4461-894A-FA6A9E1C0F27}"/>
              </a:ext>
            </a:extLst>
          </p:cNvPr>
          <p:cNvSpPr txBox="1">
            <a:spLocks/>
          </p:cNvSpPr>
          <p:nvPr/>
        </p:nvSpPr>
        <p:spPr>
          <a:xfrm>
            <a:off x="6057036" y="5343753"/>
            <a:ext cx="1978283" cy="752187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lineación cargos Mapa de Cargos</a:t>
            </a:r>
          </a:p>
        </p:txBody>
      </p:sp>
      <p:cxnSp>
        <p:nvCxnSpPr>
          <p:cNvPr id="111" name="18 Conector recto">
            <a:extLst>
              <a:ext uri="{FF2B5EF4-FFF2-40B4-BE49-F238E27FC236}">
                <a16:creationId xmlns:a16="http://schemas.microsoft.com/office/drawing/2014/main" id="{04B3FA45-A2ED-4255-9D51-35B6821AC2A7}"/>
              </a:ext>
            </a:extLst>
          </p:cNvPr>
          <p:cNvCxnSpPr>
            <a:cxnSpLocks/>
          </p:cNvCxnSpPr>
          <p:nvPr/>
        </p:nvCxnSpPr>
        <p:spPr>
          <a:xfrm>
            <a:off x="362427" y="3161978"/>
            <a:ext cx="11186524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14 CuadroTexto">
            <a:extLst>
              <a:ext uri="{FF2B5EF4-FFF2-40B4-BE49-F238E27FC236}">
                <a16:creationId xmlns:a16="http://schemas.microsoft.com/office/drawing/2014/main" id="{2EF10060-250A-41CC-B2BB-0CB7F11425FA}"/>
              </a:ext>
            </a:extLst>
          </p:cNvPr>
          <p:cNvSpPr txBox="1"/>
          <p:nvPr/>
        </p:nvSpPr>
        <p:spPr>
          <a:xfrm>
            <a:off x="397625" y="2268790"/>
            <a:ext cx="14820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cripción</a:t>
            </a:r>
          </a:p>
        </p:txBody>
      </p:sp>
      <p:cxnSp>
        <p:nvCxnSpPr>
          <p:cNvPr id="113" name="21 Conector recto">
            <a:extLst>
              <a:ext uri="{FF2B5EF4-FFF2-40B4-BE49-F238E27FC236}">
                <a16:creationId xmlns:a16="http://schemas.microsoft.com/office/drawing/2014/main" id="{C9B6C461-FF61-4942-8246-0263EFD83D8B}"/>
              </a:ext>
            </a:extLst>
          </p:cNvPr>
          <p:cNvCxnSpPr>
            <a:cxnSpLocks/>
          </p:cNvCxnSpPr>
          <p:nvPr/>
        </p:nvCxnSpPr>
        <p:spPr>
          <a:xfrm>
            <a:off x="3903065" y="1875939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21 Conector recto">
            <a:extLst>
              <a:ext uri="{FF2B5EF4-FFF2-40B4-BE49-F238E27FC236}">
                <a16:creationId xmlns:a16="http://schemas.microsoft.com/office/drawing/2014/main" id="{934AEC2F-4BDF-4DAE-A0AB-6B3AFBC403B0}"/>
              </a:ext>
            </a:extLst>
          </p:cNvPr>
          <p:cNvCxnSpPr>
            <a:cxnSpLocks/>
          </p:cNvCxnSpPr>
          <p:nvPr/>
        </p:nvCxnSpPr>
        <p:spPr>
          <a:xfrm>
            <a:off x="6162558" y="1829557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21 Conector recto">
            <a:extLst>
              <a:ext uri="{FF2B5EF4-FFF2-40B4-BE49-F238E27FC236}">
                <a16:creationId xmlns:a16="http://schemas.microsoft.com/office/drawing/2014/main" id="{B2F9D849-23C5-491E-974F-D4E717C88678}"/>
              </a:ext>
            </a:extLst>
          </p:cNvPr>
          <p:cNvCxnSpPr>
            <a:cxnSpLocks/>
          </p:cNvCxnSpPr>
          <p:nvPr/>
        </p:nvCxnSpPr>
        <p:spPr>
          <a:xfrm>
            <a:off x="8269658" y="1869312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6" name="CuadroTexto 115">
            <a:extLst>
              <a:ext uri="{FF2B5EF4-FFF2-40B4-BE49-F238E27FC236}">
                <a16:creationId xmlns:a16="http://schemas.microsoft.com/office/drawing/2014/main" id="{65A0D094-CAE5-43B5-A9AF-FB1127558AF1}"/>
              </a:ext>
            </a:extLst>
          </p:cNvPr>
          <p:cNvSpPr txBox="1"/>
          <p:nvPr/>
        </p:nvSpPr>
        <p:spPr>
          <a:xfrm>
            <a:off x="1761292" y="1881208"/>
            <a:ext cx="2075794" cy="95756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 el máximo nivel de agregación de procesos y su interrelación permite desarrollar la misión de la compañía.</a:t>
            </a:r>
          </a:p>
        </p:txBody>
      </p:sp>
      <p:sp>
        <p:nvSpPr>
          <p:cNvPr id="117" name="CuadroTexto 116">
            <a:extLst>
              <a:ext uri="{FF2B5EF4-FFF2-40B4-BE49-F238E27FC236}">
                <a16:creationId xmlns:a16="http://schemas.microsoft.com/office/drawing/2014/main" id="{09F38C68-53E4-49B8-9C3A-6DCF2FF680E6}"/>
              </a:ext>
            </a:extLst>
          </p:cNvPr>
          <p:cNvSpPr txBox="1"/>
          <p:nvPr/>
        </p:nvSpPr>
        <p:spPr>
          <a:xfrm>
            <a:off x="4065093" y="1886339"/>
            <a:ext cx="2046183" cy="113453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undo nivel de agregación de la gestión organizacional, esta conformado por la agrupación lógica de varios subprocesos para alcanzar un objetivo</a:t>
            </a:r>
          </a:p>
        </p:txBody>
      </p:sp>
      <p:sp>
        <p:nvSpPr>
          <p:cNvPr id="118" name="CuadroTexto 117">
            <a:extLst>
              <a:ext uri="{FF2B5EF4-FFF2-40B4-BE49-F238E27FC236}">
                <a16:creationId xmlns:a16="http://schemas.microsoft.com/office/drawing/2014/main" id="{E0C28EA0-A184-4FC8-9D9F-873DE9149E3E}"/>
              </a:ext>
            </a:extLst>
          </p:cNvPr>
          <p:cNvSpPr txBox="1"/>
          <p:nvPr/>
        </p:nvSpPr>
        <p:spPr>
          <a:xfrm>
            <a:off x="6193990" y="1893814"/>
            <a:ext cx="1975343" cy="131150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 un conjunto de actividades que se interrelacionan entre si a través de una secuencia lógica para cumplir un propósito y agregar valor al cliente</a:t>
            </a:r>
          </a:p>
        </p:txBody>
      </p:sp>
      <p:sp>
        <p:nvSpPr>
          <p:cNvPr id="119" name="CuadroTexto 118">
            <a:extLst>
              <a:ext uri="{FF2B5EF4-FFF2-40B4-BE49-F238E27FC236}">
                <a16:creationId xmlns:a16="http://schemas.microsoft.com/office/drawing/2014/main" id="{BA1BBDC9-EB56-4E6F-9AF3-7C2EA49370D4}"/>
              </a:ext>
            </a:extLst>
          </p:cNvPr>
          <p:cNvSpPr txBox="1"/>
          <p:nvPr/>
        </p:nvSpPr>
        <p:spPr>
          <a:xfrm>
            <a:off x="8385082" y="1914054"/>
            <a:ext cx="3222404" cy="125764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pendiendo la complejidad de gestión, una actividad, que a su vez hace parte de un subproceso y puede describirse en un documento aparte como por ejemplo un procedimiento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a el Nivel 4 su </a:t>
            </a:r>
            <a:r>
              <a:rPr kumimoji="0" lang="es-E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allamiento</a:t>
            </a: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 descripción se puede recurrir a documentos como por ejemplo los instructivos</a:t>
            </a:r>
          </a:p>
        </p:txBody>
      </p:sp>
      <p:sp>
        <p:nvSpPr>
          <p:cNvPr id="120" name="2 Marcador de contenido">
            <a:extLst>
              <a:ext uri="{FF2B5EF4-FFF2-40B4-BE49-F238E27FC236}">
                <a16:creationId xmlns:a16="http://schemas.microsoft.com/office/drawing/2014/main" id="{7BEAFEB6-1151-4FB1-B1FB-AE5B6F09930A}"/>
              </a:ext>
            </a:extLst>
          </p:cNvPr>
          <p:cNvSpPr txBox="1">
            <a:spLocks/>
          </p:cNvSpPr>
          <p:nvPr/>
        </p:nvSpPr>
        <p:spPr>
          <a:xfrm>
            <a:off x="1902984" y="4159844"/>
            <a:ext cx="1520449" cy="46664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ol - Líder de Macroproceso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/>
              </a:rPr>
              <a:t>MAD y Modelo de relacionamiento</a:t>
            </a:r>
          </a:p>
        </p:txBody>
      </p:sp>
      <p:sp>
        <p:nvSpPr>
          <p:cNvPr id="60" name="2 Marcador de contenido">
            <a:extLst>
              <a:ext uri="{FF2B5EF4-FFF2-40B4-BE49-F238E27FC236}">
                <a16:creationId xmlns:a16="http://schemas.microsoft.com/office/drawing/2014/main" id="{2553038F-F472-4936-9152-0C6001D6F36B}"/>
              </a:ext>
            </a:extLst>
          </p:cNvPr>
          <p:cNvSpPr txBox="1">
            <a:spLocks/>
          </p:cNvSpPr>
          <p:nvPr/>
        </p:nvSpPr>
        <p:spPr>
          <a:xfrm>
            <a:off x="3883565" y="5237598"/>
            <a:ext cx="1873080" cy="509464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/>
              </a:rPr>
              <a:t>Manual de Roles y responsabilidades Gerencias / Jefaturas</a:t>
            </a:r>
          </a:p>
        </p:txBody>
      </p:sp>
      <p:cxnSp>
        <p:nvCxnSpPr>
          <p:cNvPr id="61" name="22 Conector recto">
            <a:extLst>
              <a:ext uri="{FF2B5EF4-FFF2-40B4-BE49-F238E27FC236}">
                <a16:creationId xmlns:a16="http://schemas.microsoft.com/office/drawing/2014/main" id="{7514CC13-059B-40AB-B890-CEA9CAAE97E0}"/>
              </a:ext>
            </a:extLst>
          </p:cNvPr>
          <p:cNvCxnSpPr>
            <a:cxnSpLocks/>
          </p:cNvCxnSpPr>
          <p:nvPr/>
        </p:nvCxnSpPr>
        <p:spPr>
          <a:xfrm>
            <a:off x="9856615" y="4059991"/>
            <a:ext cx="0" cy="2798009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2 Marcador de contenido">
            <a:extLst>
              <a:ext uri="{FF2B5EF4-FFF2-40B4-BE49-F238E27FC236}">
                <a16:creationId xmlns:a16="http://schemas.microsoft.com/office/drawing/2014/main" id="{7C945924-4333-4F1B-A0AC-849277F5F0CA}"/>
              </a:ext>
            </a:extLst>
          </p:cNvPr>
          <p:cNvSpPr txBox="1">
            <a:spLocks/>
          </p:cNvSpPr>
          <p:nvPr/>
        </p:nvSpPr>
        <p:spPr>
          <a:xfrm>
            <a:off x="3909841" y="6342621"/>
            <a:ext cx="2072783" cy="377781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Hoja de Ruta de Activos de conocimiento</a:t>
            </a:r>
          </a:p>
        </p:txBody>
      </p:sp>
      <p:cxnSp>
        <p:nvCxnSpPr>
          <p:cNvPr id="63" name="18 Conector recto">
            <a:extLst>
              <a:ext uri="{FF2B5EF4-FFF2-40B4-BE49-F238E27FC236}">
                <a16:creationId xmlns:a16="http://schemas.microsoft.com/office/drawing/2014/main" id="{26BC84EC-D07B-49EF-9E00-B4237C0D138F}"/>
              </a:ext>
            </a:extLst>
          </p:cNvPr>
          <p:cNvCxnSpPr>
            <a:cxnSpLocks/>
          </p:cNvCxnSpPr>
          <p:nvPr/>
        </p:nvCxnSpPr>
        <p:spPr>
          <a:xfrm>
            <a:off x="6193990" y="6462056"/>
            <a:ext cx="2075668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2 Marcador de contenido">
            <a:extLst>
              <a:ext uri="{FF2B5EF4-FFF2-40B4-BE49-F238E27FC236}">
                <a16:creationId xmlns:a16="http://schemas.microsoft.com/office/drawing/2014/main" id="{51EF21D9-C989-4930-BEA0-7EEA997A5C79}"/>
              </a:ext>
            </a:extLst>
          </p:cNvPr>
          <p:cNvSpPr txBox="1">
            <a:spLocks/>
          </p:cNvSpPr>
          <p:nvPr/>
        </p:nvSpPr>
        <p:spPr>
          <a:xfrm>
            <a:off x="7069353" y="6198652"/>
            <a:ext cx="2072783" cy="262727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MAITE</a:t>
            </a:r>
          </a:p>
        </p:txBody>
      </p:sp>
      <p:cxnSp>
        <p:nvCxnSpPr>
          <p:cNvPr id="65" name="22 Conector recto">
            <a:extLst>
              <a:ext uri="{FF2B5EF4-FFF2-40B4-BE49-F238E27FC236}">
                <a16:creationId xmlns:a16="http://schemas.microsoft.com/office/drawing/2014/main" id="{79BC3C1B-B9AB-44E9-9630-C9929152ECD4}"/>
              </a:ext>
            </a:extLst>
          </p:cNvPr>
          <p:cNvCxnSpPr>
            <a:cxnSpLocks/>
          </p:cNvCxnSpPr>
          <p:nvPr/>
        </p:nvCxnSpPr>
        <p:spPr>
          <a:xfrm>
            <a:off x="8252861" y="6504001"/>
            <a:ext cx="0" cy="390362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7455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abla 7">
            <a:extLst>
              <a:ext uri="{FF2B5EF4-FFF2-40B4-BE49-F238E27FC236}">
                <a16:creationId xmlns:a16="http://schemas.microsoft.com/office/drawing/2014/main" id="{DCA44B8C-50B5-485F-809C-4361E59B3802}"/>
              </a:ext>
            </a:extLst>
          </p:cNvPr>
          <p:cNvGraphicFramePr>
            <a:graphicFrameLocks noGrp="1"/>
          </p:cNvGraphicFramePr>
          <p:nvPr/>
        </p:nvGraphicFramePr>
        <p:xfrm>
          <a:off x="226053" y="1693120"/>
          <a:ext cx="11747170" cy="8749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1743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55427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874993">
                <a:tc>
                  <a:txBody>
                    <a:bodyPr/>
                    <a:lstStyle/>
                    <a:p>
                      <a:r>
                        <a:rPr lang="es-CO" sz="1300">
                          <a:solidFill>
                            <a:sysClr val="windowText" lastClr="000000"/>
                          </a:solidFill>
                        </a:rPr>
                        <a:t>Procesos </a:t>
                      </a:r>
                    </a:p>
                    <a:p>
                      <a:r>
                        <a:rPr lang="es-CO" sz="1300">
                          <a:solidFill>
                            <a:sysClr val="windowText" lastClr="000000"/>
                          </a:solidFill>
                        </a:rPr>
                        <a:t>Nivel 1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sz="1300" b="0">
                        <a:solidFill>
                          <a:schemeClr val="tx1"/>
                        </a:solidFill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A13A7E-FFDC-4688-8DB8-B00F2B91CA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01" y="1672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A13A7E-FFDC-4688-8DB8-B00F2B91CA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01" y="1672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438A85D-0D1B-4278-B1AF-FFB971E0ED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81" y="52"/>
            <a:ext cx="161971" cy="16197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041" b="1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8D15426-29DE-4884-815F-5CC281E0DDF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44374" y="14070"/>
            <a:ext cx="11575535" cy="31406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tabLst/>
            </a:pPr>
            <a:r>
              <a:rPr lang="es-CO" b="1" dirty="0"/>
              <a:t>Macroproceso Sostenibilidad </a:t>
            </a:r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C6F21275-9EE6-4A4B-A157-C50FC5B75F82}"/>
              </a:ext>
            </a:extLst>
          </p:cNvPr>
          <p:cNvGraphicFramePr>
            <a:graphicFrameLocks noGrp="1"/>
          </p:cNvGraphicFramePr>
          <p:nvPr/>
        </p:nvGraphicFramePr>
        <p:xfrm>
          <a:off x="226054" y="812678"/>
          <a:ext cx="11719364" cy="699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1743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27621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699720">
                <a:tc>
                  <a:txBody>
                    <a:bodyPr/>
                    <a:lstStyle/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Objetivo</a:t>
                      </a:r>
                    </a:p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Nivel 0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200" b="0" dirty="0">
                          <a:solidFill>
                            <a:schemeClr val="tx1"/>
                          </a:solidFill>
                        </a:rPr>
                        <a:t>Contribuir a la viabilidad y sostenibilidad del negocio, a partir de la transformación de los Riesgos en oportunidades para la conservación del capital natural, el desarrollo regional y la promoción de la cultura de la legalidad en las áreas donde operamos, en un marco de gestión preventiva, autocontrol y comportamiento ético.</a:t>
                      </a:r>
                      <a:endParaRPr lang="es-CO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19" name="Tabla 7">
            <a:extLst>
              <a:ext uri="{FF2B5EF4-FFF2-40B4-BE49-F238E27FC236}">
                <a16:creationId xmlns:a16="http://schemas.microsoft.com/office/drawing/2014/main" id="{CEA21B80-4DCD-4314-8EF4-BD3D1CAFE2A2}"/>
              </a:ext>
            </a:extLst>
          </p:cNvPr>
          <p:cNvGraphicFramePr>
            <a:graphicFrameLocks noGrp="1"/>
          </p:cNvGraphicFramePr>
          <p:nvPr/>
        </p:nvGraphicFramePr>
        <p:xfrm>
          <a:off x="226054" y="405419"/>
          <a:ext cx="11714421" cy="378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1743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22678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378366">
                <a:tc>
                  <a:txBody>
                    <a:bodyPr/>
                    <a:lstStyle/>
                    <a:p>
                      <a:r>
                        <a:rPr lang="es-CO" sz="1200">
                          <a:solidFill>
                            <a:schemeClr val="tx1"/>
                          </a:solidFill>
                        </a:rPr>
                        <a:t>Nivel 0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600" b="1">
                          <a:solidFill>
                            <a:schemeClr val="tx1"/>
                          </a:solidFill>
                        </a:rPr>
                        <a:t>Sostenibilidad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pSp>
        <p:nvGrpSpPr>
          <p:cNvPr id="20" name="Group 152">
            <a:extLst>
              <a:ext uri="{FF2B5EF4-FFF2-40B4-BE49-F238E27FC236}">
                <a16:creationId xmlns:a16="http://schemas.microsoft.com/office/drawing/2014/main" id="{AF6E4D1C-F5C7-4AF9-B779-0521711D9E90}"/>
              </a:ext>
            </a:extLst>
          </p:cNvPr>
          <p:cNvGrpSpPr/>
          <p:nvPr/>
        </p:nvGrpSpPr>
        <p:grpSpPr>
          <a:xfrm>
            <a:off x="1377538" y="1765197"/>
            <a:ext cx="2571148" cy="731963"/>
            <a:chOff x="0" y="19050"/>
            <a:chExt cx="1734551" cy="1127639"/>
          </a:xfrm>
          <a:solidFill>
            <a:schemeClr val="tx2"/>
          </a:solidFill>
        </p:grpSpPr>
        <p:sp>
          <p:nvSpPr>
            <p:cNvPr id="30" name="Freeform 153">
              <a:extLst>
                <a:ext uri="{FF2B5EF4-FFF2-40B4-BE49-F238E27FC236}">
                  <a16:creationId xmlns:a16="http://schemas.microsoft.com/office/drawing/2014/main" id="{F463DD21-BEDC-4535-A01C-5D48EBE9BFC8}"/>
                </a:ext>
              </a:extLst>
            </p:cNvPr>
            <p:cNvSpPr/>
            <p:nvPr/>
          </p:nvSpPr>
          <p:spPr bwMode="auto">
            <a:xfrm>
              <a:off x="0" y="19050"/>
              <a:ext cx="1734551" cy="112763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614796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14796" y="0"/>
                  </a:lnTo>
                  <a:lnTo>
                    <a:pt x="1828800" y="457200"/>
                  </a:lnTo>
                  <a:lnTo>
                    <a:pt x="1614796" y="914402"/>
                  </a:lnTo>
                  <a:lnTo>
                    <a:pt x="0" y="914400"/>
                  </a:lnTo>
                  <a:lnTo>
                    <a:pt x="214004" y="457202"/>
                  </a:lnTo>
                  <a:close/>
                </a:path>
              </a:pathLst>
            </a:custGeom>
            <a:grpFill/>
            <a:ln w="19050" algn="ctr">
              <a:solidFill>
                <a:sysClr val="window" lastClr="FFFFFF"/>
              </a:solidFill>
              <a:miter lim="800000"/>
              <a:headEnd/>
              <a:tailEnd/>
            </a:ln>
            <a:effectLst>
              <a:outerShdw dist="38100" dir="2700000" algn="ctr" rotWithShape="0">
                <a:sysClr val="windowText" lastClr="000000">
                  <a:alpha val="5000"/>
                </a:sysClr>
              </a:outerShdw>
            </a:effectLst>
          </p:spPr>
          <p:txBody>
            <a:bodyPr vert="horz" wrap="square" lIns="93295" tIns="46649" rIns="93295" bIns="46649" numCol="1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9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867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1" name="TextBox 4">
              <a:extLst>
                <a:ext uri="{FF2B5EF4-FFF2-40B4-BE49-F238E27FC236}">
                  <a16:creationId xmlns:a16="http://schemas.microsoft.com/office/drawing/2014/main" id="{976D9AEB-A4D8-4AEC-8EE4-E445C18A5C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3775" y="311449"/>
              <a:ext cx="1277801" cy="54284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9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122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Calibri" panose="020F0502020204030204" pitchFamily="34" charset="0"/>
                  <a:sym typeface="+mn-lt"/>
                </a:rPr>
                <a:t>Gestion de riesgos, control y cumplimiento</a:t>
              </a:r>
            </a:p>
          </p:txBody>
        </p:sp>
      </p:grpSp>
      <p:graphicFrame>
        <p:nvGraphicFramePr>
          <p:cNvPr id="33" name="Tabla 7">
            <a:extLst>
              <a:ext uri="{FF2B5EF4-FFF2-40B4-BE49-F238E27FC236}">
                <a16:creationId xmlns:a16="http://schemas.microsoft.com/office/drawing/2014/main" id="{9A365877-2D7F-454C-AB52-29BB309627C8}"/>
              </a:ext>
            </a:extLst>
          </p:cNvPr>
          <p:cNvGraphicFramePr>
            <a:graphicFrameLocks noGrp="1"/>
          </p:cNvGraphicFramePr>
          <p:nvPr/>
        </p:nvGraphicFramePr>
        <p:xfrm>
          <a:off x="226054" y="2645515"/>
          <a:ext cx="11753819" cy="15997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683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2690784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  <a:gridCol w="2690784">
                  <a:extLst>
                    <a:ext uri="{9D8B030D-6E8A-4147-A177-3AD203B41FA5}">
                      <a16:colId xmlns:a16="http://schemas.microsoft.com/office/drawing/2014/main" val="3757876569"/>
                    </a:ext>
                  </a:extLst>
                </a:gridCol>
                <a:gridCol w="2690784">
                  <a:extLst>
                    <a:ext uri="{9D8B030D-6E8A-4147-A177-3AD203B41FA5}">
                      <a16:colId xmlns:a16="http://schemas.microsoft.com/office/drawing/2014/main" val="529226714"/>
                    </a:ext>
                  </a:extLst>
                </a:gridCol>
                <a:gridCol w="2690784">
                  <a:extLst>
                    <a:ext uri="{9D8B030D-6E8A-4147-A177-3AD203B41FA5}">
                      <a16:colId xmlns:a16="http://schemas.microsoft.com/office/drawing/2014/main" val="159404353"/>
                    </a:ext>
                  </a:extLst>
                </a:gridCol>
              </a:tblGrid>
              <a:tr h="1599727">
                <a:tc>
                  <a:txBody>
                    <a:bodyPr/>
                    <a:lstStyle/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Objetivos procesos </a:t>
                      </a:r>
                    </a:p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Nivel 1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100" b="0" i="0" u="none">
                          <a:solidFill>
                            <a:schemeClr val="tx1"/>
                          </a:solidFill>
                        </a:rPr>
                        <a:t>Gestionar los riesgos que puedan impactar en la consecución de los objetivos  estratégicos, tácticos y operativos, y promover en los funcionarios y contratistas un comportamiento ético, integral y de cumplimiento.</a:t>
                      </a:r>
                      <a:endParaRPr lang="es-CO" sz="1100" b="0" i="0" u="none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b="0">
                          <a:solidFill>
                            <a:schemeClr val="tx1"/>
                          </a:solidFill>
                        </a:rPr>
                        <a:t>Obtener la viabilidad del negocio mediante la habilitación de tierras para el desarrollo de operaciones y proyectos.</a:t>
                      </a:r>
                      <a:endParaRPr lang="es-CO" sz="1100" b="0">
                        <a:solidFill>
                          <a:schemeClr val="tx1"/>
                        </a:solidFill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b="0">
                          <a:solidFill>
                            <a:schemeClr val="tx1"/>
                          </a:solidFill>
                        </a:rPr>
                        <a:t>Generar condiciones favorables para el desarrollo de operaciones y proyectos, contribuyendo al desarrollo socioeconómico regional, la protección de las personas, el medio ambiente y la infraestructura de transporte, en un marco de legalidad.</a:t>
                      </a:r>
                      <a:endParaRPr lang="es-CO" sz="1100" b="0">
                        <a:solidFill>
                          <a:schemeClr val="tx1"/>
                        </a:solidFill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b="0">
                          <a:solidFill>
                            <a:schemeClr val="tx1"/>
                          </a:solidFill>
                        </a:rPr>
                        <a:t>Desarrollar capacidades del negocio y grupos de interés para el conocimiento y reducción del riesgo, así como para incrementar su competencias para la  prevención y respuesta ante la materialización de un evento.</a:t>
                      </a:r>
                    </a:p>
                  </a:txBody>
                  <a:tcPr marL="93295" marR="93295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34" name="Tabla 7">
            <a:extLst>
              <a:ext uri="{FF2B5EF4-FFF2-40B4-BE49-F238E27FC236}">
                <a16:creationId xmlns:a16="http://schemas.microsoft.com/office/drawing/2014/main" id="{55D728B3-5037-47B4-AC7A-DBD73CB87333}"/>
              </a:ext>
            </a:extLst>
          </p:cNvPr>
          <p:cNvGraphicFramePr>
            <a:graphicFrameLocks noGrp="1"/>
          </p:cNvGraphicFramePr>
          <p:nvPr/>
        </p:nvGraphicFramePr>
        <p:xfrm>
          <a:off x="226054" y="4333367"/>
          <a:ext cx="11739893" cy="24402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2749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2686786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  <a:gridCol w="2686786">
                  <a:extLst>
                    <a:ext uri="{9D8B030D-6E8A-4147-A177-3AD203B41FA5}">
                      <a16:colId xmlns:a16="http://schemas.microsoft.com/office/drawing/2014/main" val="3757876569"/>
                    </a:ext>
                  </a:extLst>
                </a:gridCol>
                <a:gridCol w="2686786">
                  <a:extLst>
                    <a:ext uri="{9D8B030D-6E8A-4147-A177-3AD203B41FA5}">
                      <a16:colId xmlns:a16="http://schemas.microsoft.com/office/drawing/2014/main" val="529226714"/>
                    </a:ext>
                  </a:extLst>
                </a:gridCol>
                <a:gridCol w="2686786">
                  <a:extLst>
                    <a:ext uri="{9D8B030D-6E8A-4147-A177-3AD203B41FA5}">
                      <a16:colId xmlns:a16="http://schemas.microsoft.com/office/drawing/2014/main" val="159404353"/>
                    </a:ext>
                  </a:extLst>
                </a:gridCol>
              </a:tblGrid>
              <a:tr h="1974793">
                <a:tc>
                  <a:txBody>
                    <a:bodyPr/>
                    <a:lstStyle/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Procesos </a:t>
                      </a:r>
                    </a:p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Nivel 2</a:t>
                      </a:r>
                    </a:p>
                  </a:txBody>
                  <a:tcPr marL="93295" marR="93295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buFont typeface="+mj-lt"/>
                        <a:buAutoNum type="arabicPeriod"/>
                      </a:pPr>
                      <a:endParaRPr lang="es-ES" sz="1100" b="0" dirty="0">
                        <a:solidFill>
                          <a:schemeClr val="tx1"/>
                        </a:solidFill>
                      </a:endParaRP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s-CO" sz="1100" b="0" i="0" u="none" dirty="0">
                          <a:solidFill>
                            <a:schemeClr val="tx1"/>
                          </a:solidFill>
                        </a:rPr>
                        <a:t>Prevención y autocontrol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s-CO" sz="1100" b="0" i="0" u="none" dirty="0">
                          <a:solidFill>
                            <a:schemeClr val="tx1"/>
                          </a:solidFill>
                        </a:rPr>
                        <a:t>Gestión Integral del riesgo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s-CO" sz="1100" b="0" i="0" u="none" dirty="0">
                          <a:solidFill>
                            <a:schemeClr val="tx1"/>
                          </a:solidFill>
                        </a:rPr>
                        <a:t>Gestión de alertas y denuncias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s-CO" sz="1100" b="0" i="0" u="none" dirty="0">
                          <a:solidFill>
                            <a:schemeClr val="tx1"/>
                          </a:solidFill>
                        </a:rPr>
                        <a:t>Monitoreo y seguimiento y atención entes de control.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endParaRPr lang="es-CO" sz="1100" b="0" i="0" u="none" dirty="0">
                        <a:solidFill>
                          <a:schemeClr val="tx1"/>
                        </a:solidFill>
                      </a:endParaRP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endParaRPr lang="es-CO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Planeación de la gestión inmobiliaria 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Adquisición de derechos inmobiliarios 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Administración de derechos inmobiliarios 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Disposición de los derechos inmobiliarios 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Gestion de Invasiones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endParaRPr lang="es-CO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5" marR="93295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Gestionar direccionamiento estratégico del entorno para el negocio del transporte 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Gestionar el entorno y la seguridad para la entrada a territorios y viabilizar operaciones del negocio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Gestionar el entorno y la seguridad para la permanencia en territorios y viabilizar las operaciones del negocio 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Gestionar salida y cierre de operaciones en territorio 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Gestionar y realizar inversión social </a:t>
                      </a:r>
                    </a:p>
                  </a:txBody>
                  <a:tcPr marL="93295" marR="93295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Planeación, definición de estrategias y preparación para el manejo de la crisis y continuidad del negocio (Dentro de las estrategias se consideran de prevención, manejo de impacto y restablecimiento)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Planeación de la preparación para la respuesta a emergencias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Ejecución de planes de acción PRE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Ejecución de la respuesta a emergencias </a:t>
                      </a:r>
                    </a:p>
                    <a:p>
                      <a:pPr marL="177800" indent="-177800">
                        <a:buFont typeface="+mj-lt"/>
                        <a:buAutoNum type="arabicPeriod"/>
                      </a:pPr>
                      <a:r>
                        <a:rPr lang="es-ES" sz="1100" b="0" dirty="0">
                          <a:solidFill>
                            <a:schemeClr val="tx1"/>
                          </a:solidFill>
                        </a:rPr>
                        <a:t>Evaluación y mejora gestión de preparación y respuesta a emergencias </a:t>
                      </a:r>
                    </a:p>
                  </a:txBody>
                  <a:tcPr marL="93295" marR="93295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pSp>
        <p:nvGrpSpPr>
          <p:cNvPr id="42" name="Group 152">
            <a:extLst>
              <a:ext uri="{FF2B5EF4-FFF2-40B4-BE49-F238E27FC236}">
                <a16:creationId xmlns:a16="http://schemas.microsoft.com/office/drawing/2014/main" id="{3D078EF1-D2F2-4607-BBF1-EDDD7517C72C}"/>
              </a:ext>
            </a:extLst>
          </p:cNvPr>
          <p:cNvGrpSpPr/>
          <p:nvPr/>
        </p:nvGrpSpPr>
        <p:grpSpPr>
          <a:xfrm>
            <a:off x="4063823" y="1765197"/>
            <a:ext cx="2571148" cy="731963"/>
            <a:chOff x="0" y="19050"/>
            <a:chExt cx="1734551" cy="1127639"/>
          </a:xfrm>
          <a:solidFill>
            <a:schemeClr val="tx2"/>
          </a:solidFill>
        </p:grpSpPr>
        <p:sp>
          <p:nvSpPr>
            <p:cNvPr id="43" name="Freeform 153">
              <a:extLst>
                <a:ext uri="{FF2B5EF4-FFF2-40B4-BE49-F238E27FC236}">
                  <a16:creationId xmlns:a16="http://schemas.microsoft.com/office/drawing/2014/main" id="{97DBE2F8-DF8B-4270-B42E-856490270F86}"/>
                </a:ext>
              </a:extLst>
            </p:cNvPr>
            <p:cNvSpPr/>
            <p:nvPr/>
          </p:nvSpPr>
          <p:spPr bwMode="auto">
            <a:xfrm>
              <a:off x="0" y="19050"/>
              <a:ext cx="1734551" cy="112763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614796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14796" y="0"/>
                  </a:lnTo>
                  <a:lnTo>
                    <a:pt x="1828800" y="457200"/>
                  </a:lnTo>
                  <a:lnTo>
                    <a:pt x="1614796" y="914402"/>
                  </a:lnTo>
                  <a:lnTo>
                    <a:pt x="0" y="914400"/>
                  </a:lnTo>
                  <a:lnTo>
                    <a:pt x="214004" y="457202"/>
                  </a:lnTo>
                  <a:close/>
                </a:path>
              </a:pathLst>
            </a:custGeom>
            <a:grpFill/>
            <a:ln w="19050" algn="ctr">
              <a:solidFill>
                <a:sysClr val="window" lastClr="FFFFFF"/>
              </a:solidFill>
              <a:miter lim="800000"/>
              <a:headEnd/>
              <a:tailEnd/>
            </a:ln>
            <a:effectLst>
              <a:outerShdw dist="38100" dir="2700000" algn="ctr" rotWithShape="0">
                <a:sysClr val="windowText" lastClr="000000">
                  <a:alpha val="5000"/>
                </a:sysClr>
              </a:outerShdw>
            </a:effectLst>
          </p:spPr>
          <p:txBody>
            <a:bodyPr vert="horz" wrap="square" lIns="93295" tIns="46649" rIns="93295" bIns="46649" numCol="1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9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867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4" name="TextBox 4">
              <a:extLst>
                <a:ext uri="{FF2B5EF4-FFF2-40B4-BE49-F238E27FC236}">
                  <a16:creationId xmlns:a16="http://schemas.microsoft.com/office/drawing/2014/main" id="{A3E2F4E8-F384-4062-A427-1CB9FD957B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3775" y="447158"/>
              <a:ext cx="1277801" cy="27142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9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122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Calibri" panose="020F0502020204030204" pitchFamily="34" charset="0"/>
                  <a:sym typeface="+mn-lt"/>
                </a:rPr>
                <a:t>Gestión de tierras</a:t>
              </a:r>
            </a:p>
          </p:txBody>
        </p:sp>
      </p:grpSp>
      <p:grpSp>
        <p:nvGrpSpPr>
          <p:cNvPr id="45" name="Group 152">
            <a:extLst>
              <a:ext uri="{FF2B5EF4-FFF2-40B4-BE49-F238E27FC236}">
                <a16:creationId xmlns:a16="http://schemas.microsoft.com/office/drawing/2014/main" id="{A66F2861-71FA-4BA7-9288-1EDFE4103903}"/>
              </a:ext>
            </a:extLst>
          </p:cNvPr>
          <p:cNvGrpSpPr/>
          <p:nvPr/>
        </p:nvGrpSpPr>
        <p:grpSpPr>
          <a:xfrm>
            <a:off x="6710272" y="1771397"/>
            <a:ext cx="2571148" cy="731963"/>
            <a:chOff x="0" y="19050"/>
            <a:chExt cx="1734551" cy="1127639"/>
          </a:xfrm>
          <a:solidFill>
            <a:schemeClr val="tx2"/>
          </a:solidFill>
        </p:grpSpPr>
        <p:sp>
          <p:nvSpPr>
            <p:cNvPr id="46" name="Freeform 153">
              <a:extLst>
                <a:ext uri="{FF2B5EF4-FFF2-40B4-BE49-F238E27FC236}">
                  <a16:creationId xmlns:a16="http://schemas.microsoft.com/office/drawing/2014/main" id="{54F1F793-2D4F-40F5-A446-DE0B0A7F1B1B}"/>
                </a:ext>
              </a:extLst>
            </p:cNvPr>
            <p:cNvSpPr/>
            <p:nvPr/>
          </p:nvSpPr>
          <p:spPr bwMode="auto">
            <a:xfrm>
              <a:off x="0" y="19050"/>
              <a:ext cx="1734551" cy="112763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614796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14796" y="0"/>
                  </a:lnTo>
                  <a:lnTo>
                    <a:pt x="1828800" y="457200"/>
                  </a:lnTo>
                  <a:lnTo>
                    <a:pt x="1614796" y="914402"/>
                  </a:lnTo>
                  <a:lnTo>
                    <a:pt x="0" y="914400"/>
                  </a:lnTo>
                  <a:lnTo>
                    <a:pt x="214004" y="457202"/>
                  </a:lnTo>
                  <a:close/>
                </a:path>
              </a:pathLst>
            </a:custGeom>
            <a:grpFill/>
            <a:ln w="19050" algn="ctr">
              <a:solidFill>
                <a:sysClr val="window" lastClr="FFFFFF"/>
              </a:solidFill>
              <a:miter lim="800000"/>
              <a:headEnd/>
              <a:tailEnd/>
            </a:ln>
            <a:effectLst>
              <a:outerShdw dist="38100" dir="2700000" algn="ctr" rotWithShape="0">
                <a:sysClr val="windowText" lastClr="000000">
                  <a:alpha val="5000"/>
                </a:sysClr>
              </a:outerShdw>
            </a:effectLst>
          </p:spPr>
          <p:txBody>
            <a:bodyPr vert="horz" wrap="square" lIns="93295" tIns="46649" rIns="93295" bIns="46649" numCol="1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9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867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7" name="TextBox 4">
              <a:extLst>
                <a:ext uri="{FF2B5EF4-FFF2-40B4-BE49-F238E27FC236}">
                  <a16:creationId xmlns:a16="http://schemas.microsoft.com/office/drawing/2014/main" id="{9AFFEE24-24A3-4CBF-92AC-962E9F478D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3775" y="311449"/>
              <a:ext cx="1277801" cy="54284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9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122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Calibri" panose="020F0502020204030204" pitchFamily="34" charset="0"/>
                  <a:sym typeface="+mn-lt"/>
                </a:rPr>
                <a:t>Gestión de entorno y seguridad física</a:t>
              </a:r>
            </a:p>
          </p:txBody>
        </p:sp>
      </p:grpSp>
      <p:grpSp>
        <p:nvGrpSpPr>
          <p:cNvPr id="49" name="Group 152">
            <a:extLst>
              <a:ext uri="{FF2B5EF4-FFF2-40B4-BE49-F238E27FC236}">
                <a16:creationId xmlns:a16="http://schemas.microsoft.com/office/drawing/2014/main" id="{E25DBFF1-229B-4045-BB74-3B74B3E64F94}"/>
              </a:ext>
            </a:extLst>
          </p:cNvPr>
          <p:cNvGrpSpPr/>
          <p:nvPr/>
        </p:nvGrpSpPr>
        <p:grpSpPr>
          <a:xfrm>
            <a:off x="9338823" y="1771397"/>
            <a:ext cx="2571148" cy="731963"/>
            <a:chOff x="0" y="19050"/>
            <a:chExt cx="1734551" cy="1127639"/>
          </a:xfrm>
          <a:solidFill>
            <a:schemeClr val="tx2"/>
          </a:solidFill>
        </p:grpSpPr>
        <p:sp>
          <p:nvSpPr>
            <p:cNvPr id="50" name="Freeform 153">
              <a:extLst>
                <a:ext uri="{FF2B5EF4-FFF2-40B4-BE49-F238E27FC236}">
                  <a16:creationId xmlns:a16="http://schemas.microsoft.com/office/drawing/2014/main" id="{F45BD9B0-00E8-425F-8545-9799E54841AA}"/>
                </a:ext>
              </a:extLst>
            </p:cNvPr>
            <p:cNvSpPr/>
            <p:nvPr/>
          </p:nvSpPr>
          <p:spPr bwMode="auto">
            <a:xfrm>
              <a:off x="0" y="19050"/>
              <a:ext cx="1734551" cy="1127639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126026 w 1828800"/>
                <a:gd name="connsiteY5" fmla="*/ 457202 h 914402"/>
                <a:gd name="connsiteX0" fmla="*/ 0 w 1828800"/>
                <a:gd name="connsiteY0" fmla="*/ 0 h 914402"/>
                <a:gd name="connsiteX1" fmla="*/ 1702774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702774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  <a:gd name="connsiteX0" fmla="*/ 0 w 1828800"/>
                <a:gd name="connsiteY0" fmla="*/ 0 h 914402"/>
                <a:gd name="connsiteX1" fmla="*/ 1614796 w 1828800"/>
                <a:gd name="connsiteY1" fmla="*/ 0 h 914402"/>
                <a:gd name="connsiteX2" fmla="*/ 1828800 w 1828800"/>
                <a:gd name="connsiteY2" fmla="*/ 457200 h 914402"/>
                <a:gd name="connsiteX3" fmla="*/ 1614796 w 1828800"/>
                <a:gd name="connsiteY3" fmla="*/ 914402 h 914402"/>
                <a:gd name="connsiteX4" fmla="*/ 0 w 1828800"/>
                <a:gd name="connsiteY4" fmla="*/ 914400 h 914402"/>
                <a:gd name="connsiteX5" fmla="*/ 21400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14796" y="0"/>
                  </a:lnTo>
                  <a:lnTo>
                    <a:pt x="1828800" y="457200"/>
                  </a:lnTo>
                  <a:lnTo>
                    <a:pt x="1614796" y="914402"/>
                  </a:lnTo>
                  <a:lnTo>
                    <a:pt x="0" y="914400"/>
                  </a:lnTo>
                  <a:lnTo>
                    <a:pt x="214004" y="457202"/>
                  </a:lnTo>
                  <a:close/>
                </a:path>
              </a:pathLst>
            </a:custGeom>
            <a:grpFill/>
            <a:ln w="19050" algn="ctr">
              <a:solidFill>
                <a:sysClr val="window" lastClr="FFFFFF"/>
              </a:solidFill>
              <a:miter lim="800000"/>
              <a:headEnd/>
              <a:tailEnd/>
            </a:ln>
            <a:effectLst>
              <a:outerShdw dist="38100" dir="2700000" algn="ctr" rotWithShape="0">
                <a:sysClr val="windowText" lastClr="000000">
                  <a:alpha val="5000"/>
                </a:sysClr>
              </a:outerShdw>
            </a:effectLst>
          </p:spPr>
          <p:txBody>
            <a:bodyPr vert="horz" wrap="square" lIns="93295" tIns="46649" rIns="93295" bIns="46649" numCol="1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329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867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51" name="TextBox 4">
              <a:extLst>
                <a:ext uri="{FF2B5EF4-FFF2-40B4-BE49-F238E27FC236}">
                  <a16:creationId xmlns:a16="http://schemas.microsoft.com/office/drawing/2014/main" id="{F57442A3-2F29-4B3B-A4CD-FA111300C3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3775" y="311449"/>
              <a:ext cx="1277801" cy="54284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9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122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Verdana" panose="020B0604030504040204" pitchFamily="34" charset="0"/>
                  <a:cs typeface="Calibri" panose="020F0502020204030204" pitchFamily="34" charset="0"/>
                  <a:sym typeface="+mn-lt"/>
                </a:rPr>
                <a:t>Gestión de crisis y continuidad del negoci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2953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41&quot; g=&quot;AA&quot; b=&quot;3C&quot;/&gt;&lt;m_nBrightness endver=&quot;26206&quot; val=&quot;0&quot;/&gt;&lt;/elem&gt;&lt;elem m_fUsage=&quot;9.00000000000000022204E-01&quot;&gt;&lt;m_msothmcolidx val=&quot;0&quot;/&gt;&lt;m_rgb r=&quot;92&quot; g=&quot;D0&quot; b=&quot;5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1qqlDagXYkM0VEjZi5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jT97t1KqFJ2OrYq2T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1qqlDagXYkM0VEjZi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jT97t1KqFJ2OrYq2T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hq5rgP9gkyHr5oF7W7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hq5rgP9gkyHr5oF7W7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RfLmBI1wG_Qd_hZ4M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RfLmBI1wG_Qd_hZ4M9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RfLmBI1wG_Qd_hZ4M9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heme/theme1.xml><?xml version="1.0" encoding="utf-8"?>
<a:theme xmlns:a="http://schemas.openxmlformats.org/drawingml/2006/main" name="Firm Format - Spanish">
  <a:themeElements>
    <a:clrScheme name="Custom 26">
      <a:dk1>
        <a:srgbClr val="000000"/>
      </a:dk1>
      <a:lt1>
        <a:srgbClr val="FFFFFF"/>
      </a:lt1>
      <a:dk2>
        <a:srgbClr val="234F67"/>
      </a:dk2>
      <a:lt2>
        <a:srgbClr val="FFFFFF"/>
      </a:lt2>
      <a:accent1>
        <a:srgbClr val="DCEBF4"/>
      </a:accent1>
      <a:accent2>
        <a:srgbClr val="A2CAE2"/>
      </a:accent2>
      <a:accent3>
        <a:srgbClr val="50A2A0"/>
      </a:accent3>
      <a:accent4>
        <a:srgbClr val="234F67"/>
      </a:accent4>
      <a:accent5>
        <a:srgbClr val="FF6600"/>
      </a:accent5>
      <a:accent6>
        <a:srgbClr val="808080"/>
      </a:accent6>
      <a:hlink>
        <a:srgbClr val="50A2A0"/>
      </a:hlink>
      <a:folHlink>
        <a:srgbClr val="234F6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Spanish" id="{8F8C8658-0900-4511-92F4-4F9D7035C792}" vid="{72D81AE0-FDC7-462D-BB9E-9C93A584C623}"/>
    </a:ext>
  </a:extLst>
</a:theme>
</file>

<file path=ppt/theme/theme2.xml><?xml version="1.0" encoding="utf-8"?>
<a:theme xmlns:a="http://schemas.openxmlformats.org/drawingml/2006/main" name="1_Tema de Office">
  <a:themeElements>
    <a:clrScheme name="Verde azulado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Firm Format - template_Blue">
  <a:themeElements>
    <a:clrScheme name="Transporte">
      <a:dk1>
        <a:srgbClr val="000000"/>
      </a:dk1>
      <a:lt1>
        <a:srgbClr val="FFFFFF"/>
      </a:lt1>
      <a:dk2>
        <a:srgbClr val="0E4866"/>
      </a:dk2>
      <a:lt2>
        <a:srgbClr val="FFFFFF"/>
      </a:lt2>
      <a:accent1>
        <a:srgbClr val="DEE9EA"/>
      </a:accent1>
      <a:accent2>
        <a:srgbClr val="9DB5C3"/>
      </a:accent2>
      <a:accent3>
        <a:srgbClr val="D4D740"/>
      </a:accent3>
      <a:accent4>
        <a:srgbClr val="0E4866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G1235-Template.potx" id="{CE667DE3-EC48-41AD-85A0-E005700933D7}" vid="{F6BDD7A9-061D-4C1D-A8DB-6C2FF2D8AA4C}"/>
    </a:ext>
  </a:extLst>
</a:theme>
</file>

<file path=ppt/theme/theme4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Firm Format - template_Blue">
  <a:themeElements>
    <a:clrScheme name="Transporte">
      <a:dk1>
        <a:srgbClr val="000000"/>
      </a:dk1>
      <a:lt1>
        <a:srgbClr val="FFFFFF"/>
      </a:lt1>
      <a:dk2>
        <a:srgbClr val="0E4866"/>
      </a:dk2>
      <a:lt2>
        <a:srgbClr val="FFFFFF"/>
      </a:lt2>
      <a:accent1>
        <a:srgbClr val="DEE9EA"/>
      </a:accent1>
      <a:accent2>
        <a:srgbClr val="9DB5C3"/>
      </a:accent2>
      <a:accent3>
        <a:srgbClr val="D4D740"/>
      </a:accent3>
      <a:accent4>
        <a:srgbClr val="0E4866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G1235-Template.potx" id="{CE667DE3-EC48-41AD-85A0-E005700933D7}" vid="{F6BDD7A9-061D-4C1D-A8DB-6C2FF2D8AA4C}"/>
    </a:ext>
  </a:extLst>
</a:theme>
</file>

<file path=ppt/theme/theme6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6">
    <a:dk1>
      <a:srgbClr val="000000"/>
    </a:dk1>
    <a:lt1>
      <a:srgbClr val="FFFFFF"/>
    </a:lt1>
    <a:dk2>
      <a:srgbClr val="234F67"/>
    </a:dk2>
    <a:lt2>
      <a:srgbClr val="FFFFFF"/>
    </a:lt2>
    <a:accent1>
      <a:srgbClr val="DCEBF4"/>
    </a:accent1>
    <a:accent2>
      <a:srgbClr val="A2CAE2"/>
    </a:accent2>
    <a:accent3>
      <a:srgbClr val="50A2A0"/>
    </a:accent3>
    <a:accent4>
      <a:srgbClr val="234F67"/>
    </a:accent4>
    <a:accent5>
      <a:srgbClr val="FF6600"/>
    </a:accent5>
    <a:accent6>
      <a:srgbClr val="808080"/>
    </a:accent6>
    <a:hlink>
      <a:srgbClr val="50A2A0"/>
    </a:hlink>
    <a:folHlink>
      <a:srgbClr val="234F6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2B6789A2787D140939184C96CE00B77" ma:contentTypeVersion="11" ma:contentTypeDescription="Crear nuevo documento." ma:contentTypeScope="" ma:versionID="d9aa639b939171488a8f17d6a271a3a0">
  <xsd:schema xmlns:xsd="http://www.w3.org/2001/XMLSchema" xmlns:xs="http://www.w3.org/2001/XMLSchema" xmlns:p="http://schemas.microsoft.com/office/2006/metadata/properties" xmlns:ns3="e3de68e4-5fb2-404c-a003-7e5864203514" xmlns:ns4="7078a5be-a5f9-4c83-8f70-8ace8f65d61c" targetNamespace="http://schemas.microsoft.com/office/2006/metadata/properties" ma:root="true" ma:fieldsID="f3cedf95750fe4fb47e6c2d497042bff" ns3:_="" ns4:_="">
    <xsd:import namespace="e3de68e4-5fb2-404c-a003-7e5864203514"/>
    <xsd:import namespace="7078a5be-a5f9-4c83-8f70-8ace8f65d61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de68e4-5fb2-404c-a003-7e586420351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8a5be-a5f9-4c83-8f70-8ace8f65d6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9BF1901-5EEB-4D0F-B3DE-BB9FA83D3EAB}">
  <ds:schemaRefs>
    <ds:schemaRef ds:uri="7078a5be-a5f9-4c83-8f70-8ace8f65d61c"/>
    <ds:schemaRef ds:uri="e3de68e4-5fb2-404c-a003-7e586420351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E9D0DB4-20BF-4E36-9CE2-15F3FEE93ED5}">
  <ds:schemaRefs>
    <ds:schemaRef ds:uri="7078a5be-a5f9-4c83-8f70-8ace8f65d61c"/>
    <ds:schemaRef ds:uri="e3de68e4-5fb2-404c-a003-7e586420351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6C3B5F4-7DAF-4A08-894E-CF678FA50C0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1</TotalTime>
  <Words>3760</Words>
  <Application>Microsoft Office PowerPoint</Application>
  <PresentationFormat>Panorámica</PresentationFormat>
  <Paragraphs>512</Paragraphs>
  <Slides>29</Slides>
  <Notes>4</Notes>
  <HiddenSlides>0</HiddenSlides>
  <MMClips>2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9</vt:i4>
      </vt:variant>
    </vt:vector>
  </HeadingPairs>
  <TitlesOfParts>
    <vt:vector size="45" baseType="lpstr">
      <vt:lpstr>Arial</vt:lpstr>
      <vt:lpstr>Calibri</vt:lpstr>
      <vt:lpstr>Calibri Light</vt:lpstr>
      <vt:lpstr>Calibri light titulos</vt:lpstr>
      <vt:lpstr>Californian FB</vt:lpstr>
      <vt:lpstr>Century Gothic</vt:lpstr>
      <vt:lpstr>Courier New</vt:lpstr>
      <vt:lpstr>Lucida Grande</vt:lpstr>
      <vt:lpstr>Segoe UI</vt:lpstr>
      <vt:lpstr>Firm Format - Spanish</vt:lpstr>
      <vt:lpstr>1_Tema de Office</vt:lpstr>
      <vt:lpstr>3_Firm Format - template_Blue</vt:lpstr>
      <vt:lpstr>2_Tema de Office</vt:lpstr>
      <vt:lpstr>Firm Format - template_Blue</vt:lpstr>
      <vt:lpstr>Diapositiva de think-cell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acroproceso Sostenibilidad </vt:lpstr>
      <vt:lpstr>Macroproceso HSE y Seguridad de Proces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olina Rojas Moreno (CENIT)</dc:creator>
  <cp:lastModifiedBy>Mariam Daniela Tristancho Pineda (PTA SAS)</cp:lastModifiedBy>
  <cp:revision>1</cp:revision>
  <cp:lastPrinted>2019-11-27T12:49:41Z</cp:lastPrinted>
  <dcterms:created xsi:type="dcterms:W3CDTF">2019-11-22T13:40:53Z</dcterms:created>
  <dcterms:modified xsi:type="dcterms:W3CDTF">2020-12-11T16:1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B6789A2787D140939184C96CE00B77</vt:lpwstr>
  </property>
</Properties>
</file>